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0" autoAdjust="0"/>
    <p:restoredTop sz="92808" autoAdjust="0"/>
  </p:normalViewPr>
  <p:slideViewPr>
    <p:cSldViewPr snapToGrid="0">
      <p:cViewPr varScale="1">
        <p:scale>
          <a:sx n="76" d="100"/>
          <a:sy n="76" d="100"/>
        </p:scale>
        <p:origin x="952"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opher Hui" userId="56232fed2ea887da" providerId="LiveId" clId="{CA009A37-D5FA-45D1-8EF9-8558579501E4}"/>
    <pc:docChg chg="modSld">
      <pc:chgData name="Christopher Hui" userId="56232fed2ea887da" providerId="LiveId" clId="{CA009A37-D5FA-45D1-8EF9-8558579501E4}" dt="2023-12-15T14:29:22.813" v="16" actId="6549"/>
      <pc:docMkLst>
        <pc:docMk/>
      </pc:docMkLst>
      <pc:sldChg chg="modSp mod">
        <pc:chgData name="Christopher Hui" userId="56232fed2ea887da" providerId="LiveId" clId="{CA009A37-D5FA-45D1-8EF9-8558579501E4}" dt="2023-12-15T14:29:22.813" v="16" actId="6549"/>
        <pc:sldMkLst>
          <pc:docMk/>
          <pc:sldMk cId="2748477053" sldId="397"/>
        </pc:sldMkLst>
        <pc:spChg chg="mod">
          <ac:chgData name="Christopher Hui" userId="56232fed2ea887da" providerId="LiveId" clId="{CA009A37-D5FA-45D1-8EF9-8558579501E4}" dt="2023-12-15T14:29:22.813" v="16" actId="6549"/>
          <ac:spMkLst>
            <pc:docMk/>
            <pc:sldMk cId="2748477053" sldId="397"/>
            <ac:spMk id="2" creationId="{F0E37C96-13BD-4F0C-B379-77591A183D9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tatistics_Case_Study_Student_Referenc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tatistics_Case_Study_Student_Referenc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tatistics_Case_Study_Student_Reference.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tatistics_Case_Study_Student_Reference.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tatistics_Case_Study_Student_Reference.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tatistics_Case_Study_Student_Reference.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tatistics_Case_Study_Student_Reference.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tatistics_Case_Study_Student_Reference.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tistical Alarm</a:t>
            </a:r>
            <a:r>
              <a:rPr lang="en-US" baseline="0"/>
              <a:t> plo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35E8-4FEF-9886-75B3DE2C6CFE}"/>
            </c:ext>
          </c:extLst>
        </c:ser>
        <c:dLbls>
          <c:showLegendKey val="0"/>
          <c:showVal val="0"/>
          <c:showCatName val="0"/>
          <c:showSerName val="0"/>
          <c:showPercent val="0"/>
          <c:showBubbleSize val="0"/>
        </c:dLbls>
        <c:marker val="1"/>
        <c:smooth val="0"/>
        <c:axId val="1418830911"/>
        <c:axId val="1418831391"/>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35E8-4FEF-9886-75B3DE2C6CFE}"/>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35E8-4FEF-9886-75B3DE2C6CFE}"/>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3</c:f>
              <c:numCache>
                <c:formatCode>0.00</c:formatCode>
                <c:ptCount val="2452"/>
                <c:pt idx="0">
                  <c:v>1.4838248798010656E-2</c:v>
                </c:pt>
                <c:pt idx="1">
                  <c:v>1.0556696487790562E-2</c:v>
                </c:pt>
                <c:pt idx="2">
                  <c:v>1.205617361304645E-3</c:v>
                </c:pt>
                <c:pt idx="3">
                  <c:v>-5.4948831094661088E-3</c:v>
                </c:pt>
                <c:pt idx="4">
                  <c:v>-1.5513203753328875E-2</c:v>
                </c:pt>
                <c:pt idx="5">
                  <c:v>-1.1186806548971084E-2</c:v>
                </c:pt>
                <c:pt idx="6">
                  <c:v>-9.7915529107914789E-3</c:v>
                </c:pt>
                <c:pt idx="7">
                  <c:v>-1.0259157604485813E-2</c:v>
                </c:pt>
                <c:pt idx="8">
                  <c:v>-7.7034352807980877E-3</c:v>
                </c:pt>
                <c:pt idx="9">
                  <c:v>-1.4123435813403473E-3</c:v>
                </c:pt>
                <c:pt idx="10">
                  <c:v>-2.954653579961497E-3</c:v>
                </c:pt>
                <c:pt idx="11">
                  <c:v>-7.3372694642142022E-3</c:v>
                </c:pt>
                <c:pt idx="12">
                  <c:v>-2.5983963455887826E-3</c:v>
                </c:pt>
                <c:pt idx="13">
                  <c:v>6.0467084366825352E-3</c:v>
                </c:pt>
                <c:pt idx="14">
                  <c:v>8.1202969260160129E-3</c:v>
                </c:pt>
                <c:pt idx="15">
                  <c:v>6.7260066718932698E-3</c:v>
                </c:pt>
                <c:pt idx="16">
                  <c:v>8.6982805607300762E-3</c:v>
                </c:pt>
                <c:pt idx="17">
                  <c:v>3.5362188272950457E-3</c:v>
                </c:pt>
                <c:pt idx="18">
                  <c:v>3.2025993157351884E-3</c:v>
                </c:pt>
                <c:pt idx="19">
                  <c:v>6.2913357628692212E-3</c:v>
                </c:pt>
                <c:pt idx="20">
                  <c:v>9.1507595103504924E-3</c:v>
                </c:pt>
                <c:pt idx="21">
                  <c:v>1.6060006016045403E-2</c:v>
                </c:pt>
                <c:pt idx="22">
                  <c:v>1.7613075436162196E-2</c:v>
                </c:pt>
                <c:pt idx="23">
                  <c:v>2.2136393595919457E-2</c:v>
                </c:pt>
                <c:pt idx="24">
                  <c:v>1.7486623044139504E-2</c:v>
                </c:pt>
                <c:pt idx="25">
                  <c:v>1.6115640001837184E-2</c:v>
                </c:pt>
                <c:pt idx="26">
                  <c:v>1.4353360781567237E-2</c:v>
                </c:pt>
                <c:pt idx="27">
                  <c:v>-3.6412956962195153E-3</c:v>
                </c:pt>
                <c:pt idx="28">
                  <c:v>5.0460117092859802E-3</c:v>
                </c:pt>
                <c:pt idx="29">
                  <c:v>-2.0078789979014466E-3</c:v>
                </c:pt>
                <c:pt idx="30">
                  <c:v>-8.3713876206360505E-3</c:v>
                </c:pt>
                <c:pt idx="31">
                  <c:v>-7.7999296517610173E-3</c:v>
                </c:pt>
                <c:pt idx="32">
                  <c:v>8.7619851917108971E-3</c:v>
                </c:pt>
                <c:pt idx="33">
                  <c:v>1.1952127449112893E-2</c:v>
                </c:pt>
                <c:pt idx="34">
                  <c:v>1.6752369968853875E-2</c:v>
                </c:pt>
                <c:pt idx="35">
                  <c:v>2.5478994070677885E-3</c:v>
                </c:pt>
                <c:pt idx="36">
                  <c:v>-6.2691395220541013E-3</c:v>
                </c:pt>
                <c:pt idx="37">
                  <c:v>-5.7063120744291762E-3</c:v>
                </c:pt>
                <c:pt idx="38">
                  <c:v>-5.2172110516174319E-3</c:v>
                </c:pt>
                <c:pt idx="39">
                  <c:v>-1.3092173084380154E-2</c:v>
                </c:pt>
                <c:pt idx="40">
                  <c:v>-1.5163608578271814E-2</c:v>
                </c:pt>
                <c:pt idx="41">
                  <c:v>-1.6823302526451589E-2</c:v>
                </c:pt>
                <c:pt idx="42">
                  <c:v>-2.1745717336109194E-2</c:v>
                </c:pt>
                <c:pt idx="43">
                  <c:v>-2.3056980616380063E-2</c:v>
                </c:pt>
                <c:pt idx="44">
                  <c:v>-3.652579639890785E-2</c:v>
                </c:pt>
                <c:pt idx="45">
                  <c:v>-4.4304473862231575E-2</c:v>
                </c:pt>
                <c:pt idx="46">
                  <c:v>-5.2526506896687364E-2</c:v>
                </c:pt>
                <c:pt idx="47">
                  <c:v>-5.1604341135617959E-2</c:v>
                </c:pt>
                <c:pt idx="48">
                  <c:v>-5.8130582021139188E-2</c:v>
                </c:pt>
                <c:pt idx="49">
                  <c:v>-4.6796666302516443E-2</c:v>
                </c:pt>
                <c:pt idx="50">
                  <c:v>-5.5899627132311669E-2</c:v>
                </c:pt>
                <c:pt idx="51">
                  <c:v>-5.6629895957737375E-2</c:v>
                </c:pt>
                <c:pt idx="52">
                  <c:v>-5.5366382405994008E-2</c:v>
                </c:pt>
                <c:pt idx="53">
                  <c:v>-5.2562759265929238E-2</c:v>
                </c:pt>
                <c:pt idx="54">
                  <c:v>-4.7759447936907229E-2</c:v>
                </c:pt>
                <c:pt idx="55">
                  <c:v>-3.8746670173825937E-2</c:v>
                </c:pt>
                <c:pt idx="56">
                  <c:v>-3.6313214681331529E-2</c:v>
                </c:pt>
                <c:pt idx="57">
                  <c:v>-2.5564897888988081E-2</c:v>
                </c:pt>
                <c:pt idx="58">
                  <c:v>-2.3770395634073349E-2</c:v>
                </c:pt>
                <c:pt idx="59">
                  <c:v>-2.8836677118218801E-2</c:v>
                </c:pt>
                <c:pt idx="60">
                  <c:v>-3.4090396673990497E-2</c:v>
                </c:pt>
                <c:pt idx="61">
                  <c:v>-3.3872773324246652E-2</c:v>
                </c:pt>
                <c:pt idx="62">
                  <c:v>-3.8868293274186838E-2</c:v>
                </c:pt>
                <c:pt idx="63">
                  <c:v>-3.9868136185134184E-2</c:v>
                </c:pt>
                <c:pt idx="64">
                  <c:v>-3.5603748933797918E-2</c:v>
                </c:pt>
                <c:pt idx="65">
                  <c:v>-3.0771480191568612E-2</c:v>
                </c:pt>
                <c:pt idx="66">
                  <c:v>-2.365270928777341E-2</c:v>
                </c:pt>
                <c:pt idx="67">
                  <c:v>-2.0751224834104187E-2</c:v>
                </c:pt>
                <c:pt idx="68">
                  <c:v>-1.9959259383971584E-2</c:v>
                </c:pt>
                <c:pt idx="69">
                  <c:v>-1.3386925284323947E-2</c:v>
                </c:pt>
                <c:pt idx="70">
                  <c:v>-1.2332004677229613E-2</c:v>
                </c:pt>
                <c:pt idx="71">
                  <c:v>-2.3690039486703451E-3</c:v>
                </c:pt>
                <c:pt idx="72">
                  <c:v>-7.0118474563366506E-3</c:v>
                </c:pt>
                <c:pt idx="73">
                  <c:v>-1.1410258597546186E-2</c:v>
                </c:pt>
                <c:pt idx="74">
                  <c:v>-2.8757548202998917E-3</c:v>
                </c:pt>
                <c:pt idx="75">
                  <c:v>-3.0828918097797198E-3</c:v>
                </c:pt>
                <c:pt idx="76">
                  <c:v>-9.793561615345614E-3</c:v>
                </c:pt>
                <c:pt idx="77">
                  <c:v>-1.6420288703908881E-2</c:v>
                </c:pt>
                <c:pt idx="78">
                  <c:v>-2.1520113449167932E-2</c:v>
                </c:pt>
                <c:pt idx="79">
                  <c:v>-2.0677317699722142E-2</c:v>
                </c:pt>
                <c:pt idx="80">
                  <c:v>-1.7284126694940505E-2</c:v>
                </c:pt>
                <c:pt idx="81">
                  <c:v>-8.615999597018198E-3</c:v>
                </c:pt>
                <c:pt idx="82">
                  <c:v>-1.6868879284213767E-2</c:v>
                </c:pt>
                <c:pt idx="83">
                  <c:v>-2.6601817869537192E-2</c:v>
                </c:pt>
                <c:pt idx="84">
                  <c:v>-2.3910372291575333E-2</c:v>
                </c:pt>
                <c:pt idx="85">
                  <c:v>-3.7512597179529039E-2</c:v>
                </c:pt>
                <c:pt idx="86">
                  <c:v>-4.2578703513248772E-2</c:v>
                </c:pt>
                <c:pt idx="87">
                  <c:v>-5.4817906013991724E-2</c:v>
                </c:pt>
                <c:pt idx="88">
                  <c:v>-6.8040380894992425E-2</c:v>
                </c:pt>
                <c:pt idx="89">
                  <c:v>-5.7847044355862298E-2</c:v>
                </c:pt>
                <c:pt idx="90">
                  <c:v>-5.0309022518018276E-2</c:v>
                </c:pt>
                <c:pt idx="91">
                  <c:v>-5.2643319120907583E-2</c:v>
                </c:pt>
                <c:pt idx="92">
                  <c:v>-5.5639357342350371E-2</c:v>
                </c:pt>
                <c:pt idx="93">
                  <c:v>-4.6468318792430185E-2</c:v>
                </c:pt>
                <c:pt idx="94">
                  <c:v>-5.8289244165476983E-2</c:v>
                </c:pt>
                <c:pt idx="95">
                  <c:v>-5.2180451688019325E-2</c:v>
                </c:pt>
                <c:pt idx="96">
                  <c:v>-4.7920681733467974E-2</c:v>
                </c:pt>
                <c:pt idx="97">
                  <c:v>-4.8748633178391954E-2</c:v>
                </c:pt>
                <c:pt idx="98">
                  <c:v>-5.2668578130665167E-2</c:v>
                </c:pt>
                <c:pt idx="99">
                  <c:v>-5.4140299157265148E-2</c:v>
                </c:pt>
                <c:pt idx="100">
                  <c:v>-5.2300024268866152E-2</c:v>
                </c:pt>
                <c:pt idx="101">
                  <c:v>-5.7913958438522428E-2</c:v>
                </c:pt>
                <c:pt idx="102">
                  <c:v>-4.9701743361881601E-2</c:v>
                </c:pt>
                <c:pt idx="103">
                  <c:v>-4.3486669414515067E-2</c:v>
                </c:pt>
                <c:pt idx="104">
                  <c:v>-3.8757190207063474E-2</c:v>
                </c:pt>
                <c:pt idx="105">
                  <c:v>-4.1436562103161823E-2</c:v>
                </c:pt>
                <c:pt idx="106">
                  <c:v>-3.4367439711228798E-2</c:v>
                </c:pt>
                <c:pt idx="107">
                  <c:v>-2.4951575369530965E-2</c:v>
                </c:pt>
                <c:pt idx="108">
                  <c:v>-3.4320112099561983E-2</c:v>
                </c:pt>
                <c:pt idx="109">
                  <c:v>-3.4946876631105517E-2</c:v>
                </c:pt>
                <c:pt idx="110">
                  <c:v>-3.440833395834042E-2</c:v>
                </c:pt>
                <c:pt idx="111">
                  <c:v>-4.0902573323267744E-2</c:v>
                </c:pt>
                <c:pt idx="112">
                  <c:v>-4.6552440908667059E-2</c:v>
                </c:pt>
                <c:pt idx="113">
                  <c:v>-4.9537265785563944E-2</c:v>
                </c:pt>
                <c:pt idx="114">
                  <c:v>-5.5885834718919503E-2</c:v>
                </c:pt>
                <c:pt idx="115">
                  <c:v>-5.1978093607884523E-2</c:v>
                </c:pt>
                <c:pt idx="116">
                  <c:v>-5.5109115157353283E-2</c:v>
                </c:pt>
                <c:pt idx="117">
                  <c:v>-3.9420909182705466E-2</c:v>
                </c:pt>
                <c:pt idx="118">
                  <c:v>-3.0348983945859942E-2</c:v>
                </c:pt>
                <c:pt idx="119">
                  <c:v>-4.3762024115787113E-2</c:v>
                </c:pt>
                <c:pt idx="120">
                  <c:v>-5.2755449395340492E-2</c:v>
                </c:pt>
                <c:pt idx="121">
                  <c:v>-6.0849412304670114E-2</c:v>
                </c:pt>
                <c:pt idx="122">
                  <c:v>-5.3462991929191461E-2</c:v>
                </c:pt>
                <c:pt idx="123">
                  <c:v>-5.6888278923100111E-2</c:v>
                </c:pt>
                <c:pt idx="124">
                  <c:v>-4.1043857680048701E-2</c:v>
                </c:pt>
                <c:pt idx="125">
                  <c:v>-4.2244960940791554E-2</c:v>
                </c:pt>
                <c:pt idx="126">
                  <c:v>-4.5910108287041229E-2</c:v>
                </c:pt>
                <c:pt idx="127">
                  <c:v>-4.7250429136668548E-2</c:v>
                </c:pt>
                <c:pt idx="128">
                  <c:v>-3.4072147064460157E-2</c:v>
                </c:pt>
                <c:pt idx="129">
                  <c:v>-3.2480295588767416E-2</c:v>
                </c:pt>
                <c:pt idx="130">
                  <c:v>-3.8086395530638306E-2</c:v>
                </c:pt>
                <c:pt idx="131">
                  <c:v>-3.0334667508785884E-2</c:v>
                </c:pt>
                <c:pt idx="132">
                  <c:v>-4.7998082585816393E-2</c:v>
                </c:pt>
                <c:pt idx="133">
                  <c:v>-5.4985335777089306E-2</c:v>
                </c:pt>
                <c:pt idx="134">
                  <c:v>-5.9986800954797026E-2</c:v>
                </c:pt>
                <c:pt idx="135">
                  <c:v>-5.0352004437754783E-2</c:v>
                </c:pt>
                <c:pt idx="136">
                  <c:v>-4.7701469028878396E-2</c:v>
                </c:pt>
                <c:pt idx="137">
                  <c:v>-4.8719824987457527E-2</c:v>
                </c:pt>
                <c:pt idx="138">
                  <c:v>-3.2630921513592259E-2</c:v>
                </c:pt>
                <c:pt idx="139">
                  <c:v>-3.1320450714418135E-2</c:v>
                </c:pt>
                <c:pt idx="140">
                  <c:v>-2.7979716672497101E-2</c:v>
                </c:pt>
                <c:pt idx="141">
                  <c:v>-2.8541787592968548E-2</c:v>
                </c:pt>
                <c:pt idx="142">
                  <c:v>-9.5191064919638579E-3</c:v>
                </c:pt>
                <c:pt idx="143">
                  <c:v>1.2358723640858438E-3</c:v>
                </c:pt>
                <c:pt idx="144">
                  <c:v>6.7771741906197391E-3</c:v>
                </c:pt>
                <c:pt idx="145">
                  <c:v>1.810451973273719E-2</c:v>
                </c:pt>
                <c:pt idx="146">
                  <c:v>2.4795481731057611E-2</c:v>
                </c:pt>
                <c:pt idx="147">
                  <c:v>1.9732041933566369E-2</c:v>
                </c:pt>
                <c:pt idx="148">
                  <c:v>2.6208807153282998E-2</c:v>
                </c:pt>
                <c:pt idx="149">
                  <c:v>3.0119139447084886E-2</c:v>
                </c:pt>
                <c:pt idx="150">
                  <c:v>3.3174650450405463E-2</c:v>
                </c:pt>
                <c:pt idx="151">
                  <c:v>3.4296600057077242E-2</c:v>
                </c:pt>
                <c:pt idx="152">
                  <c:v>3.413515624633634E-2</c:v>
                </c:pt>
                <c:pt idx="153">
                  <c:v>3.9800360926927625E-2</c:v>
                </c:pt>
                <c:pt idx="154">
                  <c:v>4.0722295211350179E-2</c:v>
                </c:pt>
                <c:pt idx="155">
                  <c:v>3.9496574377177684E-2</c:v>
                </c:pt>
                <c:pt idx="156">
                  <c:v>4.0110564263182713E-2</c:v>
                </c:pt>
                <c:pt idx="157">
                  <c:v>4.0033657341972284E-2</c:v>
                </c:pt>
                <c:pt idx="158">
                  <c:v>1.9357784654152277E-2</c:v>
                </c:pt>
                <c:pt idx="159">
                  <c:v>1.5389780378740947E-2</c:v>
                </c:pt>
                <c:pt idx="160">
                  <c:v>1.9538383876858023E-2</c:v>
                </c:pt>
                <c:pt idx="161">
                  <c:v>1.6201333194991951E-2</c:v>
                </c:pt>
                <c:pt idx="162">
                  <c:v>1.7194087282320525E-2</c:v>
                </c:pt>
                <c:pt idx="163">
                  <c:v>2.4408738874630798E-2</c:v>
                </c:pt>
                <c:pt idx="164">
                  <c:v>2.2812264715417974E-2</c:v>
                </c:pt>
                <c:pt idx="165">
                  <c:v>2.6125460048472271E-2</c:v>
                </c:pt>
                <c:pt idx="166">
                  <c:v>1.152726213166011E-2</c:v>
                </c:pt>
                <c:pt idx="167">
                  <c:v>8.031890585513235E-3</c:v>
                </c:pt>
                <c:pt idx="168">
                  <c:v>5.6521564664668844E-3</c:v>
                </c:pt>
                <c:pt idx="169">
                  <c:v>2.1691884040008214E-3</c:v>
                </c:pt>
                <c:pt idx="170">
                  <c:v>-2.6062466617706725E-3</c:v>
                </c:pt>
                <c:pt idx="171">
                  <c:v>-3.3740830978138403E-3</c:v>
                </c:pt>
                <c:pt idx="172">
                  <c:v>-5.2262598071268762E-3</c:v>
                </c:pt>
                <c:pt idx="173">
                  <c:v>-7.2581606463754111E-3</c:v>
                </c:pt>
                <c:pt idx="174">
                  <c:v>-1.5487454652610699E-2</c:v>
                </c:pt>
                <c:pt idx="175">
                  <c:v>-1.6861103172251757E-2</c:v>
                </c:pt>
                <c:pt idx="176">
                  <c:v>-1.8537139280794035E-2</c:v>
                </c:pt>
                <c:pt idx="177">
                  <c:v>-6.4901249450002307E-3</c:v>
                </c:pt>
                <c:pt idx="178">
                  <c:v>-1.3444440032044702E-2</c:v>
                </c:pt>
                <c:pt idx="179">
                  <c:v>-1.1802858074749456E-2</c:v>
                </c:pt>
                <c:pt idx="180">
                  <c:v>-6.366909101633178E-3</c:v>
                </c:pt>
                <c:pt idx="181">
                  <c:v>-1.5814399986188832E-2</c:v>
                </c:pt>
                <c:pt idx="182">
                  <c:v>-2.1635178547931067E-2</c:v>
                </c:pt>
                <c:pt idx="183">
                  <c:v>-2.2881678386240445E-2</c:v>
                </c:pt>
                <c:pt idx="184">
                  <c:v>-2.3498994987688482E-2</c:v>
                </c:pt>
                <c:pt idx="185">
                  <c:v>-2.0706454672940522E-2</c:v>
                </c:pt>
                <c:pt idx="186">
                  <c:v>-2.8555061376595803E-2</c:v>
                </c:pt>
                <c:pt idx="187">
                  <c:v>-3.8255977906847649E-2</c:v>
                </c:pt>
                <c:pt idx="188">
                  <c:v>-3.0083079201882357E-2</c:v>
                </c:pt>
                <c:pt idx="189">
                  <c:v>-2.9495088787937829E-2</c:v>
                </c:pt>
                <c:pt idx="190">
                  <c:v>-4.9849927462849442E-2</c:v>
                </c:pt>
                <c:pt idx="191">
                  <c:v>-4.8367750987164393E-2</c:v>
                </c:pt>
                <c:pt idx="192">
                  <c:v>-4.6717200231992884E-2</c:v>
                </c:pt>
                <c:pt idx="193">
                  <c:v>-5.3382898212404495E-2</c:v>
                </c:pt>
                <c:pt idx="194">
                  <c:v>-5.1755775636767587E-2</c:v>
                </c:pt>
                <c:pt idx="195">
                  <c:v>-5.052024304925673E-2</c:v>
                </c:pt>
                <c:pt idx="196">
                  <c:v>-5.0328320359149692E-2</c:v>
                </c:pt>
                <c:pt idx="197">
                  <c:v>-5.281314341597132E-2</c:v>
                </c:pt>
                <c:pt idx="198">
                  <c:v>-5.3637041889031845E-2</c:v>
                </c:pt>
                <c:pt idx="199">
                  <c:v>-4.2262784037804813E-2</c:v>
                </c:pt>
                <c:pt idx="200">
                  <c:v>-3.7050248273709063E-2</c:v>
                </c:pt>
                <c:pt idx="201">
                  <c:v>-3.717570630380429E-2</c:v>
                </c:pt>
                <c:pt idx="202">
                  <c:v>-3.6682048556305635E-2</c:v>
                </c:pt>
                <c:pt idx="203">
                  <c:v>-3.4602627168453859E-2</c:v>
                </c:pt>
                <c:pt idx="204">
                  <c:v>-3.2567384615955541E-2</c:v>
                </c:pt>
                <c:pt idx="205">
                  <c:v>-4.0559561954117473E-2</c:v>
                </c:pt>
                <c:pt idx="206">
                  <c:v>-4.0502047671245323E-2</c:v>
                </c:pt>
                <c:pt idx="207">
                  <c:v>-4.5015531289314681E-2</c:v>
                </c:pt>
                <c:pt idx="208">
                  <c:v>-4.6506726142885535E-2</c:v>
                </c:pt>
                <c:pt idx="209">
                  <c:v>-5.1398069844935113E-2</c:v>
                </c:pt>
                <c:pt idx="210">
                  <c:v>-5.1135732408908896E-2</c:v>
                </c:pt>
                <c:pt idx="211">
                  <c:v>-4.3431313846036601E-2</c:v>
                </c:pt>
                <c:pt idx="212">
                  <c:v>-3.4808086416870054E-2</c:v>
                </c:pt>
                <c:pt idx="213">
                  <c:v>-3.8103128133270991E-2</c:v>
                </c:pt>
                <c:pt idx="214">
                  <c:v>-8.4339259702393199E-2</c:v>
                </c:pt>
                <c:pt idx="215">
                  <c:v>-0.10696225610397581</c:v>
                </c:pt>
                <c:pt idx="216">
                  <c:v>-0.13600765550484595</c:v>
                </c:pt>
                <c:pt idx="217">
                  <c:v>-0.16391549884135082</c:v>
                </c:pt>
                <c:pt idx="218">
                  <c:v>-0.12703846392344276</c:v>
                </c:pt>
                <c:pt idx="219">
                  <c:v>-5.6363751562112485E-2</c:v>
                </c:pt>
                <c:pt idx="220">
                  <c:v>-8.6970200235974349E-2</c:v>
                </c:pt>
                <c:pt idx="221">
                  <c:v>-8.6509859312435711E-2</c:v>
                </c:pt>
                <c:pt idx="222">
                  <c:v>-8.1356972917803638E-2</c:v>
                </c:pt>
                <c:pt idx="223">
                  <c:v>-6.8363601731009638E-2</c:v>
                </c:pt>
                <c:pt idx="224">
                  <c:v>-3.5880760161740244E-2</c:v>
                </c:pt>
                <c:pt idx="225">
                  <c:v>-4.586025713898878E-2</c:v>
                </c:pt>
                <c:pt idx="226">
                  <c:v>-4.0831760158557051E-2</c:v>
                </c:pt>
                <c:pt idx="227">
                  <c:v>-3.9744604288795671E-2</c:v>
                </c:pt>
                <c:pt idx="228">
                  <c:v>5.5692081875073907E-3</c:v>
                </c:pt>
                <c:pt idx="229">
                  <c:v>-5.1559806060750279E-3</c:v>
                </c:pt>
                <c:pt idx="230">
                  <c:v>-1.9413162782228932E-2</c:v>
                </c:pt>
                <c:pt idx="231">
                  <c:v>-4.5370007516678523E-3</c:v>
                </c:pt>
                <c:pt idx="232">
                  <c:v>-4.5352319897137949E-2</c:v>
                </c:pt>
                <c:pt idx="233">
                  <c:v>-6.5556209597601112E-2</c:v>
                </c:pt>
                <c:pt idx="234">
                  <c:v>-6.4575283527131155E-2</c:v>
                </c:pt>
                <c:pt idx="235">
                  <c:v>-6.1025252000814545E-2</c:v>
                </c:pt>
                <c:pt idx="236">
                  <c:v>-6.988122296201682E-2</c:v>
                </c:pt>
                <c:pt idx="237">
                  <c:v>-7.369079033353898E-2</c:v>
                </c:pt>
                <c:pt idx="238">
                  <c:v>-8.6304811940896897E-2</c:v>
                </c:pt>
                <c:pt idx="239">
                  <c:v>-4.1842937537056812E-2</c:v>
                </c:pt>
                <c:pt idx="240">
                  <c:v>-7.2782325245292823E-2</c:v>
                </c:pt>
                <c:pt idx="241">
                  <c:v>-8.2598272334475142E-2</c:v>
                </c:pt>
                <c:pt idx="242">
                  <c:v>-0.10723586382656713</c:v>
                </c:pt>
                <c:pt idx="243">
                  <c:v>-0.13800258553221023</c:v>
                </c:pt>
                <c:pt idx="244">
                  <c:v>-0.12398351407910302</c:v>
                </c:pt>
                <c:pt idx="245">
                  <c:v>-0.10084339334510295</c:v>
                </c:pt>
                <c:pt idx="246">
                  <c:v>-0.11176301197975713</c:v>
                </c:pt>
                <c:pt idx="247">
                  <c:v>-8.5180676826164814E-2</c:v>
                </c:pt>
                <c:pt idx="248">
                  <c:v>-9.4745239203499088E-2</c:v>
                </c:pt>
                <c:pt idx="249">
                  <c:v>-0.10798377548301463</c:v>
                </c:pt>
                <c:pt idx="250">
                  <c:v>-6.4999379773132526E-2</c:v>
                </c:pt>
                <c:pt idx="251">
                  <c:v>-9.6450922447198217E-2</c:v>
                </c:pt>
                <c:pt idx="252">
                  <c:v>-0.11287703619986345</c:v>
                </c:pt>
                <c:pt idx="253">
                  <c:v>-0.12132058653655819</c:v>
                </c:pt>
                <c:pt idx="254">
                  <c:v>-0.14537075363251151</c:v>
                </c:pt>
                <c:pt idx="255">
                  <c:v>-0.12259180395024893</c:v>
                </c:pt>
                <c:pt idx="256">
                  <c:v>-0.13853843851840286</c:v>
                </c:pt>
                <c:pt idx="257">
                  <c:v>-0.17952162783972525</c:v>
                </c:pt>
                <c:pt idx="258">
                  <c:v>-0.15375201859721566</c:v>
                </c:pt>
                <c:pt idx="259">
                  <c:v>-0.14621398903750948</c:v>
                </c:pt>
                <c:pt idx="260">
                  <c:v>-0.11415228714377057</c:v>
                </c:pt>
                <c:pt idx="261">
                  <c:v>-0.10390379624918022</c:v>
                </c:pt>
                <c:pt idx="262">
                  <c:v>-7.5155217564193078E-2</c:v>
                </c:pt>
                <c:pt idx="263">
                  <c:v>-7.0668383340976915E-2</c:v>
                </c:pt>
                <c:pt idx="264">
                  <c:v>-5.6370295689193384E-2</c:v>
                </c:pt>
                <c:pt idx="265">
                  <c:v>-3.2333742738619775E-2</c:v>
                </c:pt>
                <c:pt idx="266">
                  <c:v>-2.3466355266269834E-2</c:v>
                </c:pt>
                <c:pt idx="267">
                  <c:v>-1.3525483316328968E-2</c:v>
                </c:pt>
                <c:pt idx="268">
                  <c:v>2.5038532073751285E-2</c:v>
                </c:pt>
                <c:pt idx="269">
                  <c:v>4.9623117831116836E-3</c:v>
                </c:pt>
                <c:pt idx="270">
                  <c:v>5.7779233682788256E-2</c:v>
                </c:pt>
                <c:pt idx="271">
                  <c:v>7.9024253099811648E-2</c:v>
                </c:pt>
                <c:pt idx="272">
                  <c:v>7.8262067547208214E-2</c:v>
                </c:pt>
                <c:pt idx="273">
                  <c:v>6.020941676041347E-2</c:v>
                </c:pt>
                <c:pt idx="274">
                  <c:v>5.35065514320342E-2</c:v>
                </c:pt>
                <c:pt idx="275">
                  <c:v>4.5395545855088537E-2</c:v>
                </c:pt>
                <c:pt idx="276">
                  <c:v>1.1501961146279438E-2</c:v>
                </c:pt>
                <c:pt idx="277">
                  <c:v>-3.5792249200441661E-2</c:v>
                </c:pt>
                <c:pt idx="278">
                  <c:v>1.1348907800646679E-2</c:v>
                </c:pt>
                <c:pt idx="279">
                  <c:v>-8.2302801470800491E-3</c:v>
                </c:pt>
                <c:pt idx="280">
                  <c:v>-6.8853589785754288E-2</c:v>
                </c:pt>
                <c:pt idx="281">
                  <c:v>-2.6744151510830205E-2</c:v>
                </c:pt>
                <c:pt idx="282">
                  <c:v>-4.5466110979128338E-2</c:v>
                </c:pt>
                <c:pt idx="283">
                  <c:v>-2.4955935067902169E-2</c:v>
                </c:pt>
                <c:pt idx="284">
                  <c:v>-3.61787607402555E-2</c:v>
                </c:pt>
                <c:pt idx="285">
                  <c:v>-2.0086462912762726E-2</c:v>
                </c:pt>
                <c:pt idx="286">
                  <c:v>-4.3021774504036214E-2</c:v>
                </c:pt>
                <c:pt idx="287">
                  <c:v>-4.3343911857037232E-2</c:v>
                </c:pt>
                <c:pt idx="288">
                  <c:v>-3.529525280874235E-2</c:v>
                </c:pt>
                <c:pt idx="289">
                  <c:v>-3.8785668594637834E-2</c:v>
                </c:pt>
                <c:pt idx="290">
                  <c:v>-4.6728452358115735E-2</c:v>
                </c:pt>
                <c:pt idx="291">
                  <c:v>-4.2910075310945039E-2</c:v>
                </c:pt>
                <c:pt idx="292">
                  <c:v>-4.3557090956688804E-2</c:v>
                </c:pt>
                <c:pt idx="293">
                  <c:v>-3.6781930478787639E-2</c:v>
                </c:pt>
                <c:pt idx="294">
                  <c:v>-3.6798850174224462E-2</c:v>
                </c:pt>
                <c:pt idx="295">
                  <c:v>-3.4100144040314029E-2</c:v>
                </c:pt>
                <c:pt idx="296">
                  <c:v>-3.9639022242900723E-2</c:v>
                </c:pt>
                <c:pt idx="297">
                  <c:v>-3.7240415718031161E-2</c:v>
                </c:pt>
                <c:pt idx="298">
                  <c:v>-3.3253374348492182E-2</c:v>
                </c:pt>
                <c:pt idx="299">
                  <c:v>-3.3378433813686548E-2</c:v>
                </c:pt>
                <c:pt idx="300">
                  <c:v>-3.0538012037517492E-2</c:v>
                </c:pt>
                <c:pt idx="301">
                  <c:v>-2.8836208014440423E-2</c:v>
                </c:pt>
                <c:pt idx="302">
                  <c:v>-3.1347504459404263E-2</c:v>
                </c:pt>
                <c:pt idx="303">
                  <c:v>-2.4034129337793475E-2</c:v>
                </c:pt>
                <c:pt idx="304">
                  <c:v>-1.3404220016292934E-2</c:v>
                </c:pt>
                <c:pt idx="305">
                  <c:v>-1.5642341539168769E-2</c:v>
                </c:pt>
                <c:pt idx="306">
                  <c:v>-1.6843243612344128E-2</c:v>
                </c:pt>
                <c:pt idx="307">
                  <c:v>-8.6142852567947514E-3</c:v>
                </c:pt>
                <c:pt idx="308">
                  <c:v>-6.326379271073046E-3</c:v>
                </c:pt>
                <c:pt idx="309">
                  <c:v>6.0128558833737467E-3</c:v>
                </c:pt>
                <c:pt idx="310">
                  <c:v>1.6884740325040504E-3</c:v>
                </c:pt>
                <c:pt idx="311">
                  <c:v>1.2389325104537274E-2</c:v>
                </c:pt>
                <c:pt idx="312">
                  <c:v>4.6795812034083895E-3</c:v>
                </c:pt>
                <c:pt idx="313">
                  <c:v>1.2259728588253638E-2</c:v>
                </c:pt>
                <c:pt idx="314">
                  <c:v>2.0747999647847348E-2</c:v>
                </c:pt>
                <c:pt idx="315">
                  <c:v>2.5935701720524285E-2</c:v>
                </c:pt>
                <c:pt idx="316">
                  <c:v>3.104600027475457E-2</c:v>
                </c:pt>
                <c:pt idx="317">
                  <c:v>2.7780776873938207E-2</c:v>
                </c:pt>
                <c:pt idx="318">
                  <c:v>3.0091312499376688E-2</c:v>
                </c:pt>
                <c:pt idx="319">
                  <c:v>2.6446851202230115E-2</c:v>
                </c:pt>
                <c:pt idx="320">
                  <c:v>2.7984140414887726E-2</c:v>
                </c:pt>
                <c:pt idx="321">
                  <c:v>3.5705356096851104E-2</c:v>
                </c:pt>
                <c:pt idx="322">
                  <c:v>3.863829838498789E-2</c:v>
                </c:pt>
                <c:pt idx="323">
                  <c:v>2.6536847941599828E-2</c:v>
                </c:pt>
                <c:pt idx="324">
                  <c:v>3.2700847213677053E-2</c:v>
                </c:pt>
                <c:pt idx="325">
                  <c:v>1.7438872358186197E-2</c:v>
                </c:pt>
                <c:pt idx="326">
                  <c:v>1.8972111041323125E-2</c:v>
                </c:pt>
                <c:pt idx="327">
                  <c:v>2.5673514603520298E-3</c:v>
                </c:pt>
                <c:pt idx="328">
                  <c:v>-1.5343904348184334E-2</c:v>
                </c:pt>
                <c:pt idx="329">
                  <c:v>-2.6557164549809831E-2</c:v>
                </c:pt>
                <c:pt idx="330">
                  <c:v>-2.5230065290913539E-2</c:v>
                </c:pt>
                <c:pt idx="331">
                  <c:v>-3.2725492671567324E-2</c:v>
                </c:pt>
                <c:pt idx="332">
                  <c:v>-3.4191919787592395E-2</c:v>
                </c:pt>
                <c:pt idx="333">
                  <c:v>-3.8212700633113883E-2</c:v>
                </c:pt>
                <c:pt idx="334">
                  <c:v>-3.4143851731770036E-2</c:v>
                </c:pt>
                <c:pt idx="335">
                  <c:v>-2.8404170409040197E-2</c:v>
                </c:pt>
                <c:pt idx="336">
                  <c:v>-3.4596036564078836E-2</c:v>
                </c:pt>
                <c:pt idx="337">
                  <c:v>-3.2339595869462889E-2</c:v>
                </c:pt>
                <c:pt idx="338">
                  <c:v>-3.1708583123079448E-2</c:v>
                </c:pt>
                <c:pt idx="339">
                  <c:v>-3.7060608759911462E-2</c:v>
                </c:pt>
                <c:pt idx="340">
                  <c:v>-2.3033840758651447E-2</c:v>
                </c:pt>
                <c:pt idx="341">
                  <c:v>-1.9483917341099111E-2</c:v>
                </c:pt>
                <c:pt idx="342">
                  <c:v>-3.1143367273003264E-3</c:v>
                </c:pt>
                <c:pt idx="343">
                  <c:v>-7.4588090113248962E-3</c:v>
                </c:pt>
                <c:pt idx="344">
                  <c:v>-1.4417873413067439E-2</c:v>
                </c:pt>
                <c:pt idx="345">
                  <c:v>-7.1542913604233371E-3</c:v>
                </c:pt>
                <c:pt idx="346">
                  <c:v>-2.1037472384608624E-2</c:v>
                </c:pt>
                <c:pt idx="347">
                  <c:v>-1.8263429863456637E-2</c:v>
                </c:pt>
                <c:pt idx="348">
                  <c:v>-1.3506820214136406E-2</c:v>
                </c:pt>
                <c:pt idx="349">
                  <c:v>-1.1057663003470219E-2</c:v>
                </c:pt>
                <c:pt idx="350">
                  <c:v>-1.776787008759162E-3</c:v>
                </c:pt>
                <c:pt idx="351">
                  <c:v>6.4566186596084485E-3</c:v>
                </c:pt>
                <c:pt idx="352">
                  <c:v>1.9718828668590094E-3</c:v>
                </c:pt>
                <c:pt idx="353">
                  <c:v>-3.5929626166710804E-3</c:v>
                </c:pt>
                <c:pt idx="354">
                  <c:v>-9.7703118021440494E-3</c:v>
                </c:pt>
                <c:pt idx="355">
                  <c:v>2.0803223689459527E-3</c:v>
                </c:pt>
                <c:pt idx="356">
                  <c:v>-1.1387245634409182E-2</c:v>
                </c:pt>
                <c:pt idx="357">
                  <c:v>-6.1758233377828819E-3</c:v>
                </c:pt>
                <c:pt idx="358">
                  <c:v>1.3205356536529544E-2</c:v>
                </c:pt>
                <c:pt idx="359">
                  <c:v>2.9627442615413835E-2</c:v>
                </c:pt>
                <c:pt idx="360">
                  <c:v>1.7580788241287726E-2</c:v>
                </c:pt>
                <c:pt idx="361">
                  <c:v>1.7906085453929355E-2</c:v>
                </c:pt>
                <c:pt idx="362">
                  <c:v>3.3873427874253625E-3</c:v>
                </c:pt>
                <c:pt idx="363">
                  <c:v>7.8606130756441184E-3</c:v>
                </c:pt>
                <c:pt idx="364">
                  <c:v>6.4828829741931937E-3</c:v>
                </c:pt>
                <c:pt idx="365">
                  <c:v>8.9180158822598221E-3</c:v>
                </c:pt>
                <c:pt idx="366">
                  <c:v>1.8897589129373227E-2</c:v>
                </c:pt>
                <c:pt idx="367">
                  <c:v>2.9142584913324221E-3</c:v>
                </c:pt>
                <c:pt idx="368">
                  <c:v>8.4643113764921729E-3</c:v>
                </c:pt>
                <c:pt idx="369">
                  <c:v>1.083263448681604E-2</c:v>
                </c:pt>
                <c:pt idx="370">
                  <c:v>1.1411467605530468E-2</c:v>
                </c:pt>
                <c:pt idx="371">
                  <c:v>8.9784233038261441E-3</c:v>
                </c:pt>
                <c:pt idx="372">
                  <c:v>7.4207924982748752E-3</c:v>
                </c:pt>
                <c:pt idx="373">
                  <c:v>-2.4137948508506923E-3</c:v>
                </c:pt>
                <c:pt idx="374">
                  <c:v>-6.9782107089763068E-3</c:v>
                </c:pt>
                <c:pt idx="375">
                  <c:v>5.0520412060872655E-4</c:v>
                </c:pt>
                <c:pt idx="376">
                  <c:v>-3.4766059373018132E-3</c:v>
                </c:pt>
                <c:pt idx="377">
                  <c:v>-2.6327279078675048E-3</c:v>
                </c:pt>
                <c:pt idx="378">
                  <c:v>-1.1249420891217166E-2</c:v>
                </c:pt>
                <c:pt idx="379">
                  <c:v>-4.6198173979887791E-3</c:v>
                </c:pt>
                <c:pt idx="380">
                  <c:v>-5.7098895300135011E-3</c:v>
                </c:pt>
                <c:pt idx="381">
                  <c:v>-1.210234199760496E-2</c:v>
                </c:pt>
                <c:pt idx="382">
                  <c:v>-8.707332385540556E-3</c:v>
                </c:pt>
                <c:pt idx="383">
                  <c:v>-7.4906501628043687E-3</c:v>
                </c:pt>
                <c:pt idx="384">
                  <c:v>-4.411368316213915E-3</c:v>
                </c:pt>
                <c:pt idx="385">
                  <c:v>4.3930674718616336E-3</c:v>
                </c:pt>
                <c:pt idx="386">
                  <c:v>5.2068754551372054E-3</c:v>
                </c:pt>
                <c:pt idx="387">
                  <c:v>2.4073766187965306E-3</c:v>
                </c:pt>
                <c:pt idx="388">
                  <c:v>1.7928127859462295E-3</c:v>
                </c:pt>
                <c:pt idx="389">
                  <c:v>-3.6236246046148501E-3</c:v>
                </c:pt>
                <c:pt idx="390">
                  <c:v>-4.0967570978482915E-3</c:v>
                </c:pt>
                <c:pt idx="391">
                  <c:v>7.8836185766628653E-4</c:v>
                </c:pt>
                <c:pt idx="392">
                  <c:v>-1.7424833125079253E-4</c:v>
                </c:pt>
                <c:pt idx="393">
                  <c:v>-1.7203250109443458E-2</c:v>
                </c:pt>
                <c:pt idx="394">
                  <c:v>-3.2903467351687921E-2</c:v>
                </c:pt>
                <c:pt idx="395">
                  <c:v>-3.504417634355006E-2</c:v>
                </c:pt>
                <c:pt idx="396">
                  <c:v>-3.5745259807301699E-2</c:v>
                </c:pt>
                <c:pt idx="397">
                  <c:v>-1.7448498383883515E-2</c:v>
                </c:pt>
                <c:pt idx="398">
                  <c:v>-2.2639342398170226E-2</c:v>
                </c:pt>
                <c:pt idx="399">
                  <c:v>-2.2695726710020736E-2</c:v>
                </c:pt>
                <c:pt idx="400">
                  <c:v>-2.7126672852885392E-2</c:v>
                </c:pt>
                <c:pt idx="401">
                  <c:v>-2.4916296967457674E-2</c:v>
                </c:pt>
                <c:pt idx="402">
                  <c:v>-2.5566031392670552E-2</c:v>
                </c:pt>
                <c:pt idx="403">
                  <c:v>-1.6934068378265166E-2</c:v>
                </c:pt>
                <c:pt idx="404">
                  <c:v>-1.2049014814710879E-2</c:v>
                </c:pt>
                <c:pt idx="405">
                  <c:v>-2.2984219965895392E-2</c:v>
                </c:pt>
                <c:pt idx="406">
                  <c:v>-2.1930305871942779E-2</c:v>
                </c:pt>
                <c:pt idx="407">
                  <c:v>-1.9875511304021098E-2</c:v>
                </c:pt>
                <c:pt idx="408">
                  <c:v>-1.077766903228583E-2</c:v>
                </c:pt>
                <c:pt idx="409">
                  <c:v>-1.1103434738861995E-2</c:v>
                </c:pt>
                <c:pt idx="410">
                  <c:v>-4.2945177639700516E-3</c:v>
                </c:pt>
                <c:pt idx="411">
                  <c:v>-6.1516619357473434E-3</c:v>
                </c:pt>
                <c:pt idx="412">
                  <c:v>-7.4193567661126059E-3</c:v>
                </c:pt>
                <c:pt idx="413">
                  <c:v>2.157078523011613E-3</c:v>
                </c:pt>
                <c:pt idx="414">
                  <c:v>-2.9500928934964588E-3</c:v>
                </c:pt>
                <c:pt idx="415">
                  <c:v>-5.3972769658116038E-3</c:v>
                </c:pt>
                <c:pt idx="416">
                  <c:v>2.8967399167023622E-3</c:v>
                </c:pt>
                <c:pt idx="417">
                  <c:v>8.4690803671307879E-3</c:v>
                </c:pt>
                <c:pt idx="418">
                  <c:v>7.9281127026167297E-3</c:v>
                </c:pt>
                <c:pt idx="419">
                  <c:v>1.2590218928686614E-2</c:v>
                </c:pt>
                <c:pt idx="420">
                  <c:v>7.134806135546512E-3</c:v>
                </c:pt>
                <c:pt idx="421">
                  <c:v>3.8277318122071913E-3</c:v>
                </c:pt>
                <c:pt idx="422">
                  <c:v>1.6127231301068856E-2</c:v>
                </c:pt>
                <c:pt idx="423">
                  <c:v>2.9091739691575857E-2</c:v>
                </c:pt>
                <c:pt idx="424">
                  <c:v>3.9983327329175977E-2</c:v>
                </c:pt>
                <c:pt idx="425">
                  <c:v>4.1204472592399788E-2</c:v>
                </c:pt>
                <c:pt idx="426">
                  <c:v>4.3693998620146779E-2</c:v>
                </c:pt>
                <c:pt idx="427">
                  <c:v>4.4802749269792441E-2</c:v>
                </c:pt>
                <c:pt idx="428">
                  <c:v>5.3156621325326503E-2</c:v>
                </c:pt>
                <c:pt idx="429">
                  <c:v>5.3881984148883344E-2</c:v>
                </c:pt>
                <c:pt idx="430">
                  <c:v>5.2632014969718921E-2</c:v>
                </c:pt>
                <c:pt idx="431">
                  <c:v>4.111025282691616E-2</c:v>
                </c:pt>
                <c:pt idx="432">
                  <c:v>4.4010572527069081E-2</c:v>
                </c:pt>
                <c:pt idx="433">
                  <c:v>3.272737203956777E-2</c:v>
                </c:pt>
                <c:pt idx="434">
                  <c:v>4.0017356174048446E-2</c:v>
                </c:pt>
                <c:pt idx="435">
                  <c:v>4.3913196859972303E-2</c:v>
                </c:pt>
                <c:pt idx="436">
                  <c:v>4.6342470722778195E-2</c:v>
                </c:pt>
                <c:pt idx="437">
                  <c:v>3.9530405170134841E-2</c:v>
                </c:pt>
                <c:pt idx="438">
                  <c:v>3.5864664186623596E-2</c:v>
                </c:pt>
                <c:pt idx="439">
                  <c:v>2.2016538762188786E-2</c:v>
                </c:pt>
                <c:pt idx="440">
                  <c:v>1.2637962359508537E-2</c:v>
                </c:pt>
                <c:pt idx="441">
                  <c:v>1.1196477604934696E-2</c:v>
                </c:pt>
                <c:pt idx="442">
                  <c:v>1.1737058893769081E-2</c:v>
                </c:pt>
                <c:pt idx="443">
                  <c:v>1.2290250986547346E-2</c:v>
                </c:pt>
                <c:pt idx="444">
                  <c:v>1.158187065094729E-2</c:v>
                </c:pt>
                <c:pt idx="445">
                  <c:v>9.7795892508175664E-3</c:v>
                </c:pt>
                <c:pt idx="446">
                  <c:v>1.248940649270569E-2</c:v>
                </c:pt>
                <c:pt idx="447">
                  <c:v>8.5738474065892856E-3</c:v>
                </c:pt>
                <c:pt idx="448">
                  <c:v>4.1224666136631116E-3</c:v>
                </c:pt>
                <c:pt idx="449">
                  <c:v>4.5758288140566039E-3</c:v>
                </c:pt>
                <c:pt idx="450">
                  <c:v>1.1283240295475561E-2</c:v>
                </c:pt>
                <c:pt idx="451">
                  <c:v>1.9744504339078484E-2</c:v>
                </c:pt>
                <c:pt idx="452">
                  <c:v>1.1668884780700828E-2</c:v>
                </c:pt>
                <c:pt idx="453">
                  <c:v>7.9738769101234119E-3</c:v>
                </c:pt>
                <c:pt idx="454">
                  <c:v>1.151804183153915E-2</c:v>
                </c:pt>
                <c:pt idx="455">
                  <c:v>1.9233898679488326E-2</c:v>
                </c:pt>
                <c:pt idx="456">
                  <c:v>-1.0623129883458038E-3</c:v>
                </c:pt>
                <c:pt idx="457">
                  <c:v>-3.4335855849587649E-4</c:v>
                </c:pt>
                <c:pt idx="458">
                  <c:v>-4.564498864325639E-4</c:v>
                </c:pt>
                <c:pt idx="459">
                  <c:v>-9.2655303708980563E-3</c:v>
                </c:pt>
                <c:pt idx="460">
                  <c:v>-6.2979287117295168E-3</c:v>
                </c:pt>
                <c:pt idx="461">
                  <c:v>-8.9270672113375138E-3</c:v>
                </c:pt>
                <c:pt idx="462">
                  <c:v>-1.1762906713634558E-2</c:v>
                </c:pt>
                <c:pt idx="463">
                  <c:v>7.5154822865841631E-4</c:v>
                </c:pt>
                <c:pt idx="464">
                  <c:v>-8.0834970905894199E-3</c:v>
                </c:pt>
                <c:pt idx="465">
                  <c:v>-1.2079030591831907E-2</c:v>
                </c:pt>
                <c:pt idx="466">
                  <c:v>-1.2062762420979478E-2</c:v>
                </c:pt>
                <c:pt idx="467">
                  <c:v>-8.5871633618382903E-3</c:v>
                </c:pt>
                <c:pt idx="468">
                  <c:v>-1.1493860828244107E-2</c:v>
                </c:pt>
                <c:pt idx="469">
                  <c:v>2.8000027021080065E-3</c:v>
                </c:pt>
                <c:pt idx="470">
                  <c:v>6.2628129456598902E-3</c:v>
                </c:pt>
                <c:pt idx="471">
                  <c:v>9.2544579015830797E-3</c:v>
                </c:pt>
                <c:pt idx="472">
                  <c:v>1.3553149158029187E-2</c:v>
                </c:pt>
                <c:pt idx="473">
                  <c:v>1.9097799015712624E-2</c:v>
                </c:pt>
                <c:pt idx="474">
                  <c:v>2.7015622661904493E-2</c:v>
                </c:pt>
                <c:pt idx="475">
                  <c:v>1.8255475224435935E-2</c:v>
                </c:pt>
                <c:pt idx="476">
                  <c:v>1.1986881571743324E-2</c:v>
                </c:pt>
                <c:pt idx="477">
                  <c:v>7.2807505665103411E-3</c:v>
                </c:pt>
                <c:pt idx="478">
                  <c:v>1.0775349466729756E-2</c:v>
                </c:pt>
                <c:pt idx="479">
                  <c:v>9.8561590439866231E-3</c:v>
                </c:pt>
                <c:pt idx="480">
                  <c:v>1.2024150401504063E-2</c:v>
                </c:pt>
                <c:pt idx="481">
                  <c:v>3.5047241114080085E-3</c:v>
                </c:pt>
                <c:pt idx="482">
                  <c:v>1.1111505736109972E-2</c:v>
                </c:pt>
                <c:pt idx="483">
                  <c:v>9.3787890255552231E-3</c:v>
                </c:pt>
                <c:pt idx="484">
                  <c:v>2.7244444315588368E-3</c:v>
                </c:pt>
                <c:pt idx="485">
                  <c:v>-1.6414913850756774E-2</c:v>
                </c:pt>
                <c:pt idx="486">
                  <c:v>-2.9386506856995398E-3</c:v>
                </c:pt>
                <c:pt idx="487">
                  <c:v>-3.6258214006645861E-4</c:v>
                </c:pt>
                <c:pt idx="488">
                  <c:v>-9.0438139312282173E-3</c:v>
                </c:pt>
                <c:pt idx="489">
                  <c:v>-1.7669884875708086E-2</c:v>
                </c:pt>
                <c:pt idx="490">
                  <c:v>-1.7189443276918626E-2</c:v>
                </c:pt>
                <c:pt idx="491">
                  <c:v>-4.8080364144520438E-3</c:v>
                </c:pt>
                <c:pt idx="492">
                  <c:v>-5.3735176930059803E-3</c:v>
                </c:pt>
                <c:pt idx="493">
                  <c:v>-2.0105455002088934E-2</c:v>
                </c:pt>
                <c:pt idx="494">
                  <c:v>-1.0215366545175519E-2</c:v>
                </c:pt>
                <c:pt idx="495">
                  <c:v>-1.2456106810633583E-2</c:v>
                </c:pt>
                <c:pt idx="496">
                  <c:v>-7.8606033728341185E-3</c:v>
                </c:pt>
                <c:pt idx="497">
                  <c:v>-1.1090754833543714E-2</c:v>
                </c:pt>
                <c:pt idx="498">
                  <c:v>-9.8698367162575185E-3</c:v>
                </c:pt>
                <c:pt idx="499">
                  <c:v>-1.201894401117265E-2</c:v>
                </c:pt>
                <c:pt idx="500">
                  <c:v>-9.1484768727574384E-3</c:v>
                </c:pt>
                <c:pt idx="501">
                  <c:v>-6.1350895413043727E-3</c:v>
                </c:pt>
                <c:pt idx="502">
                  <c:v>-9.3536412789771983E-3</c:v>
                </c:pt>
                <c:pt idx="503">
                  <c:v>-1.57613060078301E-2</c:v>
                </c:pt>
                <c:pt idx="504">
                  <c:v>-2.2977036047659993E-2</c:v>
                </c:pt>
                <c:pt idx="505">
                  <c:v>-1.4008228513514132E-2</c:v>
                </c:pt>
                <c:pt idx="506">
                  <c:v>-1.3336121823550151E-2</c:v>
                </c:pt>
                <c:pt idx="507">
                  <c:v>-9.4681842332029476E-3</c:v>
                </c:pt>
                <c:pt idx="508">
                  <c:v>-8.548746373566618E-3</c:v>
                </c:pt>
                <c:pt idx="509">
                  <c:v>-1.4955019033530026E-2</c:v>
                </c:pt>
                <c:pt idx="510">
                  <c:v>-1.4191022195598313E-2</c:v>
                </c:pt>
                <c:pt idx="511">
                  <c:v>-1.9903441118778065E-2</c:v>
                </c:pt>
                <c:pt idx="512">
                  <c:v>-2.1862084845750918E-2</c:v>
                </c:pt>
                <c:pt idx="513">
                  <c:v>-1.60284210908479E-2</c:v>
                </c:pt>
                <c:pt idx="514">
                  <c:v>-1.1133116155827683E-2</c:v>
                </c:pt>
                <c:pt idx="515">
                  <c:v>4.1925207889284E-3</c:v>
                </c:pt>
                <c:pt idx="516">
                  <c:v>4.4999450784737327E-3</c:v>
                </c:pt>
                <c:pt idx="517">
                  <c:v>-2.381968230566911E-3</c:v>
                </c:pt>
                <c:pt idx="518">
                  <c:v>7.6646251208016825E-3</c:v>
                </c:pt>
                <c:pt idx="519">
                  <c:v>1.6518042623894225E-2</c:v>
                </c:pt>
                <c:pt idx="520">
                  <c:v>1.3468280248007836E-2</c:v>
                </c:pt>
                <c:pt idx="521">
                  <c:v>1.0233547263230669E-2</c:v>
                </c:pt>
                <c:pt idx="522">
                  <c:v>1.3272837271788962E-2</c:v>
                </c:pt>
                <c:pt idx="523">
                  <c:v>2.2716112082078022E-2</c:v>
                </c:pt>
                <c:pt idx="524">
                  <c:v>2.1459058829692901E-2</c:v>
                </c:pt>
                <c:pt idx="525">
                  <c:v>1.938032049337679E-2</c:v>
                </c:pt>
                <c:pt idx="526">
                  <c:v>1.6288296940759284E-2</c:v>
                </c:pt>
                <c:pt idx="527">
                  <c:v>1.8356861501839461E-2</c:v>
                </c:pt>
                <c:pt idx="528">
                  <c:v>1.5026385952446208E-2</c:v>
                </c:pt>
                <c:pt idx="529">
                  <c:v>1.2192569179679036E-2</c:v>
                </c:pt>
                <c:pt idx="530">
                  <c:v>1.2304051781950043E-2</c:v>
                </c:pt>
                <c:pt idx="531">
                  <c:v>1.1955713780846255E-2</c:v>
                </c:pt>
                <c:pt idx="532">
                  <c:v>1.8683793346577771E-3</c:v>
                </c:pt>
                <c:pt idx="533">
                  <c:v>3.5448668867915645E-3</c:v>
                </c:pt>
                <c:pt idx="534">
                  <c:v>3.216882118008968E-3</c:v>
                </c:pt>
                <c:pt idx="535">
                  <c:v>-5.537696630114386E-3</c:v>
                </c:pt>
                <c:pt idx="536">
                  <c:v>-4.8353503205688098E-3</c:v>
                </c:pt>
                <c:pt idx="537">
                  <c:v>-1.3550134518646173E-3</c:v>
                </c:pt>
                <c:pt idx="538">
                  <c:v>-1.3061896376443949E-3</c:v>
                </c:pt>
                <c:pt idx="539">
                  <c:v>5.8006229902309858E-3</c:v>
                </c:pt>
                <c:pt idx="540">
                  <c:v>1.3071610194193228E-2</c:v>
                </c:pt>
                <c:pt idx="541">
                  <c:v>2.257477854358958E-2</c:v>
                </c:pt>
                <c:pt idx="542">
                  <c:v>2.7708522260948998E-2</c:v>
                </c:pt>
                <c:pt idx="543">
                  <c:v>2.2209383254196302E-2</c:v>
                </c:pt>
                <c:pt idx="544">
                  <c:v>1.9326399331328847E-2</c:v>
                </c:pt>
                <c:pt idx="545">
                  <c:v>4.7629717687420747E-3</c:v>
                </c:pt>
                <c:pt idx="546">
                  <c:v>3.5434583640230333E-3</c:v>
                </c:pt>
                <c:pt idx="547">
                  <c:v>1.1857965092036848E-2</c:v>
                </c:pt>
                <c:pt idx="548">
                  <c:v>1.7642470238126373E-2</c:v>
                </c:pt>
                <c:pt idx="549">
                  <c:v>1.8486263462806907E-2</c:v>
                </c:pt>
                <c:pt idx="550">
                  <c:v>1.6268069448461708E-2</c:v>
                </c:pt>
                <c:pt idx="551">
                  <c:v>2.7698171376313363E-2</c:v>
                </c:pt>
                <c:pt idx="552">
                  <c:v>2.9338471041478131E-2</c:v>
                </c:pt>
                <c:pt idx="553">
                  <c:v>2.4936220885616089E-2</c:v>
                </c:pt>
                <c:pt idx="554">
                  <c:v>2.7170636576324236E-2</c:v>
                </c:pt>
                <c:pt idx="555">
                  <c:v>2.9107226677279607E-2</c:v>
                </c:pt>
                <c:pt idx="556">
                  <c:v>3.0773433429071129E-2</c:v>
                </c:pt>
                <c:pt idx="557">
                  <c:v>3.6043002081943887E-2</c:v>
                </c:pt>
                <c:pt idx="558">
                  <c:v>3.2983651701770533E-2</c:v>
                </c:pt>
                <c:pt idx="559">
                  <c:v>2.9127818107716141E-2</c:v>
                </c:pt>
                <c:pt idx="560">
                  <c:v>3.2742913828008979E-2</c:v>
                </c:pt>
                <c:pt idx="561">
                  <c:v>2.8477318186100331E-2</c:v>
                </c:pt>
                <c:pt idx="562">
                  <c:v>3.9666351705828995E-2</c:v>
                </c:pt>
                <c:pt idx="563">
                  <c:v>2.9432573369162718E-2</c:v>
                </c:pt>
                <c:pt idx="564">
                  <c:v>2.4499562090413485E-2</c:v>
                </c:pt>
                <c:pt idx="565">
                  <c:v>2.9634792014756384E-2</c:v>
                </c:pt>
                <c:pt idx="566">
                  <c:v>2.6934933205607359E-2</c:v>
                </c:pt>
                <c:pt idx="567">
                  <c:v>2.092501501143762E-2</c:v>
                </c:pt>
                <c:pt idx="568">
                  <c:v>1.9524944361104635E-2</c:v>
                </c:pt>
                <c:pt idx="569">
                  <c:v>9.3304407980404624E-3</c:v>
                </c:pt>
                <c:pt idx="570">
                  <c:v>-2.0938425983377806E-3</c:v>
                </c:pt>
                <c:pt idx="571">
                  <c:v>-4.4899652211789487E-3</c:v>
                </c:pt>
                <c:pt idx="572">
                  <c:v>-3.3212521664131023E-3</c:v>
                </c:pt>
                <c:pt idx="573">
                  <c:v>2.2167222197116976E-3</c:v>
                </c:pt>
                <c:pt idx="574">
                  <c:v>1.6554595226760949E-3</c:v>
                </c:pt>
                <c:pt idx="575">
                  <c:v>1.1387752303036014E-2</c:v>
                </c:pt>
                <c:pt idx="576">
                  <c:v>1.008378240615182E-2</c:v>
                </c:pt>
                <c:pt idx="577">
                  <c:v>6.0135243879844147E-3</c:v>
                </c:pt>
                <c:pt idx="578">
                  <c:v>-3.7673527155304143E-3</c:v>
                </c:pt>
                <c:pt idx="579">
                  <c:v>-2.0265594513892982E-2</c:v>
                </c:pt>
                <c:pt idx="580">
                  <c:v>-2.1229189341730681E-2</c:v>
                </c:pt>
                <c:pt idx="581">
                  <c:v>-3.925229425355603E-2</c:v>
                </c:pt>
                <c:pt idx="582">
                  <c:v>-4.1271115110724899E-2</c:v>
                </c:pt>
                <c:pt idx="583">
                  <c:v>-4.8636364414993194E-2</c:v>
                </c:pt>
                <c:pt idx="584">
                  <c:v>-5.2043208800204743E-2</c:v>
                </c:pt>
                <c:pt idx="585">
                  <c:v>-5.0290986558614859E-2</c:v>
                </c:pt>
                <c:pt idx="586">
                  <c:v>-4.9371861819129115E-2</c:v>
                </c:pt>
                <c:pt idx="587">
                  <c:v>-6.5485702348675345E-2</c:v>
                </c:pt>
                <c:pt idx="588">
                  <c:v>-7.5919889751223435E-2</c:v>
                </c:pt>
                <c:pt idx="589">
                  <c:v>-7.8215435145378875E-2</c:v>
                </c:pt>
                <c:pt idx="590">
                  <c:v>-8.1266166099763448E-2</c:v>
                </c:pt>
                <c:pt idx="591">
                  <c:v>-7.9453939134160878E-2</c:v>
                </c:pt>
                <c:pt idx="592">
                  <c:v>-8.7856875766527898E-2</c:v>
                </c:pt>
                <c:pt idx="593">
                  <c:v>-7.0410027615250281E-2</c:v>
                </c:pt>
                <c:pt idx="594">
                  <c:v>-6.6878232357068246E-2</c:v>
                </c:pt>
                <c:pt idx="595">
                  <c:v>-6.2222151327534392E-2</c:v>
                </c:pt>
                <c:pt idx="596">
                  <c:v>-6.5732141721072668E-2</c:v>
                </c:pt>
                <c:pt idx="597">
                  <c:v>-6.4509011919817949E-2</c:v>
                </c:pt>
                <c:pt idx="598">
                  <c:v>-6.0658068633858697E-2</c:v>
                </c:pt>
                <c:pt idx="599">
                  <c:v>-5.0285113464371145E-2</c:v>
                </c:pt>
                <c:pt idx="600">
                  <c:v>-3.8005257044017138E-2</c:v>
                </c:pt>
                <c:pt idx="601">
                  <c:v>-4.7928977120751948E-2</c:v>
                </c:pt>
                <c:pt idx="602">
                  <c:v>-3.9752341865243568E-2</c:v>
                </c:pt>
                <c:pt idx="603">
                  <c:v>-5.6581491675311568E-5</c:v>
                </c:pt>
                <c:pt idx="604">
                  <c:v>1.2028463305377435E-2</c:v>
                </c:pt>
                <c:pt idx="605">
                  <c:v>2.9664835149855184E-3</c:v>
                </c:pt>
                <c:pt idx="606">
                  <c:v>-1.5595888054174334E-2</c:v>
                </c:pt>
                <c:pt idx="607">
                  <c:v>-1.4677317339496287E-2</c:v>
                </c:pt>
                <c:pt idx="608">
                  <c:v>-4.1530238403096886E-3</c:v>
                </c:pt>
                <c:pt idx="609">
                  <c:v>-1.6591207017771725E-2</c:v>
                </c:pt>
                <c:pt idx="610">
                  <c:v>-3.3900103691398398E-2</c:v>
                </c:pt>
                <c:pt idx="611">
                  <c:v>9.1713487670678218E-3</c:v>
                </c:pt>
                <c:pt idx="612">
                  <c:v>8.3781233955289025E-3</c:v>
                </c:pt>
                <c:pt idx="613">
                  <c:v>7.3643762189019579E-3</c:v>
                </c:pt>
                <c:pt idx="614">
                  <c:v>-7.0857555965504471E-3</c:v>
                </c:pt>
                <c:pt idx="615">
                  <c:v>-1.1706727760167013E-2</c:v>
                </c:pt>
                <c:pt idx="616">
                  <c:v>-1.5536681635376803E-2</c:v>
                </c:pt>
                <c:pt idx="617">
                  <c:v>4.813930130004862E-3</c:v>
                </c:pt>
                <c:pt idx="618">
                  <c:v>-1.7849755328280814E-4</c:v>
                </c:pt>
                <c:pt idx="619">
                  <c:v>1.519695021325429E-2</c:v>
                </c:pt>
                <c:pt idx="620">
                  <c:v>3.5947878297434732E-2</c:v>
                </c:pt>
                <c:pt idx="621">
                  <c:v>2.702208586771615E-2</c:v>
                </c:pt>
                <c:pt idx="622">
                  <c:v>6.3748030688285828E-2</c:v>
                </c:pt>
                <c:pt idx="623">
                  <c:v>7.9193240300333478E-2</c:v>
                </c:pt>
                <c:pt idx="624">
                  <c:v>8.0253787131804644E-2</c:v>
                </c:pt>
                <c:pt idx="625">
                  <c:v>9.2485356145323827E-2</c:v>
                </c:pt>
                <c:pt idx="626">
                  <c:v>9.039062708787815E-2</c:v>
                </c:pt>
                <c:pt idx="627">
                  <c:v>7.9630088317542702E-2</c:v>
                </c:pt>
                <c:pt idx="628">
                  <c:v>7.5877269860935681E-2</c:v>
                </c:pt>
                <c:pt idx="629">
                  <c:v>6.704311975921029E-2</c:v>
                </c:pt>
                <c:pt idx="630">
                  <c:v>4.1239955688779029E-2</c:v>
                </c:pt>
                <c:pt idx="631">
                  <c:v>8.054479995607583E-2</c:v>
                </c:pt>
                <c:pt idx="632">
                  <c:v>8.7726790408698574E-2</c:v>
                </c:pt>
                <c:pt idx="633">
                  <c:v>5.1278140943138983E-2</c:v>
                </c:pt>
                <c:pt idx="634">
                  <c:v>3.2974690034344056E-2</c:v>
                </c:pt>
                <c:pt idx="635">
                  <c:v>3.863049725451595E-2</c:v>
                </c:pt>
                <c:pt idx="636">
                  <c:v>6.3307849976118935E-2</c:v>
                </c:pt>
                <c:pt idx="637">
                  <c:v>6.7620791820377502E-2</c:v>
                </c:pt>
                <c:pt idx="638">
                  <c:v>7.3278481165752307E-2</c:v>
                </c:pt>
                <c:pt idx="639">
                  <c:v>6.1024065659024129E-2</c:v>
                </c:pt>
                <c:pt idx="640">
                  <c:v>7.8287859782877445E-2</c:v>
                </c:pt>
                <c:pt idx="641">
                  <c:v>7.2191391016629747E-2</c:v>
                </c:pt>
                <c:pt idx="642">
                  <c:v>5.3439307636820366E-2</c:v>
                </c:pt>
                <c:pt idx="643">
                  <c:v>3.3202890812360386E-2</c:v>
                </c:pt>
                <c:pt idx="644">
                  <c:v>2.7887387480263204E-2</c:v>
                </c:pt>
                <c:pt idx="645">
                  <c:v>2.8308378217672514E-2</c:v>
                </c:pt>
                <c:pt idx="646">
                  <c:v>-5.8148158416520213E-2</c:v>
                </c:pt>
                <c:pt idx="647">
                  <c:v>-5.2005285614484587E-2</c:v>
                </c:pt>
                <c:pt idx="648">
                  <c:v>-5.396901111916752E-2</c:v>
                </c:pt>
                <c:pt idx="649">
                  <c:v>-5.4079850817540742E-2</c:v>
                </c:pt>
                <c:pt idx="650">
                  <c:v>-3.3838193187062382E-2</c:v>
                </c:pt>
                <c:pt idx="651">
                  <c:v>-1.8374780954381387E-2</c:v>
                </c:pt>
                <c:pt idx="652">
                  <c:v>-2.5088620854081256E-3</c:v>
                </c:pt>
                <c:pt idx="653">
                  <c:v>5.297010154804549E-3</c:v>
                </c:pt>
                <c:pt idx="654">
                  <c:v>1.3188476838915109E-2</c:v>
                </c:pt>
                <c:pt idx="655">
                  <c:v>-1.6917189474586536E-2</c:v>
                </c:pt>
                <c:pt idx="656">
                  <c:v>-2.4472575060840995E-3</c:v>
                </c:pt>
                <c:pt idx="657">
                  <c:v>-6.155708879139743E-3</c:v>
                </c:pt>
                <c:pt idx="658">
                  <c:v>-1.7939982773469088E-2</c:v>
                </c:pt>
                <c:pt idx="659">
                  <c:v>-1.7517775416365566E-2</c:v>
                </c:pt>
                <c:pt idx="660">
                  <c:v>3.7303463640343537E-3</c:v>
                </c:pt>
                <c:pt idx="661">
                  <c:v>2.9906248670705904E-2</c:v>
                </c:pt>
                <c:pt idx="662">
                  <c:v>8.0115268486259605E-2</c:v>
                </c:pt>
                <c:pt idx="663">
                  <c:v>8.111503683185306E-2</c:v>
                </c:pt>
                <c:pt idx="664">
                  <c:v>6.4616612806210005E-2</c:v>
                </c:pt>
                <c:pt idx="665">
                  <c:v>6.039835627223944E-2</c:v>
                </c:pt>
                <c:pt idx="666">
                  <c:v>7.390405934690214E-2</c:v>
                </c:pt>
                <c:pt idx="667">
                  <c:v>5.3324466835960815E-2</c:v>
                </c:pt>
                <c:pt idx="668">
                  <c:v>4.8290057086508575E-3</c:v>
                </c:pt>
                <c:pt idx="669">
                  <c:v>4.7071837438229513E-2</c:v>
                </c:pt>
                <c:pt idx="670">
                  <c:v>4.7014740498623531E-2</c:v>
                </c:pt>
                <c:pt idx="671">
                  <c:v>5.2265526461071965E-2</c:v>
                </c:pt>
                <c:pt idx="672">
                  <c:v>6.6908988745045694E-2</c:v>
                </c:pt>
                <c:pt idx="673">
                  <c:v>3.9448801734185412E-2</c:v>
                </c:pt>
                <c:pt idx="674">
                  <c:v>2.3932691599876987E-2</c:v>
                </c:pt>
                <c:pt idx="675">
                  <c:v>1.9438690792160096E-2</c:v>
                </c:pt>
                <c:pt idx="676">
                  <c:v>2.2837992817930641E-2</c:v>
                </c:pt>
                <c:pt idx="677">
                  <c:v>2.2058833664646116E-2</c:v>
                </c:pt>
                <c:pt idx="678">
                  <c:v>2.8506597210241291E-2</c:v>
                </c:pt>
                <c:pt idx="679">
                  <c:v>2.9568135264466999E-2</c:v>
                </c:pt>
                <c:pt idx="680">
                  <c:v>2.6200645690362845E-2</c:v>
                </c:pt>
                <c:pt idx="681">
                  <c:v>2.0130843350977368E-2</c:v>
                </c:pt>
                <c:pt idx="682">
                  <c:v>2.476767343348496E-2</c:v>
                </c:pt>
                <c:pt idx="683">
                  <c:v>2.3332348148689119E-2</c:v>
                </c:pt>
                <c:pt idx="684">
                  <c:v>1.6995835894520139E-2</c:v>
                </c:pt>
                <c:pt idx="685">
                  <c:v>3.3178522327635407E-2</c:v>
                </c:pt>
                <c:pt idx="686">
                  <c:v>3.9435259384329124E-2</c:v>
                </c:pt>
                <c:pt idx="687">
                  <c:v>4.063589771886944E-2</c:v>
                </c:pt>
                <c:pt idx="688">
                  <c:v>4.380086671561978E-2</c:v>
                </c:pt>
                <c:pt idx="689">
                  <c:v>4.4809357727847998E-2</c:v>
                </c:pt>
                <c:pt idx="690">
                  <c:v>4.5094655569346775E-2</c:v>
                </c:pt>
                <c:pt idx="691">
                  <c:v>5.4512169753432538E-2</c:v>
                </c:pt>
                <c:pt idx="692">
                  <c:v>4.8397766064422809E-2</c:v>
                </c:pt>
                <c:pt idx="693">
                  <c:v>4.7160348975188282E-2</c:v>
                </c:pt>
                <c:pt idx="694">
                  <c:v>4.7692598297303546E-2</c:v>
                </c:pt>
                <c:pt idx="695">
                  <c:v>4.767829175306959E-2</c:v>
                </c:pt>
                <c:pt idx="696">
                  <c:v>4.8801973199959936E-2</c:v>
                </c:pt>
                <c:pt idx="697">
                  <c:v>5.0656599168279137E-2</c:v>
                </c:pt>
                <c:pt idx="698">
                  <c:v>5.2439891849780818E-2</c:v>
                </c:pt>
                <c:pt idx="699">
                  <c:v>5.2537668013081795E-2</c:v>
                </c:pt>
                <c:pt idx="700">
                  <c:v>5.3744700769472908E-2</c:v>
                </c:pt>
                <c:pt idx="701">
                  <c:v>4.7578582677995085E-2</c:v>
                </c:pt>
                <c:pt idx="702">
                  <c:v>4.7952019908713339E-2</c:v>
                </c:pt>
                <c:pt idx="703">
                  <c:v>4.3101870017434152E-2</c:v>
                </c:pt>
                <c:pt idx="704">
                  <c:v>4.631619137512033E-2</c:v>
                </c:pt>
                <c:pt idx="705">
                  <c:v>4.8239688217719623E-2</c:v>
                </c:pt>
                <c:pt idx="706">
                  <c:v>4.5982352726158582E-2</c:v>
                </c:pt>
                <c:pt idx="707">
                  <c:v>3.4083902013295586E-2</c:v>
                </c:pt>
                <c:pt idx="708">
                  <c:v>2.4502932092117624E-2</c:v>
                </c:pt>
                <c:pt idx="709">
                  <c:v>1.1796711207586186E-2</c:v>
                </c:pt>
                <c:pt idx="710">
                  <c:v>1.343400607122458E-2</c:v>
                </c:pt>
                <c:pt idx="711">
                  <c:v>2.2574957027685083E-2</c:v>
                </c:pt>
                <c:pt idx="712">
                  <c:v>2.009957892559977E-2</c:v>
                </c:pt>
                <c:pt idx="713">
                  <c:v>2.3664381853144123E-2</c:v>
                </c:pt>
                <c:pt idx="714">
                  <c:v>2.6658806499564758E-2</c:v>
                </c:pt>
                <c:pt idx="715">
                  <c:v>6.1429711304268331E-3</c:v>
                </c:pt>
                <c:pt idx="716">
                  <c:v>1.0386297437810943E-2</c:v>
                </c:pt>
                <c:pt idx="717">
                  <c:v>1.0193003868092965E-2</c:v>
                </c:pt>
                <c:pt idx="718">
                  <c:v>1.1088861291167484E-2</c:v>
                </c:pt>
                <c:pt idx="719">
                  <c:v>1.1430070784544055E-2</c:v>
                </c:pt>
                <c:pt idx="720">
                  <c:v>1.3565218262454937E-2</c:v>
                </c:pt>
                <c:pt idx="721">
                  <c:v>8.8871156705981891E-3</c:v>
                </c:pt>
                <c:pt idx="722">
                  <c:v>1.1990471397276492E-2</c:v>
                </c:pt>
                <c:pt idx="723">
                  <c:v>1.0775309195526162E-2</c:v>
                </c:pt>
                <c:pt idx="724">
                  <c:v>1.3716390904030318E-2</c:v>
                </c:pt>
                <c:pt idx="725">
                  <c:v>6.8416085761956458E-3</c:v>
                </c:pt>
                <c:pt idx="726">
                  <c:v>-5.3224296517153658E-3</c:v>
                </c:pt>
                <c:pt idx="727">
                  <c:v>-1.5639707496695521E-2</c:v>
                </c:pt>
                <c:pt idx="728">
                  <c:v>-1.6470856788023069E-2</c:v>
                </c:pt>
                <c:pt idx="729">
                  <c:v>-2.808016869239327E-2</c:v>
                </c:pt>
                <c:pt idx="730">
                  <c:v>-4.5292296960070644E-2</c:v>
                </c:pt>
                <c:pt idx="731">
                  <c:v>-4.481707533271917E-2</c:v>
                </c:pt>
                <c:pt idx="732">
                  <c:v>-5.5589974438903456E-2</c:v>
                </c:pt>
                <c:pt idx="733">
                  <c:v>-5.6344560482596173E-2</c:v>
                </c:pt>
                <c:pt idx="734">
                  <c:v>-5.2716912432702601E-2</c:v>
                </c:pt>
                <c:pt idx="735">
                  <c:v>-5.8374825341940717E-2</c:v>
                </c:pt>
                <c:pt idx="736">
                  <c:v>-5.8418697442171541E-2</c:v>
                </c:pt>
                <c:pt idx="737">
                  <c:v>-5.4568715013770253E-2</c:v>
                </c:pt>
                <c:pt idx="738">
                  <c:v>-5.6362482633879663E-2</c:v>
                </c:pt>
                <c:pt idx="739">
                  <c:v>-3.5607450358028148E-2</c:v>
                </c:pt>
                <c:pt idx="740">
                  <c:v>-3.7144426449239876E-2</c:v>
                </c:pt>
                <c:pt idx="741">
                  <c:v>-3.8196935325373826E-2</c:v>
                </c:pt>
                <c:pt idx="742">
                  <c:v>-3.5962669704010075E-2</c:v>
                </c:pt>
                <c:pt idx="743">
                  <c:v>-3.83697629314671E-2</c:v>
                </c:pt>
                <c:pt idx="744">
                  <c:v>-5.185145591984075E-2</c:v>
                </c:pt>
                <c:pt idx="745">
                  <c:v>-3.835674090605401E-2</c:v>
                </c:pt>
                <c:pt idx="746">
                  <c:v>-4.2611279028396787E-2</c:v>
                </c:pt>
                <c:pt idx="747">
                  <c:v>-3.2940848655820698E-2</c:v>
                </c:pt>
                <c:pt idx="748">
                  <c:v>-3.5100149007916359E-2</c:v>
                </c:pt>
                <c:pt idx="749">
                  <c:v>-3.9997128148747008E-2</c:v>
                </c:pt>
                <c:pt idx="750">
                  <c:v>-4.606294559574664E-2</c:v>
                </c:pt>
                <c:pt idx="751">
                  <c:v>-4.7898709193502698E-2</c:v>
                </c:pt>
                <c:pt idx="752">
                  <c:v>-3.9901814010983805E-2</c:v>
                </c:pt>
                <c:pt idx="753">
                  <c:v>-4.2012606681590126E-2</c:v>
                </c:pt>
                <c:pt idx="754">
                  <c:v>-4.865819130580129E-2</c:v>
                </c:pt>
                <c:pt idx="755">
                  <c:v>-4.4918069288873985E-2</c:v>
                </c:pt>
                <c:pt idx="756">
                  <c:v>-3.4676505562910021E-2</c:v>
                </c:pt>
                <c:pt idx="757">
                  <c:v>-2.8048729535622652E-2</c:v>
                </c:pt>
                <c:pt idx="758">
                  <c:v>-2.347341568805883E-2</c:v>
                </c:pt>
                <c:pt idx="759">
                  <c:v>-2.4277250979746978E-2</c:v>
                </c:pt>
                <c:pt idx="760">
                  <c:v>-1.5796591247029479E-2</c:v>
                </c:pt>
                <c:pt idx="761">
                  <c:v>-1.5917499312071759E-2</c:v>
                </c:pt>
                <c:pt idx="762">
                  <c:v>-1.1955606473524227E-2</c:v>
                </c:pt>
                <c:pt idx="763">
                  <c:v>-1.0289623898563582E-2</c:v>
                </c:pt>
                <c:pt idx="764">
                  <c:v>-2.1352659128313967E-2</c:v>
                </c:pt>
                <c:pt idx="765">
                  <c:v>-2.026128213224121E-2</c:v>
                </c:pt>
                <c:pt idx="766">
                  <c:v>-2.0109915468622508E-2</c:v>
                </c:pt>
                <c:pt idx="767">
                  <c:v>-2.609377861363682E-2</c:v>
                </c:pt>
                <c:pt idx="768">
                  <c:v>-2.082461417212933E-2</c:v>
                </c:pt>
                <c:pt idx="769">
                  <c:v>-2.6061898886708734E-2</c:v>
                </c:pt>
                <c:pt idx="770">
                  <c:v>-2.4311678859339048E-2</c:v>
                </c:pt>
                <c:pt idx="771">
                  <c:v>-2.2393486142753605E-2</c:v>
                </c:pt>
                <c:pt idx="772">
                  <c:v>-3.0677035326524327E-2</c:v>
                </c:pt>
                <c:pt idx="773">
                  <c:v>-2.4231797179805281E-2</c:v>
                </c:pt>
                <c:pt idx="774">
                  <c:v>-1.0005731187175404E-2</c:v>
                </c:pt>
                <c:pt idx="775">
                  <c:v>-2.7173745925572756E-3</c:v>
                </c:pt>
                <c:pt idx="776">
                  <c:v>-6.9373407730416448E-3</c:v>
                </c:pt>
                <c:pt idx="777">
                  <c:v>-2.7795694096814594E-2</c:v>
                </c:pt>
                <c:pt idx="778">
                  <c:v>-2.4382535241458059E-2</c:v>
                </c:pt>
                <c:pt idx="779">
                  <c:v>-2.1295393144085684E-2</c:v>
                </c:pt>
                <c:pt idx="780">
                  <c:v>-2.5546844384998435E-2</c:v>
                </c:pt>
                <c:pt idx="781">
                  <c:v>-2.1134235258364553E-2</c:v>
                </c:pt>
                <c:pt idx="782">
                  <c:v>-1.5855586831645341E-2</c:v>
                </c:pt>
                <c:pt idx="783">
                  <c:v>-2.2064640861885199E-2</c:v>
                </c:pt>
                <c:pt idx="784">
                  <c:v>-1.7000826172935635E-2</c:v>
                </c:pt>
                <c:pt idx="785">
                  <c:v>-2.1654080568198286E-2</c:v>
                </c:pt>
                <c:pt idx="786">
                  <c:v>-2.644250901615397E-2</c:v>
                </c:pt>
                <c:pt idx="787">
                  <c:v>-2.9843221511424045E-2</c:v>
                </c:pt>
                <c:pt idx="788">
                  <c:v>-2.0358304797750471E-2</c:v>
                </c:pt>
                <c:pt idx="789">
                  <c:v>-1.7634045624413397E-2</c:v>
                </c:pt>
                <c:pt idx="790">
                  <c:v>-1.9296052705108369E-2</c:v>
                </c:pt>
                <c:pt idx="791">
                  <c:v>-1.4310615210149313E-2</c:v>
                </c:pt>
                <c:pt idx="792">
                  <c:v>-1.158385216010005E-2</c:v>
                </c:pt>
                <c:pt idx="793">
                  <c:v>-1.4740154905938274E-2</c:v>
                </c:pt>
                <c:pt idx="794">
                  <c:v>-8.4042435269461313E-3</c:v>
                </c:pt>
                <c:pt idx="795">
                  <c:v>-6.8435145294568622E-3</c:v>
                </c:pt>
                <c:pt idx="796">
                  <c:v>-7.4914502919332104E-3</c:v>
                </c:pt>
                <c:pt idx="797">
                  <c:v>1.8028278091573036E-3</c:v>
                </c:pt>
                <c:pt idx="798">
                  <c:v>6.2611746229267462E-3</c:v>
                </c:pt>
                <c:pt idx="799">
                  <c:v>5.6337323959246843E-3</c:v>
                </c:pt>
                <c:pt idx="800">
                  <c:v>5.0190388441805345E-3</c:v>
                </c:pt>
                <c:pt idx="801">
                  <c:v>1.1524606842220342E-3</c:v>
                </c:pt>
                <c:pt idx="802">
                  <c:v>8.722968119765695E-3</c:v>
                </c:pt>
                <c:pt idx="803">
                  <c:v>3.5566318948800912E-3</c:v>
                </c:pt>
                <c:pt idx="804">
                  <c:v>4.4042958445401625E-3</c:v>
                </c:pt>
                <c:pt idx="805">
                  <c:v>3.536474533805678E-3</c:v>
                </c:pt>
                <c:pt idx="806">
                  <c:v>9.3025087032809761E-3</c:v>
                </c:pt>
                <c:pt idx="807">
                  <c:v>2.3005652625905593E-2</c:v>
                </c:pt>
                <c:pt idx="808">
                  <c:v>2.0846783115207823E-2</c:v>
                </c:pt>
                <c:pt idx="809">
                  <c:v>1.1433066758719468E-2</c:v>
                </c:pt>
                <c:pt idx="810">
                  <c:v>1.7649523282773916E-2</c:v>
                </c:pt>
                <c:pt idx="811">
                  <c:v>1.7609472466365461E-2</c:v>
                </c:pt>
                <c:pt idx="812">
                  <c:v>7.5016981442899144E-3</c:v>
                </c:pt>
                <c:pt idx="813">
                  <c:v>1.600547988468437E-2</c:v>
                </c:pt>
                <c:pt idx="814">
                  <c:v>7.7383054415504082E-3</c:v>
                </c:pt>
                <c:pt idx="815">
                  <c:v>4.1803604229340152E-5</c:v>
                </c:pt>
                <c:pt idx="816">
                  <c:v>7.0575305253929299E-3</c:v>
                </c:pt>
                <c:pt idx="817">
                  <c:v>9.1754792999888535E-3</c:v>
                </c:pt>
                <c:pt idx="818">
                  <c:v>-2.0499503408414332E-3</c:v>
                </c:pt>
                <c:pt idx="819">
                  <c:v>-1.7249480976100351E-3</c:v>
                </c:pt>
                <c:pt idx="820">
                  <c:v>-5.711789693904068E-4</c:v>
                </c:pt>
                <c:pt idx="821">
                  <c:v>1.8717430987803541E-3</c:v>
                </c:pt>
                <c:pt idx="822">
                  <c:v>3.5263605960188515E-3</c:v>
                </c:pt>
                <c:pt idx="823">
                  <c:v>4.9807123876522974E-3</c:v>
                </c:pt>
                <c:pt idx="824">
                  <c:v>1.3394738552541918E-2</c:v>
                </c:pt>
                <c:pt idx="825">
                  <c:v>1.1519027054195941E-2</c:v>
                </c:pt>
                <c:pt idx="826">
                  <c:v>2.2659280138225268E-3</c:v>
                </c:pt>
                <c:pt idx="827">
                  <c:v>6.4411097830283648E-3</c:v>
                </c:pt>
                <c:pt idx="828">
                  <c:v>-3.575301932913888E-3</c:v>
                </c:pt>
                <c:pt idx="829">
                  <c:v>-4.6096699038689071E-3</c:v>
                </c:pt>
                <c:pt idx="830">
                  <c:v>-7.0701935559165374E-3</c:v>
                </c:pt>
                <c:pt idx="831">
                  <c:v>-5.3845488435628752E-3</c:v>
                </c:pt>
                <c:pt idx="832">
                  <c:v>-1.0511745674818718E-2</c:v>
                </c:pt>
                <c:pt idx="833">
                  <c:v>-7.0825938665436405E-3</c:v>
                </c:pt>
                <c:pt idx="834">
                  <c:v>-1.5202632567413499E-2</c:v>
                </c:pt>
                <c:pt idx="835">
                  <c:v>-1.6989067601455687E-2</c:v>
                </c:pt>
                <c:pt idx="836">
                  <c:v>-1.5631387068841152E-2</c:v>
                </c:pt>
                <c:pt idx="837">
                  <c:v>-1.7081863767372973E-2</c:v>
                </c:pt>
                <c:pt idx="838">
                  <c:v>-1.6731840583146806E-2</c:v>
                </c:pt>
                <c:pt idx="839">
                  <c:v>-7.5032106879444616E-3</c:v>
                </c:pt>
                <c:pt idx="840">
                  <c:v>-1.0069388270611657E-2</c:v>
                </c:pt>
                <c:pt idx="841">
                  <c:v>-9.8589866511753499E-3</c:v>
                </c:pt>
                <c:pt idx="842">
                  <c:v>-4.8478694661563404E-3</c:v>
                </c:pt>
                <c:pt idx="843">
                  <c:v>-5.1008307512302453E-3</c:v>
                </c:pt>
                <c:pt idx="844">
                  <c:v>-9.1289609635158975E-4</c:v>
                </c:pt>
                <c:pt idx="845">
                  <c:v>6.7832696532196257E-3</c:v>
                </c:pt>
                <c:pt idx="846">
                  <c:v>1.1356707616126394E-2</c:v>
                </c:pt>
                <c:pt idx="847">
                  <c:v>1.0404996650061782E-2</c:v>
                </c:pt>
                <c:pt idx="848">
                  <c:v>8.2154071818888452E-3</c:v>
                </c:pt>
                <c:pt idx="849">
                  <c:v>1.1929759180117183E-2</c:v>
                </c:pt>
                <c:pt idx="850">
                  <c:v>-9.1517924393658134E-5</c:v>
                </c:pt>
                <c:pt idx="851">
                  <c:v>-3.245166294353119E-3</c:v>
                </c:pt>
                <c:pt idx="852">
                  <c:v>-8.3653790206268397E-3</c:v>
                </c:pt>
                <c:pt idx="853">
                  <c:v>-9.3861401657340249E-3</c:v>
                </c:pt>
                <c:pt idx="854">
                  <c:v>-1.6858471118493368E-2</c:v>
                </c:pt>
                <c:pt idx="855">
                  <c:v>-1.415060220410691E-2</c:v>
                </c:pt>
                <c:pt idx="856">
                  <c:v>-6.1764969848159268E-3</c:v>
                </c:pt>
                <c:pt idx="857">
                  <c:v>-5.8181318858555597E-3</c:v>
                </c:pt>
                <c:pt idx="858">
                  <c:v>-5.4958248866296966E-3</c:v>
                </c:pt>
                <c:pt idx="859">
                  <c:v>-1.0040445749518456E-3</c:v>
                </c:pt>
                <c:pt idx="860">
                  <c:v>-2.7692222656783283E-4</c:v>
                </c:pt>
                <c:pt idx="861">
                  <c:v>-9.8788153760244191E-3</c:v>
                </c:pt>
                <c:pt idx="862">
                  <c:v>-6.6751908087145928E-3</c:v>
                </c:pt>
                <c:pt idx="863">
                  <c:v>-1.6893281730899212E-2</c:v>
                </c:pt>
                <c:pt idx="864">
                  <c:v>-4.7976681570489621E-3</c:v>
                </c:pt>
                <c:pt idx="865">
                  <c:v>-2.9878716143203476E-3</c:v>
                </c:pt>
                <c:pt idx="866">
                  <c:v>-6.5140370719414253E-3</c:v>
                </c:pt>
                <c:pt idx="867">
                  <c:v>-1.6402131675684384E-2</c:v>
                </c:pt>
                <c:pt idx="868">
                  <c:v>-1.3834315583710288E-2</c:v>
                </c:pt>
                <c:pt idx="869">
                  <c:v>-1.3057310387467269E-2</c:v>
                </c:pt>
                <c:pt idx="870">
                  <c:v>-8.8138207216661435E-3</c:v>
                </c:pt>
                <c:pt idx="871">
                  <c:v>-1.6741755305636707E-2</c:v>
                </c:pt>
                <c:pt idx="872">
                  <c:v>-9.5485139423574505E-3</c:v>
                </c:pt>
                <c:pt idx="873">
                  <c:v>-9.9008263918225481E-3</c:v>
                </c:pt>
                <c:pt idx="874">
                  <c:v>-5.2688080895577638E-3</c:v>
                </c:pt>
                <c:pt idx="875">
                  <c:v>-5.8684290408329565E-3</c:v>
                </c:pt>
                <c:pt idx="876">
                  <c:v>-7.0858269679111574E-3</c:v>
                </c:pt>
                <c:pt idx="877">
                  <c:v>-1.0324006849912082E-2</c:v>
                </c:pt>
                <c:pt idx="878">
                  <c:v>-4.0607899988298612E-3</c:v>
                </c:pt>
                <c:pt idx="879">
                  <c:v>-3.0091174778529295E-3</c:v>
                </c:pt>
                <c:pt idx="880">
                  <c:v>1.3586278271447982E-3</c:v>
                </c:pt>
                <c:pt idx="881">
                  <c:v>4.1304065351148722E-3</c:v>
                </c:pt>
                <c:pt idx="882">
                  <c:v>8.3219626818643588E-3</c:v>
                </c:pt>
                <c:pt idx="883">
                  <c:v>3.1505996910961009E-3</c:v>
                </c:pt>
                <c:pt idx="884">
                  <c:v>3.101998792767402E-3</c:v>
                </c:pt>
                <c:pt idx="885">
                  <c:v>5.3503503118137452E-3</c:v>
                </c:pt>
                <c:pt idx="886">
                  <c:v>1.3165325241431325E-2</c:v>
                </c:pt>
                <c:pt idx="887">
                  <c:v>1.2814756254624138E-2</c:v>
                </c:pt>
                <c:pt idx="888">
                  <c:v>2.0784286495070359E-2</c:v>
                </c:pt>
                <c:pt idx="889">
                  <c:v>1.6578397378597454E-2</c:v>
                </c:pt>
                <c:pt idx="890">
                  <c:v>2.5227836850293506E-2</c:v>
                </c:pt>
                <c:pt idx="891">
                  <c:v>4.2531423132725843E-2</c:v>
                </c:pt>
                <c:pt idx="892">
                  <c:v>4.1186612153299218E-2</c:v>
                </c:pt>
                <c:pt idx="893">
                  <c:v>3.9939860906353375E-2</c:v>
                </c:pt>
                <c:pt idx="894">
                  <c:v>3.6629374815431159E-2</c:v>
                </c:pt>
                <c:pt idx="895">
                  <c:v>3.8813664816370719E-2</c:v>
                </c:pt>
                <c:pt idx="896">
                  <c:v>3.9716145679360659E-2</c:v>
                </c:pt>
                <c:pt idx="897">
                  <c:v>4.4023762033535419E-2</c:v>
                </c:pt>
                <c:pt idx="898">
                  <c:v>3.8820510951075637E-2</c:v>
                </c:pt>
                <c:pt idx="899">
                  <c:v>3.6580675782365679E-2</c:v>
                </c:pt>
                <c:pt idx="900">
                  <c:v>3.8552832522328884E-2</c:v>
                </c:pt>
                <c:pt idx="901">
                  <c:v>3.8927676126438104E-2</c:v>
                </c:pt>
                <c:pt idx="902">
                  <c:v>3.2572845327394795E-2</c:v>
                </c:pt>
                <c:pt idx="903">
                  <c:v>1.7638074329286546E-2</c:v>
                </c:pt>
                <c:pt idx="904">
                  <c:v>3.9629921190367234E-3</c:v>
                </c:pt>
                <c:pt idx="905">
                  <c:v>1.2277038355039571E-2</c:v>
                </c:pt>
                <c:pt idx="906">
                  <c:v>9.946128139842858E-3</c:v>
                </c:pt>
                <c:pt idx="907">
                  <c:v>1.4638971309755444E-2</c:v>
                </c:pt>
                <c:pt idx="908">
                  <c:v>3.451362211134068E-3</c:v>
                </c:pt>
                <c:pt idx="909">
                  <c:v>5.8666575534676024E-3</c:v>
                </c:pt>
                <c:pt idx="910">
                  <c:v>1.1021069887241719E-2</c:v>
                </c:pt>
                <c:pt idx="911">
                  <c:v>1.4672173282859413E-2</c:v>
                </c:pt>
                <c:pt idx="912">
                  <c:v>1.5748898647473419E-2</c:v>
                </c:pt>
                <c:pt idx="913">
                  <c:v>2.0602061290505125E-2</c:v>
                </c:pt>
                <c:pt idx="914">
                  <c:v>2.0247486909755419E-2</c:v>
                </c:pt>
                <c:pt idx="915">
                  <c:v>1.5757968122385502E-2</c:v>
                </c:pt>
                <c:pt idx="916">
                  <c:v>1.5157944345075447E-2</c:v>
                </c:pt>
                <c:pt idx="917">
                  <c:v>1.4402330029639199E-2</c:v>
                </c:pt>
                <c:pt idx="918">
                  <c:v>1.9813364515160692E-2</c:v>
                </c:pt>
                <c:pt idx="919">
                  <c:v>2.02996767904291E-2</c:v>
                </c:pt>
                <c:pt idx="920">
                  <c:v>1.311827824815015E-2</c:v>
                </c:pt>
                <c:pt idx="921">
                  <c:v>2.9694854927266867E-3</c:v>
                </c:pt>
                <c:pt idx="922">
                  <c:v>3.4681343021071287E-3</c:v>
                </c:pt>
                <c:pt idx="923">
                  <c:v>1.1616400191163612E-2</c:v>
                </c:pt>
                <c:pt idx="924">
                  <c:v>1.4266710461638854E-2</c:v>
                </c:pt>
                <c:pt idx="925">
                  <c:v>1.2474887897486187E-2</c:v>
                </c:pt>
                <c:pt idx="926">
                  <c:v>5.2941509630592964E-3</c:v>
                </c:pt>
                <c:pt idx="927">
                  <c:v>4.5493375481636678E-3</c:v>
                </c:pt>
                <c:pt idx="928">
                  <c:v>1.0664359773820187E-2</c:v>
                </c:pt>
                <c:pt idx="929">
                  <c:v>8.4664275156047797E-3</c:v>
                </c:pt>
                <c:pt idx="930">
                  <c:v>-6.4946326666526222E-4</c:v>
                </c:pt>
                <c:pt idx="931">
                  <c:v>1.4829751821863191E-3</c:v>
                </c:pt>
                <c:pt idx="932">
                  <c:v>1.5552312191651874E-2</c:v>
                </c:pt>
                <c:pt idx="933">
                  <c:v>2.3200247348047598E-2</c:v>
                </c:pt>
                <c:pt idx="934">
                  <c:v>3.571658845781811E-2</c:v>
                </c:pt>
                <c:pt idx="935">
                  <c:v>2.7489366596156417E-2</c:v>
                </c:pt>
                <c:pt idx="936">
                  <c:v>3.1049308238360718E-2</c:v>
                </c:pt>
                <c:pt idx="937">
                  <c:v>2.9027573043275856E-2</c:v>
                </c:pt>
                <c:pt idx="938">
                  <c:v>3.7899563257679514E-2</c:v>
                </c:pt>
                <c:pt idx="939">
                  <c:v>3.6864393229403269E-2</c:v>
                </c:pt>
                <c:pt idx="940">
                  <c:v>4.4757327443643136E-2</c:v>
                </c:pt>
                <c:pt idx="941">
                  <c:v>3.9896131104927068E-2</c:v>
                </c:pt>
                <c:pt idx="942">
                  <c:v>3.4956104120599352E-2</c:v>
                </c:pt>
                <c:pt idx="943">
                  <c:v>2.5351852440596012E-2</c:v>
                </c:pt>
                <c:pt idx="944">
                  <c:v>1.6097964899118078E-2</c:v>
                </c:pt>
                <c:pt idx="945">
                  <c:v>1.0420698514224003E-2</c:v>
                </c:pt>
                <c:pt idx="946">
                  <c:v>7.1514652456106109E-3</c:v>
                </c:pt>
                <c:pt idx="947">
                  <c:v>1.3264265733731406E-2</c:v>
                </c:pt>
                <c:pt idx="948">
                  <c:v>3.5649465901769206E-3</c:v>
                </c:pt>
                <c:pt idx="949">
                  <c:v>7.9170977649705154E-3</c:v>
                </c:pt>
                <c:pt idx="950">
                  <c:v>1.2453675065214442E-2</c:v>
                </c:pt>
                <c:pt idx="951">
                  <c:v>1.2635350954549596E-2</c:v>
                </c:pt>
                <c:pt idx="952">
                  <c:v>1.5983433458669816E-2</c:v>
                </c:pt>
                <c:pt idx="953">
                  <c:v>1.3886618829101582E-2</c:v>
                </c:pt>
                <c:pt idx="954">
                  <c:v>9.4838558472094547E-3</c:v>
                </c:pt>
                <c:pt idx="955">
                  <c:v>-2.0010913931434171E-4</c:v>
                </c:pt>
                <c:pt idx="956">
                  <c:v>5.1212942734553124E-3</c:v>
                </c:pt>
                <c:pt idx="957">
                  <c:v>-2.007109903139126E-3</c:v>
                </c:pt>
                <c:pt idx="958">
                  <c:v>2.3422207764959291E-3</c:v>
                </c:pt>
                <c:pt idx="959">
                  <c:v>8.6255699544339759E-3</c:v>
                </c:pt>
                <c:pt idx="960">
                  <c:v>1.3316650029011723E-2</c:v>
                </c:pt>
                <c:pt idx="961">
                  <c:v>5.6610379004459199E-3</c:v>
                </c:pt>
                <c:pt idx="962">
                  <c:v>4.5492268505209488E-3</c:v>
                </c:pt>
                <c:pt idx="963">
                  <c:v>8.0574811118634404E-3</c:v>
                </c:pt>
                <c:pt idx="964">
                  <c:v>3.8384975277202527E-3</c:v>
                </c:pt>
                <c:pt idx="965">
                  <c:v>2.6087319403713671E-3</c:v>
                </c:pt>
                <c:pt idx="966">
                  <c:v>2.9820873464447839E-3</c:v>
                </c:pt>
                <c:pt idx="967">
                  <c:v>-9.4205056388241282E-4</c:v>
                </c:pt>
                <c:pt idx="968">
                  <c:v>-4.6344740419304031E-3</c:v>
                </c:pt>
                <c:pt idx="969">
                  <c:v>-5.9925081250413736E-3</c:v>
                </c:pt>
                <c:pt idx="970">
                  <c:v>-6.1895070344903935E-3</c:v>
                </c:pt>
                <c:pt idx="971">
                  <c:v>-1.3077135815980467E-2</c:v>
                </c:pt>
                <c:pt idx="972">
                  <c:v>-1.4138849169502143E-2</c:v>
                </c:pt>
                <c:pt idx="973">
                  <c:v>-1.5190500370055871E-2</c:v>
                </c:pt>
                <c:pt idx="974">
                  <c:v>-9.6055452473390313E-3</c:v>
                </c:pt>
                <c:pt idx="975">
                  <c:v>-8.516060760013433E-3</c:v>
                </c:pt>
                <c:pt idx="976">
                  <c:v>-1.057171179085048E-2</c:v>
                </c:pt>
                <c:pt idx="977">
                  <c:v>-1.7090363385002028E-2</c:v>
                </c:pt>
                <c:pt idx="978">
                  <c:v>-1.6542416370253887E-2</c:v>
                </c:pt>
                <c:pt idx="979">
                  <c:v>-2.264098242355983E-2</c:v>
                </c:pt>
                <c:pt idx="980">
                  <c:v>-1.6494862582850045E-2</c:v>
                </c:pt>
                <c:pt idx="981">
                  <c:v>-1.7534735111504607E-2</c:v>
                </c:pt>
                <c:pt idx="982">
                  <c:v>-1.8258295545077741E-2</c:v>
                </c:pt>
                <c:pt idx="983">
                  <c:v>-1.1735167521755074E-2</c:v>
                </c:pt>
                <c:pt idx="984">
                  <c:v>-4.4266252678026863E-3</c:v>
                </c:pt>
                <c:pt idx="985">
                  <c:v>8.1466008941535328E-3</c:v>
                </c:pt>
                <c:pt idx="986">
                  <c:v>1.2701681093633232E-2</c:v>
                </c:pt>
                <c:pt idx="987">
                  <c:v>1.3596692709165414E-2</c:v>
                </c:pt>
                <c:pt idx="988">
                  <c:v>1.4412937140356075E-2</c:v>
                </c:pt>
                <c:pt idx="989">
                  <c:v>1.3724391243584932E-2</c:v>
                </c:pt>
                <c:pt idx="990">
                  <c:v>1.7326909368442833E-2</c:v>
                </c:pt>
                <c:pt idx="991">
                  <c:v>2.2934607663502304E-2</c:v>
                </c:pt>
                <c:pt idx="992">
                  <c:v>2.3155576818668533E-2</c:v>
                </c:pt>
                <c:pt idx="993">
                  <c:v>2.3974912813132465E-2</c:v>
                </c:pt>
                <c:pt idx="994">
                  <c:v>2.4615493118872456E-2</c:v>
                </c:pt>
                <c:pt idx="995">
                  <c:v>2.7362290512130349E-2</c:v>
                </c:pt>
                <c:pt idx="996">
                  <c:v>3.049738640007349E-2</c:v>
                </c:pt>
                <c:pt idx="997">
                  <c:v>2.8158995298478873E-2</c:v>
                </c:pt>
                <c:pt idx="998">
                  <c:v>3.8428910883152145E-2</c:v>
                </c:pt>
                <c:pt idx="999">
                  <c:v>3.771889906089021E-2</c:v>
                </c:pt>
                <c:pt idx="1000">
                  <c:v>3.1551542407276756E-2</c:v>
                </c:pt>
                <c:pt idx="1001">
                  <c:v>4.264180744610313E-2</c:v>
                </c:pt>
                <c:pt idx="1002">
                  <c:v>3.584792955371896E-2</c:v>
                </c:pt>
                <c:pt idx="1003">
                  <c:v>3.4891822563317132E-2</c:v>
                </c:pt>
                <c:pt idx="1004">
                  <c:v>2.758412807234778E-2</c:v>
                </c:pt>
                <c:pt idx="1005">
                  <c:v>3.2771777844476824E-2</c:v>
                </c:pt>
                <c:pt idx="1006">
                  <c:v>3.1146833192116974E-2</c:v>
                </c:pt>
                <c:pt idx="1007">
                  <c:v>3.6412639739144326E-2</c:v>
                </c:pt>
                <c:pt idx="1008">
                  <c:v>4.2273175933523977E-2</c:v>
                </c:pt>
                <c:pt idx="1009">
                  <c:v>4.3823546801486368E-2</c:v>
                </c:pt>
                <c:pt idx="1010">
                  <c:v>3.6794235751330895E-2</c:v>
                </c:pt>
                <c:pt idx="1011">
                  <c:v>4.0469087463601894E-2</c:v>
                </c:pt>
                <c:pt idx="1012">
                  <c:v>4.0705646440464704E-2</c:v>
                </c:pt>
                <c:pt idx="1013">
                  <c:v>3.2628748703716459E-2</c:v>
                </c:pt>
                <c:pt idx="1014">
                  <c:v>3.1655452616040747E-2</c:v>
                </c:pt>
                <c:pt idx="1015">
                  <c:v>3.1130146153725002E-2</c:v>
                </c:pt>
                <c:pt idx="1016">
                  <c:v>2.9217962733975145E-2</c:v>
                </c:pt>
                <c:pt idx="1017">
                  <c:v>3.7632334636361731E-2</c:v>
                </c:pt>
                <c:pt idx="1018">
                  <c:v>2.5901351717944499E-2</c:v>
                </c:pt>
                <c:pt idx="1019">
                  <c:v>2.2616910721969363E-2</c:v>
                </c:pt>
                <c:pt idx="1020">
                  <c:v>1.8905462783001092E-2</c:v>
                </c:pt>
                <c:pt idx="1021">
                  <c:v>1.9404451226690433E-2</c:v>
                </c:pt>
                <c:pt idx="1022">
                  <c:v>2.2330918523495669E-2</c:v>
                </c:pt>
                <c:pt idx="1023">
                  <c:v>1.169365544686185E-2</c:v>
                </c:pt>
                <c:pt idx="1024">
                  <c:v>1.4318144319770854E-2</c:v>
                </c:pt>
                <c:pt idx="1025">
                  <c:v>1.7454434829384025E-2</c:v>
                </c:pt>
                <c:pt idx="1026">
                  <c:v>1.6059588361631238E-2</c:v>
                </c:pt>
                <c:pt idx="1027">
                  <c:v>7.3270831528011726E-3</c:v>
                </c:pt>
                <c:pt idx="1028">
                  <c:v>5.3623038949156543E-3</c:v>
                </c:pt>
                <c:pt idx="1029">
                  <c:v>3.4617605028101073E-3</c:v>
                </c:pt>
                <c:pt idx="1030">
                  <c:v>5.3984575081944541E-3</c:v>
                </c:pt>
                <c:pt idx="1031">
                  <c:v>6.2293236843707911E-3</c:v>
                </c:pt>
                <c:pt idx="1032">
                  <c:v>1.6462581341240012E-2</c:v>
                </c:pt>
                <c:pt idx="1033">
                  <c:v>1.3521012422138545E-2</c:v>
                </c:pt>
                <c:pt idx="1034">
                  <c:v>2.2003103692832982E-2</c:v>
                </c:pt>
                <c:pt idx="1035">
                  <c:v>2.2807324985783639E-2</c:v>
                </c:pt>
                <c:pt idx="1036">
                  <c:v>2.2703420343338832E-2</c:v>
                </c:pt>
                <c:pt idx="1037">
                  <c:v>1.6144652841212914E-2</c:v>
                </c:pt>
                <c:pt idx="1038">
                  <c:v>7.4870514585213543E-3</c:v>
                </c:pt>
                <c:pt idx="1039">
                  <c:v>8.1036025031352432E-3</c:v>
                </c:pt>
                <c:pt idx="1040">
                  <c:v>6.3550770873113116E-3</c:v>
                </c:pt>
                <c:pt idx="1041">
                  <c:v>6.8888300087704968E-3</c:v>
                </c:pt>
                <c:pt idx="1042">
                  <c:v>5.3587152742490263E-3</c:v>
                </c:pt>
                <c:pt idx="1043">
                  <c:v>-3.3035310689755182E-3</c:v>
                </c:pt>
                <c:pt idx="1044">
                  <c:v>2.3033871130891281E-2</c:v>
                </c:pt>
                <c:pt idx="1045">
                  <c:v>-4.1581745921395519E-2</c:v>
                </c:pt>
                <c:pt idx="1046">
                  <c:v>-3.633691116556137E-2</c:v>
                </c:pt>
                <c:pt idx="1047">
                  <c:v>-2.3600018054658056E-3</c:v>
                </c:pt>
                <c:pt idx="1048">
                  <c:v>-3.2898455358551404E-2</c:v>
                </c:pt>
                <c:pt idx="1049">
                  <c:v>-4.5180583403168884E-2</c:v>
                </c:pt>
                <c:pt idx="1050">
                  <c:v>-8.3853114024976749E-2</c:v>
                </c:pt>
                <c:pt idx="1051">
                  <c:v>-9.5451933337322936E-2</c:v>
                </c:pt>
                <c:pt idx="1052">
                  <c:v>-8.2472740509520692E-2</c:v>
                </c:pt>
                <c:pt idx="1053">
                  <c:v>-3.8947992204783954E-2</c:v>
                </c:pt>
                <c:pt idx="1054">
                  <c:v>-7.7159360694519119E-2</c:v>
                </c:pt>
                <c:pt idx="1055">
                  <c:v>-8.778470548715045E-2</c:v>
                </c:pt>
                <c:pt idx="1056">
                  <c:v>-5.7767112549313548E-2</c:v>
                </c:pt>
                <c:pt idx="1057">
                  <c:v>-5.4807945234711775E-2</c:v>
                </c:pt>
                <c:pt idx="1058">
                  <c:v>-5.9827750142548153E-2</c:v>
                </c:pt>
                <c:pt idx="1059">
                  <c:v>-6.8646605314759412E-2</c:v>
                </c:pt>
                <c:pt idx="1060">
                  <c:v>-5.1716043052494109E-2</c:v>
                </c:pt>
                <c:pt idx="1061">
                  <c:v>-5.149080351264268E-3</c:v>
                </c:pt>
                <c:pt idx="1062">
                  <c:v>-2.3147357569764937E-3</c:v>
                </c:pt>
                <c:pt idx="1063">
                  <c:v>1.1111128344177046E-2</c:v>
                </c:pt>
                <c:pt idx="1064">
                  <c:v>-9.0071397827975463E-3</c:v>
                </c:pt>
                <c:pt idx="1065">
                  <c:v>-1.2434021465660972E-2</c:v>
                </c:pt>
                <c:pt idx="1066">
                  <c:v>-2.0091331644965793E-3</c:v>
                </c:pt>
                <c:pt idx="1067">
                  <c:v>1.0701670085919712E-3</c:v>
                </c:pt>
                <c:pt idx="1068">
                  <c:v>7.7983909516921024E-3</c:v>
                </c:pt>
                <c:pt idx="1069">
                  <c:v>-1.0238051424453443E-2</c:v>
                </c:pt>
                <c:pt idx="1070">
                  <c:v>-3.4044071038620172E-2</c:v>
                </c:pt>
                <c:pt idx="1071">
                  <c:v>-5.8611899484758534E-2</c:v>
                </c:pt>
                <c:pt idx="1072">
                  <c:v>-5.2917333225032115E-2</c:v>
                </c:pt>
                <c:pt idx="1073">
                  <c:v>-4.5751152342026979E-2</c:v>
                </c:pt>
                <c:pt idx="1074">
                  <c:v>-3.439108440110028E-2</c:v>
                </c:pt>
                <c:pt idx="1075">
                  <c:v>-1.7182590853255686E-2</c:v>
                </c:pt>
                <c:pt idx="1076">
                  <c:v>-1.0432833392191365E-2</c:v>
                </c:pt>
                <c:pt idx="1077">
                  <c:v>-3.642782642849085E-2</c:v>
                </c:pt>
                <c:pt idx="1078">
                  <c:v>-5.5895163770728451E-2</c:v>
                </c:pt>
                <c:pt idx="1079">
                  <c:v>-3.0177865115807778E-2</c:v>
                </c:pt>
                <c:pt idx="1080">
                  <c:v>-7.1862062807157567E-3</c:v>
                </c:pt>
                <c:pt idx="1081">
                  <c:v>-4.5673503589344522E-2</c:v>
                </c:pt>
                <c:pt idx="1082">
                  <c:v>-4.3234023378288522E-2</c:v>
                </c:pt>
                <c:pt idx="1083">
                  <c:v>-4.2570366523343117E-2</c:v>
                </c:pt>
                <c:pt idx="1084">
                  <c:v>-0.10493779508990508</c:v>
                </c:pt>
                <c:pt idx="1085">
                  <c:v>-3.6315831004560151E-2</c:v>
                </c:pt>
                <c:pt idx="1086">
                  <c:v>-2.123748725600294E-2</c:v>
                </c:pt>
                <c:pt idx="1087">
                  <c:v>-3.2660475395044242E-2</c:v>
                </c:pt>
                <c:pt idx="1088">
                  <c:v>-3.3215549329769334E-2</c:v>
                </c:pt>
                <c:pt idx="1089">
                  <c:v>-1.5304437007135574E-2</c:v>
                </c:pt>
                <c:pt idx="1090">
                  <c:v>1.6865477331026724E-2</c:v>
                </c:pt>
                <c:pt idx="1091">
                  <c:v>8.1957266159351505E-3</c:v>
                </c:pt>
                <c:pt idx="1092">
                  <c:v>2.2550431344120159E-2</c:v>
                </c:pt>
                <c:pt idx="1093">
                  <c:v>6.5938740664957196E-2</c:v>
                </c:pt>
                <c:pt idx="1094">
                  <c:v>0.1067092302497924</c:v>
                </c:pt>
                <c:pt idx="1095">
                  <c:v>0.12533084738078581</c:v>
                </c:pt>
                <c:pt idx="1096">
                  <c:v>0.14454956202227465</c:v>
                </c:pt>
                <c:pt idx="1097">
                  <c:v>0.14272900947088685</c:v>
                </c:pt>
                <c:pt idx="1098">
                  <c:v>0.17930886687635772</c:v>
                </c:pt>
                <c:pt idx="1099">
                  <c:v>0.14658213823543509</c:v>
                </c:pt>
                <c:pt idx="1100">
                  <c:v>0.16350340426985566</c:v>
                </c:pt>
                <c:pt idx="1101">
                  <c:v>0.15932729879432239</c:v>
                </c:pt>
                <c:pt idx="1102">
                  <c:v>0.15434090250809729</c:v>
                </c:pt>
                <c:pt idx="1103">
                  <c:v>0.16048090750814514</c:v>
                </c:pt>
                <c:pt idx="1104">
                  <c:v>9.382392469468559E-2</c:v>
                </c:pt>
                <c:pt idx="1105">
                  <c:v>9.6741183678148879E-2</c:v>
                </c:pt>
                <c:pt idx="1106">
                  <c:v>7.3059500506023833E-2</c:v>
                </c:pt>
                <c:pt idx="1107">
                  <c:v>5.7644145735151309E-2</c:v>
                </c:pt>
                <c:pt idx="1108">
                  <c:v>3.1637691455034478E-2</c:v>
                </c:pt>
                <c:pt idx="1109">
                  <c:v>-5.6411202135459582E-2</c:v>
                </c:pt>
                <c:pt idx="1110">
                  <c:v>-6.1588571045144702E-2</c:v>
                </c:pt>
                <c:pt idx="1111">
                  <c:v>-7.0312812219764931E-3</c:v>
                </c:pt>
                <c:pt idx="1112">
                  <c:v>-3.4458377575774524E-3</c:v>
                </c:pt>
                <c:pt idx="1113">
                  <c:v>-1.2665839011165803E-2</c:v>
                </c:pt>
                <c:pt idx="1114">
                  <c:v>-1.6521862718545721E-2</c:v>
                </c:pt>
                <c:pt idx="1115">
                  <c:v>-2.2614120106505764E-2</c:v>
                </c:pt>
                <c:pt idx="1116">
                  <c:v>-2.2513956414338065E-2</c:v>
                </c:pt>
                <c:pt idx="1117">
                  <c:v>-1.7011706345790745E-2</c:v>
                </c:pt>
                <c:pt idx="1118">
                  <c:v>-4.1020855302531523E-3</c:v>
                </c:pt>
                <c:pt idx="1119">
                  <c:v>-9.5170882917688937E-3</c:v>
                </c:pt>
                <c:pt idx="1120">
                  <c:v>2.8843484320365542E-3</c:v>
                </c:pt>
                <c:pt idx="1121">
                  <c:v>1.1338712118513894E-2</c:v>
                </c:pt>
                <c:pt idx="1122">
                  <c:v>1.366088033376367E-2</c:v>
                </c:pt>
                <c:pt idx="1123">
                  <c:v>1.0695979989096549E-2</c:v>
                </c:pt>
                <c:pt idx="1124">
                  <c:v>8.0161513985984589E-3</c:v>
                </c:pt>
                <c:pt idx="1125">
                  <c:v>2.0224355422577389E-2</c:v>
                </c:pt>
                <c:pt idx="1126">
                  <c:v>2.0163794768382481E-2</c:v>
                </c:pt>
                <c:pt idx="1127">
                  <c:v>2.3583033915214657E-2</c:v>
                </c:pt>
                <c:pt idx="1128">
                  <c:v>1.8139125601146278E-2</c:v>
                </c:pt>
                <c:pt idx="1129">
                  <c:v>1.1213642929645773E-2</c:v>
                </c:pt>
                <c:pt idx="1130">
                  <c:v>2.3644171192221952E-2</c:v>
                </c:pt>
                <c:pt idx="1131">
                  <c:v>2.8045081945015204E-2</c:v>
                </c:pt>
                <c:pt idx="1132">
                  <c:v>2.5240303063650882E-2</c:v>
                </c:pt>
                <c:pt idx="1133">
                  <c:v>2.4965672887356849E-2</c:v>
                </c:pt>
                <c:pt idx="1134">
                  <c:v>2.9235052833535669E-2</c:v>
                </c:pt>
                <c:pt idx="1135">
                  <c:v>3.3601841689746004E-2</c:v>
                </c:pt>
                <c:pt idx="1136">
                  <c:v>2.2907455299779E-2</c:v>
                </c:pt>
                <c:pt idx="1137">
                  <c:v>1.8920800531317283E-2</c:v>
                </c:pt>
                <c:pt idx="1138">
                  <c:v>1.4356258768142727E-2</c:v>
                </c:pt>
                <c:pt idx="1139">
                  <c:v>1.2873125476636105E-2</c:v>
                </c:pt>
                <c:pt idx="1140">
                  <c:v>1.3520865265450266E-2</c:v>
                </c:pt>
                <c:pt idx="1141">
                  <c:v>9.6973471347331364E-3</c:v>
                </c:pt>
                <c:pt idx="1142">
                  <c:v>5.7655712848143637E-3</c:v>
                </c:pt>
                <c:pt idx="1143">
                  <c:v>4.6010561781967274E-3</c:v>
                </c:pt>
                <c:pt idx="1144">
                  <c:v>1.1157834372770625E-2</c:v>
                </c:pt>
                <c:pt idx="1145">
                  <c:v>1.4150429821960242E-2</c:v>
                </c:pt>
                <c:pt idx="1146">
                  <c:v>2.2203020356034164E-3</c:v>
                </c:pt>
                <c:pt idx="1147">
                  <c:v>4.2361066450172791E-3</c:v>
                </c:pt>
                <c:pt idx="1148">
                  <c:v>8.2788546555989662E-3</c:v>
                </c:pt>
                <c:pt idx="1149">
                  <c:v>1.1952179629341697E-2</c:v>
                </c:pt>
                <c:pt idx="1150">
                  <c:v>8.9828498047646033E-3</c:v>
                </c:pt>
                <c:pt idx="1151">
                  <c:v>-1.2247080586718084E-3</c:v>
                </c:pt>
                <c:pt idx="1152">
                  <c:v>1.0455952798282819E-4</c:v>
                </c:pt>
                <c:pt idx="1153">
                  <c:v>1.2273875835387638E-2</c:v>
                </c:pt>
                <c:pt idx="1154">
                  <c:v>9.9825874862440322E-3</c:v>
                </c:pt>
                <c:pt idx="1155">
                  <c:v>1.3782840303567689E-2</c:v>
                </c:pt>
                <c:pt idx="1156">
                  <c:v>8.9931874182511695E-3</c:v>
                </c:pt>
                <c:pt idx="1157">
                  <c:v>1.6156815838953897E-2</c:v>
                </c:pt>
                <c:pt idx="1158">
                  <c:v>2.6773512747475636E-2</c:v>
                </c:pt>
                <c:pt idx="1159">
                  <c:v>4.0889149304589312E-2</c:v>
                </c:pt>
                <c:pt idx="1160">
                  <c:v>4.0196456445953155E-2</c:v>
                </c:pt>
                <c:pt idx="1161">
                  <c:v>4.0946980129450194E-2</c:v>
                </c:pt>
                <c:pt idx="1162">
                  <c:v>4.5532830162972493E-2</c:v>
                </c:pt>
                <c:pt idx="1163">
                  <c:v>3.6377000840559059E-2</c:v>
                </c:pt>
                <c:pt idx="1164">
                  <c:v>2.3779609662554102E-2</c:v>
                </c:pt>
                <c:pt idx="1165">
                  <c:v>2.6483779860501544E-2</c:v>
                </c:pt>
                <c:pt idx="1166">
                  <c:v>3.066229825405975E-2</c:v>
                </c:pt>
                <c:pt idx="1167">
                  <c:v>2.8476408839903433E-2</c:v>
                </c:pt>
                <c:pt idx="1168">
                  <c:v>3.4260333327597703E-2</c:v>
                </c:pt>
                <c:pt idx="1169">
                  <c:v>3.3076161510838586E-2</c:v>
                </c:pt>
                <c:pt idx="1170">
                  <c:v>2.4179948559602926E-2</c:v>
                </c:pt>
                <c:pt idx="1171">
                  <c:v>2.0567164291146023E-2</c:v>
                </c:pt>
                <c:pt idx="1172">
                  <c:v>2.6538199460352963E-2</c:v>
                </c:pt>
                <c:pt idx="1173">
                  <c:v>2.8552911759233801E-2</c:v>
                </c:pt>
                <c:pt idx="1174">
                  <c:v>2.2505339917081146E-2</c:v>
                </c:pt>
                <c:pt idx="1175">
                  <c:v>2.3458652007391168E-2</c:v>
                </c:pt>
                <c:pt idx="1176">
                  <c:v>3.4381425933576182E-2</c:v>
                </c:pt>
                <c:pt idx="1177">
                  <c:v>3.470328037841186E-2</c:v>
                </c:pt>
                <c:pt idx="1178">
                  <c:v>3.1172117128762666E-2</c:v>
                </c:pt>
                <c:pt idx="1179">
                  <c:v>2.2427611215002807E-2</c:v>
                </c:pt>
                <c:pt idx="1180">
                  <c:v>2.1088140736855943E-2</c:v>
                </c:pt>
                <c:pt idx="1181">
                  <c:v>1.8077709624345406E-2</c:v>
                </c:pt>
                <c:pt idx="1182">
                  <c:v>1.6811231424497031E-2</c:v>
                </c:pt>
                <c:pt idx="1183">
                  <c:v>1.4413998300793152E-2</c:v>
                </c:pt>
                <c:pt idx="1184">
                  <c:v>1.9358100178291648E-2</c:v>
                </c:pt>
                <c:pt idx="1185">
                  <c:v>1.8743295629717771E-2</c:v>
                </c:pt>
                <c:pt idx="1186">
                  <c:v>1.9909490408971164E-2</c:v>
                </c:pt>
                <c:pt idx="1187">
                  <c:v>1.4995638046158333E-2</c:v>
                </c:pt>
                <c:pt idx="1188">
                  <c:v>5.3857666587834307E-3</c:v>
                </c:pt>
                <c:pt idx="1189">
                  <c:v>7.8055784000418127E-3</c:v>
                </c:pt>
                <c:pt idx="1190">
                  <c:v>5.507327964730524E-3</c:v>
                </c:pt>
                <c:pt idx="1191">
                  <c:v>3.8800576631126127E-3</c:v>
                </c:pt>
                <c:pt idx="1192">
                  <c:v>2.6515617523718005E-3</c:v>
                </c:pt>
                <c:pt idx="1193">
                  <c:v>1.8105938946110678E-2</c:v>
                </c:pt>
                <c:pt idx="1194">
                  <c:v>2.6323962382374E-2</c:v>
                </c:pt>
                <c:pt idx="1195">
                  <c:v>2.1327958742548891E-2</c:v>
                </c:pt>
                <c:pt idx="1196">
                  <c:v>2.6704449053274626E-2</c:v>
                </c:pt>
                <c:pt idx="1197">
                  <c:v>2.9322822453835662E-2</c:v>
                </c:pt>
                <c:pt idx="1198">
                  <c:v>3.121476770121423E-2</c:v>
                </c:pt>
                <c:pt idx="1199">
                  <c:v>2.9215259999944343E-2</c:v>
                </c:pt>
                <c:pt idx="1200">
                  <c:v>3.3607023049728402E-2</c:v>
                </c:pt>
                <c:pt idx="1201">
                  <c:v>3.7585095252402168E-2</c:v>
                </c:pt>
                <c:pt idx="1202">
                  <c:v>3.7409389458716302E-2</c:v>
                </c:pt>
                <c:pt idx="1203">
                  <c:v>3.4938103653068264E-2</c:v>
                </c:pt>
                <c:pt idx="1204">
                  <c:v>3.0062649149290688E-2</c:v>
                </c:pt>
                <c:pt idx="1205">
                  <c:v>2.7301764690817687E-2</c:v>
                </c:pt>
                <c:pt idx="1206">
                  <c:v>2.7542636486690308E-2</c:v>
                </c:pt>
                <c:pt idx="1207">
                  <c:v>2.0029923913329806E-2</c:v>
                </c:pt>
                <c:pt idx="1208">
                  <c:v>2.2174555137517427E-2</c:v>
                </c:pt>
                <c:pt idx="1209">
                  <c:v>1.4823214313822497E-2</c:v>
                </c:pt>
                <c:pt idx="1210">
                  <c:v>1.8858803045055494E-2</c:v>
                </c:pt>
                <c:pt idx="1211">
                  <c:v>3.2072825642824654E-2</c:v>
                </c:pt>
                <c:pt idx="1212">
                  <c:v>4.0160690359620221E-2</c:v>
                </c:pt>
                <c:pt idx="1213">
                  <c:v>3.7869078082483631E-2</c:v>
                </c:pt>
                <c:pt idx="1214">
                  <c:v>3.5961280219381497E-2</c:v>
                </c:pt>
                <c:pt idx="1215">
                  <c:v>2.74357429423987E-2</c:v>
                </c:pt>
                <c:pt idx="1216">
                  <c:v>1.9551101250799952E-2</c:v>
                </c:pt>
                <c:pt idx="1217">
                  <c:v>1.8280947513457324E-2</c:v>
                </c:pt>
                <c:pt idx="1218">
                  <c:v>1.3533302976278416E-2</c:v>
                </c:pt>
                <c:pt idx="1219">
                  <c:v>8.7537683570635405E-3</c:v>
                </c:pt>
                <c:pt idx="1220">
                  <c:v>6.1124521657969222E-3</c:v>
                </c:pt>
                <c:pt idx="1221">
                  <c:v>9.1739172236865452E-3</c:v>
                </c:pt>
                <c:pt idx="1222">
                  <c:v>7.5084956250184298E-3</c:v>
                </c:pt>
                <c:pt idx="1223">
                  <c:v>2.0622938416031689E-3</c:v>
                </c:pt>
                <c:pt idx="1224">
                  <c:v>-3.3168372419993819E-3</c:v>
                </c:pt>
                <c:pt idx="1225">
                  <c:v>-5.1555379682932667E-4</c:v>
                </c:pt>
                <c:pt idx="1226">
                  <c:v>6.9891995422086683E-3</c:v>
                </c:pt>
                <c:pt idx="1227">
                  <c:v>-6.0540403359166106E-3</c:v>
                </c:pt>
                <c:pt idx="1228">
                  <c:v>-1.6572654638484896E-2</c:v>
                </c:pt>
                <c:pt idx="1229">
                  <c:v>-1.5298608645920808E-2</c:v>
                </c:pt>
                <c:pt idx="1230">
                  <c:v>-1.2645764425939898E-2</c:v>
                </c:pt>
                <c:pt idx="1231">
                  <c:v>-2.1902477984065083E-2</c:v>
                </c:pt>
                <c:pt idx="1232">
                  <c:v>-2.9359918362736881E-2</c:v>
                </c:pt>
                <c:pt idx="1233">
                  <c:v>-1.4935281813109325E-2</c:v>
                </c:pt>
                <c:pt idx="1234">
                  <c:v>-2.1702708015436833E-2</c:v>
                </c:pt>
                <c:pt idx="1235">
                  <c:v>1.8592687531750807E-2</c:v>
                </c:pt>
                <c:pt idx="1236">
                  <c:v>7.6294294313887012E-2</c:v>
                </c:pt>
                <c:pt idx="1237">
                  <c:v>3.1208274715235573E-2</c:v>
                </c:pt>
                <c:pt idx="1238">
                  <c:v>6.8599335440381659E-2</c:v>
                </c:pt>
                <c:pt idx="1239">
                  <c:v>6.9147635348881908E-2</c:v>
                </c:pt>
                <c:pt idx="1240">
                  <c:v>8.1749601880701683E-2</c:v>
                </c:pt>
                <c:pt idx="1241">
                  <c:v>7.4297706628793869E-2</c:v>
                </c:pt>
                <c:pt idx="1242">
                  <c:v>4.787175512925812E-2</c:v>
                </c:pt>
                <c:pt idx="1243">
                  <c:v>-2.4447667597736755E-3</c:v>
                </c:pt>
                <c:pt idx="1244">
                  <c:v>4.2761027335415092E-2</c:v>
                </c:pt>
                <c:pt idx="1245">
                  <c:v>2.4581836075444063E-2</c:v>
                </c:pt>
                <c:pt idx="1246">
                  <c:v>1.8153812808131886E-2</c:v>
                </c:pt>
                <c:pt idx="1247">
                  <c:v>3.1100668438031942E-2</c:v>
                </c:pt>
                <c:pt idx="1248">
                  <c:v>9.3341444654192474E-3</c:v>
                </c:pt>
                <c:pt idx="1249">
                  <c:v>-1.0826781186515921E-3</c:v>
                </c:pt>
                <c:pt idx="1250">
                  <c:v>4.5844102011675103E-3</c:v>
                </c:pt>
                <c:pt idx="1251">
                  <c:v>-2.5659559369886731E-2</c:v>
                </c:pt>
                <c:pt idx="1252">
                  <c:v>-2.6375906913938318E-2</c:v>
                </c:pt>
                <c:pt idx="1253">
                  <c:v>-1.6763266024946932E-2</c:v>
                </c:pt>
                <c:pt idx="1254">
                  <c:v>-4.1049631852976609E-2</c:v>
                </c:pt>
                <c:pt idx="1255">
                  <c:v>-3.707216209884967E-2</c:v>
                </c:pt>
                <c:pt idx="1256">
                  <c:v>-3.6081085360514908E-2</c:v>
                </c:pt>
                <c:pt idx="1257">
                  <c:v>-4.8903796339815897E-2</c:v>
                </c:pt>
                <c:pt idx="1258">
                  <c:v>-4.7060143274296196E-2</c:v>
                </c:pt>
                <c:pt idx="1259">
                  <c:v>-2.7970719277033096E-2</c:v>
                </c:pt>
                <c:pt idx="1260">
                  <c:v>-3.2105479736558196E-2</c:v>
                </c:pt>
                <c:pt idx="1261">
                  <c:v>-2.7956617286704288E-2</c:v>
                </c:pt>
                <c:pt idx="1262">
                  <c:v>1.9225885523341812E-3</c:v>
                </c:pt>
                <c:pt idx="1263">
                  <c:v>-1.0173448252994044E-2</c:v>
                </c:pt>
                <c:pt idx="1264">
                  <c:v>2.1861863676966298E-3</c:v>
                </c:pt>
                <c:pt idx="1265">
                  <c:v>1.6566636416451064E-2</c:v>
                </c:pt>
                <c:pt idx="1266">
                  <c:v>4.2747143605040061E-2</c:v>
                </c:pt>
                <c:pt idx="1267">
                  <c:v>8.7015557330623938E-2</c:v>
                </c:pt>
                <c:pt idx="1268">
                  <c:v>8.0941020128927121E-2</c:v>
                </c:pt>
                <c:pt idx="1269">
                  <c:v>7.2775132137619103E-2</c:v>
                </c:pt>
                <c:pt idx="1270">
                  <c:v>0.10670299304918673</c:v>
                </c:pt>
                <c:pt idx="1271">
                  <c:v>7.9287845928485368E-2</c:v>
                </c:pt>
                <c:pt idx="1272">
                  <c:v>5.312004834231393E-2</c:v>
                </c:pt>
                <c:pt idx="1273">
                  <c:v>2.5043368791238807E-2</c:v>
                </c:pt>
                <c:pt idx="1274">
                  <c:v>1.047817322300193E-2</c:v>
                </c:pt>
                <c:pt idx="1275">
                  <c:v>1.10906432241481E-2</c:v>
                </c:pt>
                <c:pt idx="1276">
                  <c:v>-6.498048242039034E-2</c:v>
                </c:pt>
                <c:pt idx="1277">
                  <c:v>-1.6359706562601439E-2</c:v>
                </c:pt>
                <c:pt idx="1278">
                  <c:v>-2.455416969950508E-2</c:v>
                </c:pt>
                <c:pt idx="1279">
                  <c:v>8.0028478817341098E-3</c:v>
                </c:pt>
                <c:pt idx="1280">
                  <c:v>4.8806841366478393E-2</c:v>
                </c:pt>
                <c:pt idx="1281">
                  <c:v>8.1800347164275644E-2</c:v>
                </c:pt>
                <c:pt idx="1282">
                  <c:v>8.5100489608164964E-2</c:v>
                </c:pt>
                <c:pt idx="1283">
                  <c:v>7.2873705236150887E-2</c:v>
                </c:pt>
                <c:pt idx="1284">
                  <c:v>9.5858335593846378E-2</c:v>
                </c:pt>
                <c:pt idx="1285">
                  <c:v>0.11044009339196503</c:v>
                </c:pt>
                <c:pt idx="1286">
                  <c:v>0.10795745410911883</c:v>
                </c:pt>
                <c:pt idx="1287">
                  <c:v>0.12599389906685332</c:v>
                </c:pt>
                <c:pt idx="1288">
                  <c:v>0.14486065265150172</c:v>
                </c:pt>
                <c:pt idx="1289">
                  <c:v>0.12387443528130049</c:v>
                </c:pt>
                <c:pt idx="1290">
                  <c:v>0.12656474632926074</c:v>
                </c:pt>
                <c:pt idx="1291">
                  <c:v>0.13719104361556833</c:v>
                </c:pt>
                <c:pt idx="1292">
                  <c:v>0.14587999228191506</c:v>
                </c:pt>
                <c:pt idx="1293">
                  <c:v>0.13818673139624504</c:v>
                </c:pt>
                <c:pt idx="1294">
                  <c:v>0.12922898621773449</c:v>
                </c:pt>
                <c:pt idx="1295">
                  <c:v>0.13463358700123462</c:v>
                </c:pt>
                <c:pt idx="1296">
                  <c:v>0.16484437291736054</c:v>
                </c:pt>
                <c:pt idx="1297">
                  <c:v>0.14402921743798658</c:v>
                </c:pt>
                <c:pt idx="1298">
                  <c:v>0.16370168830882803</c:v>
                </c:pt>
                <c:pt idx="1299">
                  <c:v>0.15079050191451582</c:v>
                </c:pt>
                <c:pt idx="1300">
                  <c:v>8.5105246008132629E-2</c:v>
                </c:pt>
                <c:pt idx="1301">
                  <c:v>7.7800814796436968E-2</c:v>
                </c:pt>
                <c:pt idx="1302">
                  <c:v>0.10956207419874586</c:v>
                </c:pt>
                <c:pt idx="1303">
                  <c:v>6.9939789562495802E-2</c:v>
                </c:pt>
                <c:pt idx="1304">
                  <c:v>7.0023462227524647E-2</c:v>
                </c:pt>
                <c:pt idx="1305">
                  <c:v>-2.1303216620160104E-2</c:v>
                </c:pt>
                <c:pt idx="1306">
                  <c:v>-1.8391401166483745E-2</c:v>
                </c:pt>
                <c:pt idx="1307">
                  <c:v>-2.1046222045134511E-2</c:v>
                </c:pt>
                <c:pt idx="1308">
                  <c:v>-2.4803523284873452E-2</c:v>
                </c:pt>
                <c:pt idx="1309">
                  <c:v>-2.9034246617434589E-2</c:v>
                </c:pt>
                <c:pt idx="1310">
                  <c:v>-1.5696676530048248E-2</c:v>
                </c:pt>
                <c:pt idx="1311">
                  <c:v>-1.9663432868236685E-2</c:v>
                </c:pt>
                <c:pt idx="1312">
                  <c:v>-3.5983899948588416E-3</c:v>
                </c:pt>
                <c:pt idx="1313">
                  <c:v>4.7489336341199895E-4</c:v>
                </c:pt>
                <c:pt idx="1314">
                  <c:v>2.1739197397786514E-3</c:v>
                </c:pt>
                <c:pt idx="1315">
                  <c:v>1.2618409391883412E-2</c:v>
                </c:pt>
                <c:pt idx="1316">
                  <c:v>1.4169707360298878E-2</c:v>
                </c:pt>
                <c:pt idx="1317">
                  <c:v>2.0523407049151787E-2</c:v>
                </c:pt>
                <c:pt idx="1318">
                  <c:v>1.829181463348506E-2</c:v>
                </c:pt>
                <c:pt idx="1319">
                  <c:v>2.3480920040143349E-2</c:v>
                </c:pt>
                <c:pt idx="1320">
                  <c:v>2.2395225020585108E-2</c:v>
                </c:pt>
                <c:pt idx="1321">
                  <c:v>1.9983177562245547E-2</c:v>
                </c:pt>
                <c:pt idx="1322">
                  <c:v>2.1798623145620089E-2</c:v>
                </c:pt>
                <c:pt idx="1323">
                  <c:v>1.9409534681029239E-2</c:v>
                </c:pt>
                <c:pt idx="1324">
                  <c:v>2.2838668200516832E-2</c:v>
                </c:pt>
                <c:pt idx="1325">
                  <c:v>3.1471946966553976E-2</c:v>
                </c:pt>
                <c:pt idx="1326">
                  <c:v>3.0748817328392852E-2</c:v>
                </c:pt>
                <c:pt idx="1327">
                  <c:v>3.2224037147286722E-2</c:v>
                </c:pt>
                <c:pt idx="1328">
                  <c:v>4.0997488450003283E-2</c:v>
                </c:pt>
                <c:pt idx="1329">
                  <c:v>3.2330121653734278E-2</c:v>
                </c:pt>
                <c:pt idx="1330">
                  <c:v>3.4349145552141969E-2</c:v>
                </c:pt>
                <c:pt idx="1331">
                  <c:v>2.885860718899369E-2</c:v>
                </c:pt>
                <c:pt idx="1332">
                  <c:v>2.695958177473512E-2</c:v>
                </c:pt>
                <c:pt idx="1333">
                  <c:v>2.530104428289881E-2</c:v>
                </c:pt>
                <c:pt idx="1334">
                  <c:v>2.4456704203197233E-2</c:v>
                </c:pt>
                <c:pt idx="1335">
                  <c:v>1.8627103313537452E-2</c:v>
                </c:pt>
                <c:pt idx="1336">
                  <c:v>1.6146521823783289E-2</c:v>
                </c:pt>
                <c:pt idx="1337">
                  <c:v>1.6747227619367089E-2</c:v>
                </c:pt>
                <c:pt idx="1338">
                  <c:v>1.5746162157289412E-2</c:v>
                </c:pt>
                <c:pt idx="1339">
                  <c:v>2.5654519913091534E-2</c:v>
                </c:pt>
                <c:pt idx="1340">
                  <c:v>1.9803226760065074E-2</c:v>
                </c:pt>
                <c:pt idx="1341">
                  <c:v>2.0941037835908949E-2</c:v>
                </c:pt>
                <c:pt idx="1342">
                  <c:v>1.5703093905997223E-2</c:v>
                </c:pt>
                <c:pt idx="1343">
                  <c:v>2.1601065279564624E-2</c:v>
                </c:pt>
                <c:pt idx="1344">
                  <c:v>2.7628719291371118E-2</c:v>
                </c:pt>
                <c:pt idx="1345">
                  <c:v>1.7797778938007269E-2</c:v>
                </c:pt>
                <c:pt idx="1346">
                  <c:v>1.5686983300520874E-2</c:v>
                </c:pt>
                <c:pt idx="1347">
                  <c:v>8.0179599773325672E-3</c:v>
                </c:pt>
                <c:pt idx="1348">
                  <c:v>6.9086478897029124E-3</c:v>
                </c:pt>
                <c:pt idx="1349">
                  <c:v>3.8680214455095729E-3</c:v>
                </c:pt>
                <c:pt idx="1350">
                  <c:v>6.5516296424377174E-3</c:v>
                </c:pt>
                <c:pt idx="1351">
                  <c:v>7.439962627412422E-4</c:v>
                </c:pt>
                <c:pt idx="1352">
                  <c:v>7.4989633480150308E-3</c:v>
                </c:pt>
                <c:pt idx="1353">
                  <c:v>7.716755945907261E-3</c:v>
                </c:pt>
                <c:pt idx="1354">
                  <c:v>1.0037642744674447E-2</c:v>
                </c:pt>
                <c:pt idx="1355">
                  <c:v>3.6026092818329802E-3</c:v>
                </c:pt>
                <c:pt idx="1356">
                  <c:v>-1.5655107826882952E-3</c:v>
                </c:pt>
                <c:pt idx="1357">
                  <c:v>-5.1738057295729334E-3</c:v>
                </c:pt>
                <c:pt idx="1358">
                  <c:v>-4.722221904149726E-3</c:v>
                </c:pt>
                <c:pt idx="1359">
                  <c:v>-3.1950448281624633E-3</c:v>
                </c:pt>
                <c:pt idx="1360">
                  <c:v>-1.3629377454315472E-2</c:v>
                </c:pt>
                <c:pt idx="1361">
                  <c:v>-5.4708542805657068E-3</c:v>
                </c:pt>
                <c:pt idx="1362">
                  <c:v>3.4942516942237933E-4</c:v>
                </c:pt>
                <c:pt idx="1363">
                  <c:v>3.9718146029945611E-3</c:v>
                </c:pt>
                <c:pt idx="1364">
                  <c:v>1.0338660818414835E-2</c:v>
                </c:pt>
                <c:pt idx="1365">
                  <c:v>1.9699626730883435E-2</c:v>
                </c:pt>
                <c:pt idx="1366">
                  <c:v>1.6908162493692536E-2</c:v>
                </c:pt>
                <c:pt idx="1367">
                  <c:v>2.8721706877188335E-3</c:v>
                </c:pt>
                <c:pt idx="1368">
                  <c:v>1.5723464941621357E-2</c:v>
                </c:pt>
                <c:pt idx="1369">
                  <c:v>8.0662015975915269E-3</c:v>
                </c:pt>
                <c:pt idx="1370">
                  <c:v>1.431942698965738E-2</c:v>
                </c:pt>
                <c:pt idx="1371">
                  <c:v>6.9098710316520817E-3</c:v>
                </c:pt>
                <c:pt idx="1372">
                  <c:v>6.3764800637877705E-3</c:v>
                </c:pt>
                <c:pt idx="1373">
                  <c:v>1.4306653622255805E-3</c:v>
                </c:pt>
                <c:pt idx="1374">
                  <c:v>4.969850267686593E-3</c:v>
                </c:pt>
                <c:pt idx="1375">
                  <c:v>1.4891094837007679E-2</c:v>
                </c:pt>
                <c:pt idx="1376">
                  <c:v>1.7613193736540134E-2</c:v>
                </c:pt>
                <c:pt idx="1377">
                  <c:v>2.0902371574222811E-2</c:v>
                </c:pt>
                <c:pt idx="1378">
                  <c:v>2.4122360269287157E-2</c:v>
                </c:pt>
                <c:pt idx="1379">
                  <c:v>2.719572764915712E-2</c:v>
                </c:pt>
                <c:pt idx="1380">
                  <c:v>2.3152620967212267E-2</c:v>
                </c:pt>
                <c:pt idx="1381">
                  <c:v>2.4543495861963915E-2</c:v>
                </c:pt>
                <c:pt idx="1382">
                  <c:v>2.1583946639470608E-2</c:v>
                </c:pt>
                <c:pt idx="1383">
                  <c:v>1.9269492375654007E-2</c:v>
                </c:pt>
                <c:pt idx="1384">
                  <c:v>6.0426611143749032E-3</c:v>
                </c:pt>
                <c:pt idx="1385">
                  <c:v>9.4916420294492987E-3</c:v>
                </c:pt>
                <c:pt idx="1386">
                  <c:v>1.6003353298010059E-2</c:v>
                </c:pt>
                <c:pt idx="1387">
                  <c:v>1.5303528912240738E-2</c:v>
                </c:pt>
                <c:pt idx="1388">
                  <c:v>1.7222972479219445E-2</c:v>
                </c:pt>
                <c:pt idx="1389">
                  <c:v>2.4295414155929063E-2</c:v>
                </c:pt>
                <c:pt idx="1390">
                  <c:v>3.7374666040708493E-2</c:v>
                </c:pt>
                <c:pt idx="1391">
                  <c:v>2.7210286150610719E-2</c:v>
                </c:pt>
                <c:pt idx="1392">
                  <c:v>1.8322070885885666E-2</c:v>
                </c:pt>
                <c:pt idx="1393">
                  <c:v>1.5957402627750583E-2</c:v>
                </c:pt>
                <c:pt idx="1394">
                  <c:v>1.3141082071608357E-2</c:v>
                </c:pt>
                <c:pt idx="1395">
                  <c:v>5.0614306665763831E-3</c:v>
                </c:pt>
                <c:pt idx="1396">
                  <c:v>2.0853489789406376E-3</c:v>
                </c:pt>
                <c:pt idx="1397">
                  <c:v>9.9971419075447487E-3</c:v>
                </c:pt>
                <c:pt idx="1398">
                  <c:v>5.1652826181332046E-3</c:v>
                </c:pt>
                <c:pt idx="1399">
                  <c:v>1.0742353675738281E-2</c:v>
                </c:pt>
                <c:pt idx="1400">
                  <c:v>-2.5790734471172749E-3</c:v>
                </c:pt>
                <c:pt idx="1401">
                  <c:v>-4.1607382324909681E-3</c:v>
                </c:pt>
                <c:pt idx="1402">
                  <c:v>-1.0987079415508694E-3</c:v>
                </c:pt>
                <c:pt idx="1403">
                  <c:v>-1.1658694022471661E-3</c:v>
                </c:pt>
                <c:pt idx="1404">
                  <c:v>-6.2334995511432734E-3</c:v>
                </c:pt>
                <c:pt idx="1405">
                  <c:v>-1.2356917445140447E-2</c:v>
                </c:pt>
                <c:pt idx="1406">
                  <c:v>-2.6408888529729224E-2</c:v>
                </c:pt>
                <c:pt idx="1407">
                  <c:v>-2.6683283903791599E-2</c:v>
                </c:pt>
                <c:pt idx="1408">
                  <c:v>-2.4318925678284198E-2</c:v>
                </c:pt>
                <c:pt idx="1409">
                  <c:v>-3.8942567811923512E-2</c:v>
                </c:pt>
                <c:pt idx="1410">
                  <c:v>-3.9995204470688273E-2</c:v>
                </c:pt>
                <c:pt idx="1411">
                  <c:v>-5.5807175958731969E-2</c:v>
                </c:pt>
                <c:pt idx="1412">
                  <c:v>-5.8333038921752789E-2</c:v>
                </c:pt>
                <c:pt idx="1413">
                  <c:v>-6.4606922540091372E-2</c:v>
                </c:pt>
                <c:pt idx="1414">
                  <c:v>-5.58305321350554E-2</c:v>
                </c:pt>
                <c:pt idx="1415">
                  <c:v>-5.3992287669988093E-2</c:v>
                </c:pt>
                <c:pt idx="1416">
                  <c:v>-5.6940538683343811E-2</c:v>
                </c:pt>
                <c:pt idx="1417">
                  <c:v>-5.7375031547391209E-2</c:v>
                </c:pt>
                <c:pt idx="1418">
                  <c:v>-5.2630406331760637E-2</c:v>
                </c:pt>
                <c:pt idx="1419">
                  <c:v>-4.6783348078974774E-2</c:v>
                </c:pt>
                <c:pt idx="1420">
                  <c:v>-5.0006908855117493E-2</c:v>
                </c:pt>
                <c:pt idx="1421">
                  <c:v>-4.3881467149138653E-2</c:v>
                </c:pt>
                <c:pt idx="1422">
                  <c:v>-3.235139084372074E-2</c:v>
                </c:pt>
                <c:pt idx="1423">
                  <c:v>-3.1007919275086393E-2</c:v>
                </c:pt>
                <c:pt idx="1424">
                  <c:v>-2.4124466995833482E-2</c:v>
                </c:pt>
                <c:pt idx="1425">
                  <c:v>-5.7509057236491135E-3</c:v>
                </c:pt>
                <c:pt idx="1426">
                  <c:v>-1.2143567218297124E-2</c:v>
                </c:pt>
                <c:pt idx="1427">
                  <c:v>-9.8094321768902315E-3</c:v>
                </c:pt>
                <c:pt idx="1428">
                  <c:v>-6.8784084292887737E-3</c:v>
                </c:pt>
                <c:pt idx="1429">
                  <c:v>-3.9487269287714621E-3</c:v>
                </c:pt>
                <c:pt idx="1430">
                  <c:v>1.1262780059675292E-2</c:v>
                </c:pt>
                <c:pt idx="1431">
                  <c:v>1.6811264210475962E-2</c:v>
                </c:pt>
                <c:pt idx="1432">
                  <c:v>1.4653192491752676E-2</c:v>
                </c:pt>
                <c:pt idx="1433">
                  <c:v>1.3330576617183509E-2</c:v>
                </c:pt>
                <c:pt idx="1434">
                  <c:v>1.9147332740312106E-2</c:v>
                </c:pt>
                <c:pt idx="1435">
                  <c:v>1.3096924516168507E-2</c:v>
                </c:pt>
                <c:pt idx="1436">
                  <c:v>1.5167073905211548E-2</c:v>
                </c:pt>
                <c:pt idx="1437">
                  <c:v>1.0361444033686884E-2</c:v>
                </c:pt>
                <c:pt idx="1438">
                  <c:v>7.6004118220015515E-3</c:v>
                </c:pt>
                <c:pt idx="1439">
                  <c:v>1.2495896799070927E-2</c:v>
                </c:pt>
                <c:pt idx="1440">
                  <c:v>1.6641942585136738E-2</c:v>
                </c:pt>
                <c:pt idx="1441">
                  <c:v>1.839779160605759E-2</c:v>
                </c:pt>
                <c:pt idx="1442">
                  <c:v>1.5710643456630535E-2</c:v>
                </c:pt>
                <c:pt idx="1443">
                  <c:v>1.8922210111962157E-2</c:v>
                </c:pt>
                <c:pt idx="1444">
                  <c:v>2.1347483001874057E-2</c:v>
                </c:pt>
                <c:pt idx="1445">
                  <c:v>2.0032888955440642E-2</c:v>
                </c:pt>
                <c:pt idx="1446">
                  <c:v>2.4402863707007838E-2</c:v>
                </c:pt>
                <c:pt idx="1447">
                  <c:v>2.4473304869940482E-2</c:v>
                </c:pt>
                <c:pt idx="1448">
                  <c:v>1.9499940170902619E-2</c:v>
                </c:pt>
                <c:pt idx="1449">
                  <c:v>1.7040586329643115E-2</c:v>
                </c:pt>
                <c:pt idx="1450">
                  <c:v>1.7627978737295602E-2</c:v>
                </c:pt>
                <c:pt idx="1451">
                  <c:v>1.6661887407998566E-2</c:v>
                </c:pt>
                <c:pt idx="1452">
                  <c:v>1.6507821993253069E-2</c:v>
                </c:pt>
                <c:pt idx="1453">
                  <c:v>1.6559503312349233E-2</c:v>
                </c:pt>
                <c:pt idx="1454">
                  <c:v>-3.4539340379245997E-3</c:v>
                </c:pt>
                <c:pt idx="1455">
                  <c:v>-1.5635633092130452E-2</c:v>
                </c:pt>
                <c:pt idx="1456">
                  <c:v>-5.7760781556436269E-3</c:v>
                </c:pt>
                <c:pt idx="1457">
                  <c:v>-2.1209484940321044E-3</c:v>
                </c:pt>
                <c:pt idx="1458">
                  <c:v>-5.3100381573165656E-3</c:v>
                </c:pt>
                <c:pt idx="1459">
                  <c:v>-5.86948075791216E-3</c:v>
                </c:pt>
                <c:pt idx="1460">
                  <c:v>-1.7857105002898166E-2</c:v>
                </c:pt>
                <c:pt idx="1461">
                  <c:v>-1.3040704646538392E-2</c:v>
                </c:pt>
                <c:pt idx="1462">
                  <c:v>-1.2815585175494526E-2</c:v>
                </c:pt>
                <c:pt idx="1463">
                  <c:v>-1.6295118770119799E-2</c:v>
                </c:pt>
                <c:pt idx="1464">
                  <c:v>-1.1052916142782365E-2</c:v>
                </c:pt>
                <c:pt idx="1465">
                  <c:v>-6.380415358534397E-3</c:v>
                </c:pt>
                <c:pt idx="1466">
                  <c:v>-6.908326863358405E-3</c:v>
                </c:pt>
                <c:pt idx="1467">
                  <c:v>1.4675089381319673E-3</c:v>
                </c:pt>
                <c:pt idx="1468">
                  <c:v>2.314658974063688E-3</c:v>
                </c:pt>
                <c:pt idx="1469">
                  <c:v>2.3284005847794553E-3</c:v>
                </c:pt>
                <c:pt idx="1470">
                  <c:v>2.5223885002416679E-3</c:v>
                </c:pt>
                <c:pt idx="1471">
                  <c:v>6.8785988371179441E-3</c:v>
                </c:pt>
                <c:pt idx="1472">
                  <c:v>6.7679838313158269E-3</c:v>
                </c:pt>
                <c:pt idx="1473">
                  <c:v>1.1735211432309489E-2</c:v>
                </c:pt>
                <c:pt idx="1474">
                  <c:v>3.7088216122670437E-3</c:v>
                </c:pt>
                <c:pt idx="1475">
                  <c:v>9.4753953020533244E-3</c:v>
                </c:pt>
                <c:pt idx="1476">
                  <c:v>9.8199160190746149E-3</c:v>
                </c:pt>
                <c:pt idx="1477">
                  <c:v>3.7374503969005435E-3</c:v>
                </c:pt>
                <c:pt idx="1478">
                  <c:v>7.8262434142584159E-3</c:v>
                </c:pt>
                <c:pt idx="1479">
                  <c:v>-2.1158642776535341E-3</c:v>
                </c:pt>
                <c:pt idx="1480">
                  <c:v>-7.9489950494615602E-3</c:v>
                </c:pt>
                <c:pt idx="1481">
                  <c:v>-8.7993442234601815E-4</c:v>
                </c:pt>
                <c:pt idx="1482">
                  <c:v>-1.0532393395008E-2</c:v>
                </c:pt>
                <c:pt idx="1483">
                  <c:v>-1.3483259531269276E-2</c:v>
                </c:pt>
                <c:pt idx="1484">
                  <c:v>-1.7594908032074752E-3</c:v>
                </c:pt>
                <c:pt idx="1485">
                  <c:v>6.0493751855470457E-3</c:v>
                </c:pt>
                <c:pt idx="1486">
                  <c:v>1.8707144358109051E-2</c:v>
                </c:pt>
                <c:pt idx="1487">
                  <c:v>1.5618588985347737E-2</c:v>
                </c:pt>
                <c:pt idx="1488">
                  <c:v>1.7620742846442439E-2</c:v>
                </c:pt>
                <c:pt idx="1489">
                  <c:v>1.6255322590939425E-2</c:v>
                </c:pt>
                <c:pt idx="1490">
                  <c:v>1.546714332602539E-2</c:v>
                </c:pt>
                <c:pt idx="1491">
                  <c:v>8.3298894946147728E-3</c:v>
                </c:pt>
                <c:pt idx="1492">
                  <c:v>1.4889301777075703E-3</c:v>
                </c:pt>
                <c:pt idx="1493">
                  <c:v>-4.7692067714848463E-3</c:v>
                </c:pt>
                <c:pt idx="1494">
                  <c:v>-6.1702567588143298E-3</c:v>
                </c:pt>
                <c:pt idx="1495">
                  <c:v>-5.9777147942617903E-3</c:v>
                </c:pt>
                <c:pt idx="1496">
                  <c:v>-5.0631457590150086E-3</c:v>
                </c:pt>
                <c:pt idx="1497">
                  <c:v>-1.8982830573839315E-3</c:v>
                </c:pt>
                <c:pt idx="1498">
                  <c:v>-2.2929183604712966E-3</c:v>
                </c:pt>
                <c:pt idx="1499">
                  <c:v>3.9923226590313776E-3</c:v>
                </c:pt>
                <c:pt idx="1500">
                  <c:v>-6.5055423648751054E-3</c:v>
                </c:pt>
                <c:pt idx="1501">
                  <c:v>4.8768470547463361E-3</c:v>
                </c:pt>
                <c:pt idx="1502">
                  <c:v>3.1021930658375885E-3</c:v>
                </c:pt>
                <c:pt idx="1503">
                  <c:v>-1.0476700209574141E-2</c:v>
                </c:pt>
                <c:pt idx="1504">
                  <c:v>-2.0108707457598962E-3</c:v>
                </c:pt>
                <c:pt idx="1505">
                  <c:v>-6.9910718331307464E-3</c:v>
                </c:pt>
                <c:pt idx="1506">
                  <c:v>-2.3981856116624956E-3</c:v>
                </c:pt>
                <c:pt idx="1507">
                  <c:v>1.458111037723997E-2</c:v>
                </c:pt>
                <c:pt idx="1508">
                  <c:v>1.5188129032252973E-2</c:v>
                </c:pt>
                <c:pt idx="1509">
                  <c:v>9.9054527241185797E-3</c:v>
                </c:pt>
                <c:pt idx="1510">
                  <c:v>7.1961880355733143E-3</c:v>
                </c:pt>
                <c:pt idx="1511">
                  <c:v>1.3246821125092123E-2</c:v>
                </c:pt>
                <c:pt idx="1512">
                  <c:v>1.4773205849768156E-2</c:v>
                </c:pt>
                <c:pt idx="1513">
                  <c:v>7.6932541757082085E-3</c:v>
                </c:pt>
                <c:pt idx="1514">
                  <c:v>1.406277669259659E-2</c:v>
                </c:pt>
                <c:pt idx="1515">
                  <c:v>1.0185886025206869E-2</c:v>
                </c:pt>
                <c:pt idx="1516">
                  <c:v>-7.1172837044897186E-4</c:v>
                </c:pt>
                <c:pt idx="1517">
                  <c:v>2.9425368983874156E-3</c:v>
                </c:pt>
                <c:pt idx="1518">
                  <c:v>1.1746055270782652E-2</c:v>
                </c:pt>
                <c:pt idx="1519">
                  <c:v>1.4435544014134827E-2</c:v>
                </c:pt>
                <c:pt idx="1520">
                  <c:v>3.9464636628794292E-3</c:v>
                </c:pt>
                <c:pt idx="1521">
                  <c:v>1.0414107479891577E-2</c:v>
                </c:pt>
                <c:pt idx="1522">
                  <c:v>5.4610064393330049E-3</c:v>
                </c:pt>
                <c:pt idx="1523">
                  <c:v>1.0657956133988566E-2</c:v>
                </c:pt>
                <c:pt idx="1524">
                  <c:v>5.754517457460584E-3</c:v>
                </c:pt>
                <c:pt idx="1525">
                  <c:v>9.5452558079170968E-3</c:v>
                </c:pt>
                <c:pt idx="1526">
                  <c:v>7.0773394899515951E-3</c:v>
                </c:pt>
                <c:pt idx="1527">
                  <c:v>6.2931919194084696E-3</c:v>
                </c:pt>
                <c:pt idx="1528">
                  <c:v>1.3542778416387069E-2</c:v>
                </c:pt>
                <c:pt idx="1529">
                  <c:v>1.7851350375603925E-3</c:v>
                </c:pt>
                <c:pt idx="1530">
                  <c:v>1.065984780101592E-2</c:v>
                </c:pt>
                <c:pt idx="1531">
                  <c:v>4.1452123191759727E-3</c:v>
                </c:pt>
                <c:pt idx="1532">
                  <c:v>1.2812952802217725E-2</c:v>
                </c:pt>
                <c:pt idx="1533">
                  <c:v>1.0043895048743701E-2</c:v>
                </c:pt>
                <c:pt idx="1534">
                  <c:v>9.0352958605394162E-3</c:v>
                </c:pt>
                <c:pt idx="1535">
                  <c:v>9.6194439856052139E-3</c:v>
                </c:pt>
                <c:pt idx="1536">
                  <c:v>6.3413596729190447E-3</c:v>
                </c:pt>
                <c:pt idx="1537">
                  <c:v>7.6467713150425443E-3</c:v>
                </c:pt>
                <c:pt idx="1538">
                  <c:v>1.1607526490868048E-2</c:v>
                </c:pt>
                <c:pt idx="1539">
                  <c:v>1.1048335093157946E-2</c:v>
                </c:pt>
                <c:pt idx="1540">
                  <c:v>1.1508607696847806E-2</c:v>
                </c:pt>
                <c:pt idx="1541">
                  <c:v>1.1855725645733339E-2</c:v>
                </c:pt>
                <c:pt idx="1542">
                  <c:v>7.8143311164411422E-3</c:v>
                </c:pt>
                <c:pt idx="1543">
                  <c:v>8.6755227730661577E-3</c:v>
                </c:pt>
                <c:pt idx="1544">
                  <c:v>-1.2991466218849057E-3</c:v>
                </c:pt>
                <c:pt idx="1545">
                  <c:v>1.2257301827730549E-3</c:v>
                </c:pt>
                <c:pt idx="1546">
                  <c:v>-9.3823887030454189E-3</c:v>
                </c:pt>
                <c:pt idx="1547">
                  <c:v>-1.450851808052378E-2</c:v>
                </c:pt>
                <c:pt idx="1548">
                  <c:v>-1.5570321163033252E-2</c:v>
                </c:pt>
                <c:pt idx="1549">
                  <c:v>-2.5669437746357215E-2</c:v>
                </c:pt>
                <c:pt idx="1550">
                  <c:v>-2.0500086694708819E-2</c:v>
                </c:pt>
                <c:pt idx="1551">
                  <c:v>-1.8508331793966049E-2</c:v>
                </c:pt>
                <c:pt idx="1552">
                  <c:v>-1.0056215024079607E-2</c:v>
                </c:pt>
                <c:pt idx="1553">
                  <c:v>-8.9719308376817741E-3</c:v>
                </c:pt>
                <c:pt idx="1554">
                  <c:v>-1.1975864958268079E-2</c:v>
                </c:pt>
                <c:pt idx="1555">
                  <c:v>-1.1828703230478355E-2</c:v>
                </c:pt>
                <c:pt idx="1556">
                  <c:v>-7.5257578200285113E-3</c:v>
                </c:pt>
                <c:pt idx="1557">
                  <c:v>-2.1809659149116811E-3</c:v>
                </c:pt>
                <c:pt idx="1558">
                  <c:v>-2.3847838839777813E-3</c:v>
                </c:pt>
                <c:pt idx="1559">
                  <c:v>-2.6268473951506222E-3</c:v>
                </c:pt>
                <c:pt idx="1560">
                  <c:v>-2.9786251856254164E-3</c:v>
                </c:pt>
                <c:pt idx="1561">
                  <c:v>1.119852104541863E-2</c:v>
                </c:pt>
                <c:pt idx="1562">
                  <c:v>2.1310798881947202E-3</c:v>
                </c:pt>
                <c:pt idx="1563">
                  <c:v>2.3263037213892002E-2</c:v>
                </c:pt>
                <c:pt idx="1564">
                  <c:v>2.357697727861785E-2</c:v>
                </c:pt>
                <c:pt idx="1565">
                  <c:v>1.9283971005282008E-2</c:v>
                </c:pt>
                <c:pt idx="1566">
                  <c:v>9.3702079119403203E-3</c:v>
                </c:pt>
                <c:pt idx="1567">
                  <c:v>8.1505027003113684E-3</c:v>
                </c:pt>
                <c:pt idx="1568">
                  <c:v>6.1925595739950046E-3</c:v>
                </c:pt>
                <c:pt idx="1569">
                  <c:v>3.9277763437929325E-3</c:v>
                </c:pt>
                <c:pt idx="1570">
                  <c:v>4.0710796119364234E-3</c:v>
                </c:pt>
                <c:pt idx="1571">
                  <c:v>1.2484570299380215E-2</c:v>
                </c:pt>
                <c:pt idx="1572">
                  <c:v>1.1392150412645075E-2</c:v>
                </c:pt>
                <c:pt idx="1573">
                  <c:v>1.2143891133423734E-2</c:v>
                </c:pt>
                <c:pt idx="1574">
                  <c:v>6.0325722060464715E-3</c:v>
                </c:pt>
                <c:pt idx="1575">
                  <c:v>5.2922634994095885E-3</c:v>
                </c:pt>
                <c:pt idx="1576">
                  <c:v>8.3554501119693647E-3</c:v>
                </c:pt>
                <c:pt idx="1577">
                  <c:v>8.4924469959387627E-3</c:v>
                </c:pt>
                <c:pt idx="1578">
                  <c:v>9.6133956762888273E-3</c:v>
                </c:pt>
                <c:pt idx="1579">
                  <c:v>1.2853428039786063E-2</c:v>
                </c:pt>
                <c:pt idx="1580">
                  <c:v>5.1210891839974515E-3</c:v>
                </c:pt>
                <c:pt idx="1581">
                  <c:v>2.760849761946349E-3</c:v>
                </c:pt>
                <c:pt idx="1582">
                  <c:v>5.6303893521292281E-3</c:v>
                </c:pt>
                <c:pt idx="1583">
                  <c:v>9.4050591724212929E-3</c:v>
                </c:pt>
                <c:pt idx="1584">
                  <c:v>7.9023246980381989E-3</c:v>
                </c:pt>
                <c:pt idx="1585">
                  <c:v>9.7400960640325884E-3</c:v>
                </c:pt>
                <c:pt idx="1586">
                  <c:v>1.0342945487222033E-2</c:v>
                </c:pt>
                <c:pt idx="1587">
                  <c:v>1.0074119363301715E-2</c:v>
                </c:pt>
                <c:pt idx="1588">
                  <c:v>7.6660801310900473E-3</c:v>
                </c:pt>
                <c:pt idx="1589">
                  <c:v>1.4938474157203729E-2</c:v>
                </c:pt>
                <c:pt idx="1590">
                  <c:v>7.3067123297317904E-3</c:v>
                </c:pt>
                <c:pt idx="1591">
                  <c:v>6.3920507739650967E-3</c:v>
                </c:pt>
                <c:pt idx="1592">
                  <c:v>4.7670035442473058E-3</c:v>
                </c:pt>
                <c:pt idx="1593">
                  <c:v>8.2754341547903731E-3</c:v>
                </c:pt>
                <c:pt idx="1594">
                  <c:v>4.310304318678071E-3</c:v>
                </c:pt>
                <c:pt idx="1595">
                  <c:v>1.2586762490267023E-2</c:v>
                </c:pt>
                <c:pt idx="1596">
                  <c:v>1.6138654885961556E-2</c:v>
                </c:pt>
                <c:pt idx="1597">
                  <c:v>1.1498699479579155E-2</c:v>
                </c:pt>
                <c:pt idx="1598">
                  <c:v>9.547654139118178E-4</c:v>
                </c:pt>
                <c:pt idx="1599">
                  <c:v>3.1207820167846734E-3</c:v>
                </c:pt>
                <c:pt idx="1600">
                  <c:v>7.6051469830867857E-3</c:v>
                </c:pt>
                <c:pt idx="1601">
                  <c:v>2.3608688724785498E-3</c:v>
                </c:pt>
                <c:pt idx="1602">
                  <c:v>7.3952806054172759E-3</c:v>
                </c:pt>
                <c:pt idx="1603">
                  <c:v>1.3397483143400613E-2</c:v>
                </c:pt>
                <c:pt idx="1604">
                  <c:v>8.4743213887974456E-3</c:v>
                </c:pt>
                <c:pt idx="1605">
                  <c:v>3.4591923197602181E-3</c:v>
                </c:pt>
                <c:pt idx="1606">
                  <c:v>-2.9865247336652301E-3</c:v>
                </c:pt>
                <c:pt idx="1607">
                  <c:v>8.6575859757195284E-3</c:v>
                </c:pt>
                <c:pt idx="1608">
                  <c:v>3.8633529852402093E-3</c:v>
                </c:pt>
                <c:pt idx="1609">
                  <c:v>4.0899630372231988E-3</c:v>
                </c:pt>
                <c:pt idx="1610">
                  <c:v>5.4688687025787885E-3</c:v>
                </c:pt>
                <c:pt idx="1611">
                  <c:v>4.6612796610393525E-3</c:v>
                </c:pt>
                <c:pt idx="1612">
                  <c:v>8.2438414470092924E-3</c:v>
                </c:pt>
                <c:pt idx="1613">
                  <c:v>8.5236199201154106E-3</c:v>
                </c:pt>
                <c:pt idx="1614">
                  <c:v>1.226366985645988E-2</c:v>
                </c:pt>
                <c:pt idx="1615">
                  <c:v>8.2385124869907012E-3</c:v>
                </c:pt>
                <c:pt idx="1616">
                  <c:v>1.0395248974392035E-2</c:v>
                </c:pt>
                <c:pt idx="1617">
                  <c:v>8.6319516131612151E-3</c:v>
                </c:pt>
                <c:pt idx="1618">
                  <c:v>8.2710953951778965E-3</c:v>
                </c:pt>
                <c:pt idx="1619">
                  <c:v>7.1660765556099681E-3</c:v>
                </c:pt>
                <c:pt idx="1620">
                  <c:v>1.3650385908855367E-2</c:v>
                </c:pt>
                <c:pt idx="1621">
                  <c:v>1.1860699499908756E-2</c:v>
                </c:pt>
                <c:pt idx="1622">
                  <c:v>1.4663417188551464E-2</c:v>
                </c:pt>
                <c:pt idx="1623">
                  <c:v>-4.5830271357687469E-3</c:v>
                </c:pt>
                <c:pt idx="1624">
                  <c:v>-5.5931894728795672E-3</c:v>
                </c:pt>
                <c:pt idx="1625">
                  <c:v>-1.864504914008247E-3</c:v>
                </c:pt>
                <c:pt idx="1626">
                  <c:v>-1.7918617762113564E-2</c:v>
                </c:pt>
                <c:pt idx="1627">
                  <c:v>-1.4484027125973409E-2</c:v>
                </c:pt>
                <c:pt idx="1628">
                  <c:v>-1.0407508301069623E-2</c:v>
                </c:pt>
                <c:pt idx="1629">
                  <c:v>-8.4589184173540222E-3</c:v>
                </c:pt>
                <c:pt idx="1630">
                  <c:v>-9.2543704990415421E-3</c:v>
                </c:pt>
                <c:pt idx="1631">
                  <c:v>-6.3942996540645725E-3</c:v>
                </c:pt>
                <c:pt idx="1632">
                  <c:v>-8.593657709467184E-3</c:v>
                </c:pt>
                <c:pt idx="1633">
                  <c:v>-1.0974779668809109E-2</c:v>
                </c:pt>
                <c:pt idx="1634">
                  <c:v>-1.1581103184753361E-2</c:v>
                </c:pt>
                <c:pt idx="1635">
                  <c:v>7.3192465206650681E-5</c:v>
                </c:pt>
                <c:pt idx="1636">
                  <c:v>-9.6531623302631431E-4</c:v>
                </c:pt>
                <c:pt idx="1637">
                  <c:v>-1.1655710900726479E-4</c:v>
                </c:pt>
                <c:pt idx="1638">
                  <c:v>-1.2930738969555433E-3</c:v>
                </c:pt>
                <c:pt idx="1639">
                  <c:v>-4.8473635932477777E-3</c:v>
                </c:pt>
                <c:pt idx="1640">
                  <c:v>-9.4577285376298281E-3</c:v>
                </c:pt>
                <c:pt idx="1641">
                  <c:v>-1.8388149333517734E-2</c:v>
                </c:pt>
                <c:pt idx="1642">
                  <c:v>-2.5371190639815522E-2</c:v>
                </c:pt>
                <c:pt idx="1643">
                  <c:v>-2.9425943588961001E-2</c:v>
                </c:pt>
                <c:pt idx="1644">
                  <c:v>-3.5899094173899582E-2</c:v>
                </c:pt>
                <c:pt idx="1645">
                  <c:v>-5.1631630620735502E-2</c:v>
                </c:pt>
                <c:pt idx="1646">
                  <c:v>-5.4005823742838133E-2</c:v>
                </c:pt>
                <c:pt idx="1647">
                  <c:v>-6.2264453514441542E-2</c:v>
                </c:pt>
                <c:pt idx="1648">
                  <c:v>-6.1815117660353081E-2</c:v>
                </c:pt>
                <c:pt idx="1649">
                  <c:v>-6.2423640119453561E-2</c:v>
                </c:pt>
                <c:pt idx="1650">
                  <c:v>-6.5080191204216487E-2</c:v>
                </c:pt>
                <c:pt idx="1651">
                  <c:v>-7.4575548300987005E-2</c:v>
                </c:pt>
                <c:pt idx="1652">
                  <c:v>-7.9568966019020082E-2</c:v>
                </c:pt>
                <c:pt idx="1653">
                  <c:v>-7.4139023130000314E-2</c:v>
                </c:pt>
                <c:pt idx="1654">
                  <c:v>-6.5455954620419865E-2</c:v>
                </c:pt>
                <c:pt idx="1655">
                  <c:v>-6.7670510756016711E-2</c:v>
                </c:pt>
                <c:pt idx="1656">
                  <c:v>-5.2763411932753801E-2</c:v>
                </c:pt>
                <c:pt idx="1657">
                  <c:v>-5.2695850848949455E-2</c:v>
                </c:pt>
                <c:pt idx="1658">
                  <c:v>-4.6387104011119118E-2</c:v>
                </c:pt>
                <c:pt idx="1659">
                  <c:v>-4.7332823136413738E-2</c:v>
                </c:pt>
                <c:pt idx="1660">
                  <c:v>-4.9772152225014632E-2</c:v>
                </c:pt>
                <c:pt idx="1661">
                  <c:v>-4.5666401856614303E-2</c:v>
                </c:pt>
                <c:pt idx="1662">
                  <c:v>-5.0104565253316635E-2</c:v>
                </c:pt>
                <c:pt idx="1663">
                  <c:v>-4.9787531846809174E-2</c:v>
                </c:pt>
                <c:pt idx="1664">
                  <c:v>-4.4075810884913524E-2</c:v>
                </c:pt>
                <c:pt idx="1665">
                  <c:v>-5.1239181599894712E-2</c:v>
                </c:pt>
                <c:pt idx="1666">
                  <c:v>-4.2434305933338301E-2</c:v>
                </c:pt>
                <c:pt idx="1667">
                  <c:v>-4.6116827632911805E-2</c:v>
                </c:pt>
                <c:pt idx="1668">
                  <c:v>-4.1726750289065806E-2</c:v>
                </c:pt>
                <c:pt idx="1669">
                  <c:v>-4.4126328200959852E-2</c:v>
                </c:pt>
                <c:pt idx="1670">
                  <c:v>-4.2779811019731495E-2</c:v>
                </c:pt>
                <c:pt idx="1671">
                  <c:v>-4.9455354031058163E-2</c:v>
                </c:pt>
                <c:pt idx="1672">
                  <c:v>-4.8434680657336138E-2</c:v>
                </c:pt>
                <c:pt idx="1673">
                  <c:v>-5.24053095762681E-2</c:v>
                </c:pt>
                <c:pt idx="1674">
                  <c:v>-4.9110869024495907E-2</c:v>
                </c:pt>
                <c:pt idx="1675">
                  <c:v>-3.3940425397237295E-2</c:v>
                </c:pt>
                <c:pt idx="1676">
                  <c:v>-3.040778687035306E-2</c:v>
                </c:pt>
                <c:pt idx="1677">
                  <c:v>-2.866262149270371E-2</c:v>
                </c:pt>
                <c:pt idx="1678">
                  <c:v>-2.3163235503785184E-2</c:v>
                </c:pt>
                <c:pt idx="1679">
                  <c:v>-2.023893495780027E-2</c:v>
                </c:pt>
                <c:pt idx="1680">
                  <c:v>-1.8721650859182315E-2</c:v>
                </c:pt>
                <c:pt idx="1681">
                  <c:v>-1.0477475989738472E-2</c:v>
                </c:pt>
                <c:pt idx="1682">
                  <c:v>-8.2376072156488123E-3</c:v>
                </c:pt>
                <c:pt idx="1683">
                  <c:v>-5.3060274920602168E-3</c:v>
                </c:pt>
                <c:pt idx="1684">
                  <c:v>-7.6261684642183747E-3</c:v>
                </c:pt>
                <c:pt idx="1685">
                  <c:v>-1.8400769382027948E-2</c:v>
                </c:pt>
                <c:pt idx="1686">
                  <c:v>-2.4819794679777019E-2</c:v>
                </c:pt>
                <c:pt idx="1687">
                  <c:v>-2.4507512493589401E-2</c:v>
                </c:pt>
                <c:pt idx="1688">
                  <c:v>-2.616056097356112E-2</c:v>
                </c:pt>
                <c:pt idx="1689">
                  <c:v>-3.349663895239241E-2</c:v>
                </c:pt>
                <c:pt idx="1690">
                  <c:v>-2.8767548000640075E-2</c:v>
                </c:pt>
                <c:pt idx="1691">
                  <c:v>-2.6602121223291308E-2</c:v>
                </c:pt>
                <c:pt idx="1692">
                  <c:v>-3.4375315914679128E-2</c:v>
                </c:pt>
                <c:pt idx="1693">
                  <c:v>-3.1761504854366684E-2</c:v>
                </c:pt>
                <c:pt idx="1694">
                  <c:v>-2.7861041788990515E-2</c:v>
                </c:pt>
                <c:pt idx="1695">
                  <c:v>-2.7295504186747532E-2</c:v>
                </c:pt>
                <c:pt idx="1696">
                  <c:v>-2.4769020987880364E-2</c:v>
                </c:pt>
                <c:pt idx="1697">
                  <c:v>-2.3246650038531547E-2</c:v>
                </c:pt>
                <c:pt idx="1698">
                  <c:v>-2.3769756434891542E-2</c:v>
                </c:pt>
                <c:pt idx="1699">
                  <c:v>-2.5079848114725856E-2</c:v>
                </c:pt>
                <c:pt idx="1700">
                  <c:v>2.1081935439737909E-2</c:v>
                </c:pt>
                <c:pt idx="1701">
                  <c:v>-1.9989017484997262E-2</c:v>
                </c:pt>
                <c:pt idx="1702">
                  <c:v>-1.0290535450480309E-2</c:v>
                </c:pt>
                <c:pt idx="1703">
                  <c:v>8.6087193197401657E-3</c:v>
                </c:pt>
                <c:pt idx="1704">
                  <c:v>4.4116838925996049E-2</c:v>
                </c:pt>
                <c:pt idx="1705">
                  <c:v>2.2702902535968073E-2</c:v>
                </c:pt>
                <c:pt idx="1706">
                  <c:v>3.2322845397590783E-2</c:v>
                </c:pt>
                <c:pt idx="1707">
                  <c:v>3.2701144145772298E-2</c:v>
                </c:pt>
                <c:pt idx="1708">
                  <c:v>6.5692883713362127E-2</c:v>
                </c:pt>
                <c:pt idx="1709">
                  <c:v>7.248883660583183E-2</c:v>
                </c:pt>
                <c:pt idx="1710">
                  <c:v>7.1022007871718973E-2</c:v>
                </c:pt>
                <c:pt idx="1711">
                  <c:v>7.1435257309571676E-2</c:v>
                </c:pt>
                <c:pt idx="1712">
                  <c:v>0.10575317194135037</c:v>
                </c:pt>
                <c:pt idx="1713">
                  <c:v>0.10713324851148331</c:v>
                </c:pt>
                <c:pt idx="1714">
                  <c:v>0.12298393217955861</c:v>
                </c:pt>
                <c:pt idx="1715">
                  <c:v>0.12883800037640114</c:v>
                </c:pt>
                <c:pt idx="1716">
                  <c:v>0.12308878809303903</c:v>
                </c:pt>
                <c:pt idx="1717">
                  <c:v>0.11965543784582766</c:v>
                </c:pt>
                <c:pt idx="1718">
                  <c:v>0.11928549619016837</c:v>
                </c:pt>
                <c:pt idx="1719">
                  <c:v>0.1006790332658688</c:v>
                </c:pt>
                <c:pt idx="1720">
                  <c:v>0.10174534155572346</c:v>
                </c:pt>
                <c:pt idx="1721">
                  <c:v>0.10054825114343879</c:v>
                </c:pt>
                <c:pt idx="1722">
                  <c:v>7.8582795418012497E-2</c:v>
                </c:pt>
                <c:pt idx="1723">
                  <c:v>0.10797574181046088</c:v>
                </c:pt>
                <c:pt idx="1724">
                  <c:v>0.10697173473101396</c:v>
                </c:pt>
                <c:pt idx="1725">
                  <c:v>0.11515847750370967</c:v>
                </c:pt>
                <c:pt idx="1726">
                  <c:v>8.4654573283091117E-2</c:v>
                </c:pt>
                <c:pt idx="1727">
                  <c:v>7.7064162070220155E-2</c:v>
                </c:pt>
                <c:pt idx="1728">
                  <c:v>7.6686205861279388E-2</c:v>
                </c:pt>
                <c:pt idx="1729">
                  <c:v>3.9596302872223599E-2</c:v>
                </c:pt>
                <c:pt idx="1730">
                  <c:v>3.2285016231255681E-2</c:v>
                </c:pt>
                <c:pt idx="1731">
                  <c:v>2.4149850427792163E-2</c:v>
                </c:pt>
                <c:pt idx="1732">
                  <c:v>2.5626227515351263E-2</c:v>
                </c:pt>
                <c:pt idx="1733">
                  <c:v>4.464079469091331E-3</c:v>
                </c:pt>
                <c:pt idx="1734">
                  <c:v>3.58853511178715E-2</c:v>
                </c:pt>
                <c:pt idx="1735">
                  <c:v>5.8608865888224615E-2</c:v>
                </c:pt>
                <c:pt idx="1736">
                  <c:v>4.9881542254048339E-2</c:v>
                </c:pt>
                <c:pt idx="1737">
                  <c:v>2.373010321756408E-2</c:v>
                </c:pt>
                <c:pt idx="1738">
                  <c:v>1.3234965167564283E-2</c:v>
                </c:pt>
                <c:pt idx="1739">
                  <c:v>9.8363033121383614E-3</c:v>
                </c:pt>
                <c:pt idx="1740">
                  <c:v>1.8891177525394265E-2</c:v>
                </c:pt>
                <c:pt idx="1741">
                  <c:v>7.7359228069906472E-3</c:v>
                </c:pt>
                <c:pt idx="1742">
                  <c:v>9.9665010963042588E-3</c:v>
                </c:pt>
                <c:pt idx="1743">
                  <c:v>-4.2470362641601755E-2</c:v>
                </c:pt>
                <c:pt idx="1744">
                  <c:v>-3.2613585573185278E-2</c:v>
                </c:pt>
                <c:pt idx="1745">
                  <c:v>-1.2788764416394538E-2</c:v>
                </c:pt>
                <c:pt idx="1746">
                  <c:v>-1.8196384372078933E-3</c:v>
                </c:pt>
                <c:pt idx="1747">
                  <c:v>-4.4015341043552869E-3</c:v>
                </c:pt>
                <c:pt idx="1748">
                  <c:v>1.8346604366624164E-2</c:v>
                </c:pt>
                <c:pt idx="1749">
                  <c:v>2.7862675099432188E-2</c:v>
                </c:pt>
                <c:pt idx="1750">
                  <c:v>4.3863618309404218E-2</c:v>
                </c:pt>
                <c:pt idx="1751">
                  <c:v>4.4128292384163936E-2</c:v>
                </c:pt>
                <c:pt idx="1752">
                  <c:v>5.4927024420567294E-2</c:v>
                </c:pt>
                <c:pt idx="1753">
                  <c:v>5.2404699008563371E-2</c:v>
                </c:pt>
                <c:pt idx="1754">
                  <c:v>5.4425456863950505E-2</c:v>
                </c:pt>
                <c:pt idx="1755">
                  <c:v>5.3372026570825737E-2</c:v>
                </c:pt>
                <c:pt idx="1756">
                  <c:v>5.9624412856798092E-2</c:v>
                </c:pt>
                <c:pt idx="1757">
                  <c:v>3.1485315850637408E-2</c:v>
                </c:pt>
                <c:pt idx="1758">
                  <c:v>1.8595075674063932E-2</c:v>
                </c:pt>
                <c:pt idx="1759">
                  <c:v>-1.1974869454067227E-2</c:v>
                </c:pt>
                <c:pt idx="1760">
                  <c:v>6.27114087322167E-3</c:v>
                </c:pt>
                <c:pt idx="1761">
                  <c:v>1.4344355652424978E-2</c:v>
                </c:pt>
                <c:pt idx="1762">
                  <c:v>2.3760166182458242E-2</c:v>
                </c:pt>
                <c:pt idx="1763">
                  <c:v>2.230582285082261E-2</c:v>
                </c:pt>
                <c:pt idx="1764">
                  <c:v>2.4290606563978967E-2</c:v>
                </c:pt>
                <c:pt idx="1765">
                  <c:v>1.0377347047193286E-2</c:v>
                </c:pt>
                <c:pt idx="1766">
                  <c:v>2.6693776680654091E-3</c:v>
                </c:pt>
                <c:pt idx="1767">
                  <c:v>-8.5667850556214731E-4</c:v>
                </c:pt>
                <c:pt idx="1768">
                  <c:v>-2.6572001120967692E-2</c:v>
                </c:pt>
                <c:pt idx="1769">
                  <c:v>6.1283387511386067E-3</c:v>
                </c:pt>
                <c:pt idx="1770">
                  <c:v>5.6625175471534117E-3</c:v>
                </c:pt>
                <c:pt idx="1771">
                  <c:v>3.506661943078726E-2</c:v>
                </c:pt>
                <c:pt idx="1772">
                  <c:v>-1.1054603905757965E-2</c:v>
                </c:pt>
                <c:pt idx="1773">
                  <c:v>-1.4810827180518182E-2</c:v>
                </c:pt>
                <c:pt idx="1774">
                  <c:v>-6.8811300667930286E-3</c:v>
                </c:pt>
                <c:pt idx="1775">
                  <c:v>-1.0261600572193053E-2</c:v>
                </c:pt>
                <c:pt idx="1776">
                  <c:v>2.2245084739647147E-4</c:v>
                </c:pt>
                <c:pt idx="1777">
                  <c:v>-2.3762196086685172E-3</c:v>
                </c:pt>
                <c:pt idx="1778">
                  <c:v>-9.3869392499627002E-3</c:v>
                </c:pt>
                <c:pt idx="1779">
                  <c:v>1.3327217362989918E-2</c:v>
                </c:pt>
                <c:pt idx="1780">
                  <c:v>-5.7882510923301655E-3</c:v>
                </c:pt>
                <c:pt idx="1781">
                  <c:v>-6.744119280410299E-3</c:v>
                </c:pt>
                <c:pt idx="1782">
                  <c:v>-1.0714612012448277E-2</c:v>
                </c:pt>
                <c:pt idx="1783">
                  <c:v>-1.9231027718948579E-2</c:v>
                </c:pt>
                <c:pt idx="1784">
                  <c:v>-9.4343545290184183E-3</c:v>
                </c:pt>
                <c:pt idx="1785">
                  <c:v>-6.0977184802396556E-3</c:v>
                </c:pt>
                <c:pt idx="1786">
                  <c:v>-5.9204006068267478E-3</c:v>
                </c:pt>
                <c:pt idx="1787">
                  <c:v>5.64647776210081E-3</c:v>
                </c:pt>
                <c:pt idx="1788">
                  <c:v>4.7184854272042109E-3</c:v>
                </c:pt>
                <c:pt idx="1789">
                  <c:v>-5.4490586436308774E-3</c:v>
                </c:pt>
                <c:pt idx="1790">
                  <c:v>1.1477228283018892E-4</c:v>
                </c:pt>
                <c:pt idx="1791">
                  <c:v>-4.4638263020102542E-4</c:v>
                </c:pt>
                <c:pt idx="1792">
                  <c:v>3.1719163347417867E-3</c:v>
                </c:pt>
                <c:pt idx="1793">
                  <c:v>1.24944100963299E-2</c:v>
                </c:pt>
                <c:pt idx="1794">
                  <c:v>2.0104071890689856E-2</c:v>
                </c:pt>
                <c:pt idx="1795">
                  <c:v>1.7439385963178178E-2</c:v>
                </c:pt>
                <c:pt idx="1796">
                  <c:v>6.7300886876769939E-3</c:v>
                </c:pt>
                <c:pt idx="1797">
                  <c:v>1.174897468588787E-2</c:v>
                </c:pt>
                <c:pt idx="1798">
                  <c:v>9.90742701182179E-3</c:v>
                </c:pt>
                <c:pt idx="1799">
                  <c:v>1.3248098917367002E-2</c:v>
                </c:pt>
                <c:pt idx="1800">
                  <c:v>5.5388205571581528E-3</c:v>
                </c:pt>
                <c:pt idx="1801">
                  <c:v>3.9194052727061779E-3</c:v>
                </c:pt>
                <c:pt idx="1802">
                  <c:v>9.3287775498694936E-3</c:v>
                </c:pt>
                <c:pt idx="1803">
                  <c:v>1.0548613549036245E-2</c:v>
                </c:pt>
                <c:pt idx="1804">
                  <c:v>2.5311811572188425E-3</c:v>
                </c:pt>
                <c:pt idx="1805">
                  <c:v>4.7521175941195315E-3</c:v>
                </c:pt>
                <c:pt idx="1806">
                  <c:v>1.1216301234096004E-4</c:v>
                </c:pt>
                <c:pt idx="1807">
                  <c:v>4.3470904257882914E-3</c:v>
                </c:pt>
                <c:pt idx="1808">
                  <c:v>1.5601184102744581E-2</c:v>
                </c:pt>
                <c:pt idx="1809">
                  <c:v>2.7059534568004695E-3</c:v>
                </c:pt>
                <c:pt idx="1810">
                  <c:v>1.5090015478013252E-2</c:v>
                </c:pt>
                <c:pt idx="1811">
                  <c:v>7.3907082366287957E-3</c:v>
                </c:pt>
                <c:pt idx="1812">
                  <c:v>3.8650557552781795E-3</c:v>
                </c:pt>
                <c:pt idx="1813">
                  <c:v>9.8259196556084172E-3</c:v>
                </c:pt>
                <c:pt idx="1814">
                  <c:v>-1.0523043845391822E-3</c:v>
                </c:pt>
                <c:pt idx="1815">
                  <c:v>-3.5659693746022958E-3</c:v>
                </c:pt>
                <c:pt idx="1816">
                  <c:v>-5.5810589302950353E-3</c:v>
                </c:pt>
                <c:pt idx="1817">
                  <c:v>-1.1265918064449543E-2</c:v>
                </c:pt>
                <c:pt idx="1818">
                  <c:v>-1.77206619368111E-2</c:v>
                </c:pt>
                <c:pt idx="1819">
                  <c:v>-9.3765244108450219E-3</c:v>
                </c:pt>
                <c:pt idx="1820">
                  <c:v>-9.2674509420206386E-3</c:v>
                </c:pt>
                <c:pt idx="1821">
                  <c:v>-7.5427035823062427E-3</c:v>
                </c:pt>
                <c:pt idx="1822">
                  <c:v>-3.9425086724621528E-3</c:v>
                </c:pt>
                <c:pt idx="1823">
                  <c:v>-1.8151074560466163E-2</c:v>
                </c:pt>
                <c:pt idx="1824">
                  <c:v>-2.0672812178550548E-2</c:v>
                </c:pt>
                <c:pt idx="1825">
                  <c:v>-3.0972578523798422E-2</c:v>
                </c:pt>
                <c:pt idx="1826">
                  <c:v>-2.8996631614580881E-2</c:v>
                </c:pt>
                <c:pt idx="1827">
                  <c:v>-4.0392597473945857E-2</c:v>
                </c:pt>
                <c:pt idx="1828">
                  <c:v>-4.06375274088977E-2</c:v>
                </c:pt>
                <c:pt idx="1829">
                  <c:v>-4.1878766625350616E-2</c:v>
                </c:pt>
                <c:pt idx="1830">
                  <c:v>-3.5355368406167265E-2</c:v>
                </c:pt>
                <c:pt idx="1831">
                  <c:v>-3.466512436298741E-2</c:v>
                </c:pt>
                <c:pt idx="1832">
                  <c:v>-3.771449795629267E-2</c:v>
                </c:pt>
                <c:pt idx="1833">
                  <c:v>-4.0972801219009924E-2</c:v>
                </c:pt>
                <c:pt idx="1834">
                  <c:v>-3.4353100070318887E-2</c:v>
                </c:pt>
                <c:pt idx="1835">
                  <c:v>-4.2135635264017091E-2</c:v>
                </c:pt>
                <c:pt idx="1836">
                  <c:v>-4.2327838530945017E-2</c:v>
                </c:pt>
                <c:pt idx="1837">
                  <c:v>-4.3555272727366923E-2</c:v>
                </c:pt>
                <c:pt idx="1838">
                  <c:v>-4.6785235278400172E-2</c:v>
                </c:pt>
                <c:pt idx="1839">
                  <c:v>-4.711555501443343E-2</c:v>
                </c:pt>
                <c:pt idx="1840">
                  <c:v>-5.5530359296208309E-2</c:v>
                </c:pt>
                <c:pt idx="1841">
                  <c:v>-4.1698460534394188E-2</c:v>
                </c:pt>
                <c:pt idx="1842">
                  <c:v>-3.4240980865164139E-2</c:v>
                </c:pt>
                <c:pt idx="1843">
                  <c:v>-3.3580886626978002E-2</c:v>
                </c:pt>
                <c:pt idx="1844">
                  <c:v>-2.846760246553981E-2</c:v>
                </c:pt>
                <c:pt idx="1845">
                  <c:v>-2.9530128735272054E-2</c:v>
                </c:pt>
                <c:pt idx="1846">
                  <c:v>-3.0208512215924133E-2</c:v>
                </c:pt>
                <c:pt idx="1847">
                  <c:v>-3.6216309265924784E-2</c:v>
                </c:pt>
                <c:pt idx="1848">
                  <c:v>-2.5780439234693753E-2</c:v>
                </c:pt>
                <c:pt idx="1849">
                  <c:v>-2.3339031668714316E-2</c:v>
                </c:pt>
                <c:pt idx="1850">
                  <c:v>-2.719425347444937E-2</c:v>
                </c:pt>
                <c:pt idx="1851">
                  <c:v>-2.7291237343491592E-2</c:v>
                </c:pt>
                <c:pt idx="1852">
                  <c:v>-2.3861976965755205E-2</c:v>
                </c:pt>
                <c:pt idx="1853">
                  <c:v>-1.5613671747637725E-2</c:v>
                </c:pt>
                <c:pt idx="1854">
                  <c:v>-9.5772287964978053E-3</c:v>
                </c:pt>
                <c:pt idx="1855">
                  <c:v>-4.8156427286663028E-3</c:v>
                </c:pt>
                <c:pt idx="1856">
                  <c:v>-2.4548069475894829E-3</c:v>
                </c:pt>
                <c:pt idx="1857">
                  <c:v>3.8851645308550786E-3</c:v>
                </c:pt>
                <c:pt idx="1858">
                  <c:v>1.1101947152693081E-2</c:v>
                </c:pt>
                <c:pt idx="1859">
                  <c:v>2.0892118069766208E-2</c:v>
                </c:pt>
                <c:pt idx="1860">
                  <c:v>1.6397285998983602E-2</c:v>
                </c:pt>
                <c:pt idx="1861">
                  <c:v>1.3488872178787581E-2</c:v>
                </c:pt>
                <c:pt idx="1862">
                  <c:v>2.4584611941190437E-2</c:v>
                </c:pt>
                <c:pt idx="1863">
                  <c:v>2.9980119231160729E-2</c:v>
                </c:pt>
                <c:pt idx="1864">
                  <c:v>3.6776207866390909E-2</c:v>
                </c:pt>
                <c:pt idx="1865">
                  <c:v>4.0355198209939935E-2</c:v>
                </c:pt>
                <c:pt idx="1866">
                  <c:v>3.8360845944530597E-2</c:v>
                </c:pt>
                <c:pt idx="1867">
                  <c:v>4.3350727331492589E-2</c:v>
                </c:pt>
                <c:pt idx="1868">
                  <c:v>4.2168413831130014E-2</c:v>
                </c:pt>
                <c:pt idx="1869">
                  <c:v>4.3943308628792144E-2</c:v>
                </c:pt>
                <c:pt idx="1870">
                  <c:v>5.0682407100009264E-2</c:v>
                </c:pt>
                <c:pt idx="1871">
                  <c:v>4.9877781519918174E-2</c:v>
                </c:pt>
                <c:pt idx="1872">
                  <c:v>5.103306007276065E-2</c:v>
                </c:pt>
                <c:pt idx="1873">
                  <c:v>5.1713754448786231E-2</c:v>
                </c:pt>
                <c:pt idx="1874">
                  <c:v>5.7754779352646168E-2</c:v>
                </c:pt>
                <c:pt idx="1875">
                  <c:v>4.8116167379448904E-2</c:v>
                </c:pt>
                <c:pt idx="1876">
                  <c:v>5.2421009118252093E-2</c:v>
                </c:pt>
                <c:pt idx="1877">
                  <c:v>4.9493326392646586E-2</c:v>
                </c:pt>
                <c:pt idx="1878">
                  <c:v>4.8929994652059827E-2</c:v>
                </c:pt>
                <c:pt idx="1879">
                  <c:v>4.3512634939750328E-2</c:v>
                </c:pt>
                <c:pt idx="1880">
                  <c:v>4.6465144897774091E-2</c:v>
                </c:pt>
                <c:pt idx="1881">
                  <c:v>3.5896187464846907E-2</c:v>
                </c:pt>
                <c:pt idx="1882">
                  <c:v>3.4877623775406708E-2</c:v>
                </c:pt>
                <c:pt idx="1883">
                  <c:v>3.031538672552303E-2</c:v>
                </c:pt>
                <c:pt idx="1884">
                  <c:v>3.2011125993084755E-2</c:v>
                </c:pt>
                <c:pt idx="1885">
                  <c:v>3.3832878644845077E-2</c:v>
                </c:pt>
                <c:pt idx="1886">
                  <c:v>3.6075960907495541E-2</c:v>
                </c:pt>
                <c:pt idx="1887">
                  <c:v>3.6466558989535991E-2</c:v>
                </c:pt>
                <c:pt idx="1888">
                  <c:v>3.3452014454963153E-2</c:v>
                </c:pt>
                <c:pt idx="1889">
                  <c:v>4.3212241590159572E-2</c:v>
                </c:pt>
                <c:pt idx="1890">
                  <c:v>5.9793723038858548E-2</c:v>
                </c:pt>
                <c:pt idx="1891">
                  <c:v>-9.0893288333824263E-3</c:v>
                </c:pt>
                <c:pt idx="1892">
                  <c:v>-5.8589850765805918E-2</c:v>
                </c:pt>
                <c:pt idx="1893">
                  <c:v>-9.8759393375789761E-2</c:v>
                </c:pt>
                <c:pt idx="1894">
                  <c:v>-0.1225092541004581</c:v>
                </c:pt>
                <c:pt idx="1895">
                  <c:v>-0.13251197271491988</c:v>
                </c:pt>
                <c:pt idx="1896">
                  <c:v>-6.6919517476476398E-2</c:v>
                </c:pt>
                <c:pt idx="1897">
                  <c:v>-9.909553192073417E-2</c:v>
                </c:pt>
                <c:pt idx="1898">
                  <c:v>-0.12019984736407086</c:v>
                </c:pt>
                <c:pt idx="1899">
                  <c:v>-0.10559844355241055</c:v>
                </c:pt>
                <c:pt idx="1900">
                  <c:v>-5.6725361928728901E-2</c:v>
                </c:pt>
                <c:pt idx="1901">
                  <c:v>-6.543986764958365E-2</c:v>
                </c:pt>
                <c:pt idx="1902">
                  <c:v>-6.1309025530717043E-2</c:v>
                </c:pt>
                <c:pt idx="1903">
                  <c:v>-8.7610310419184878E-2</c:v>
                </c:pt>
                <c:pt idx="1904">
                  <c:v>-9.8942667282287067E-2</c:v>
                </c:pt>
                <c:pt idx="1905">
                  <c:v>-0.10040466277680471</c:v>
                </c:pt>
                <c:pt idx="1906">
                  <c:v>-5.5369251469234992E-2</c:v>
                </c:pt>
                <c:pt idx="1907">
                  <c:v>-4.9259200185178709E-2</c:v>
                </c:pt>
                <c:pt idx="1908">
                  <c:v>-7.5730826073032609E-2</c:v>
                </c:pt>
                <c:pt idx="1909">
                  <c:v>-6.1174200261446265E-2</c:v>
                </c:pt>
                <c:pt idx="1910">
                  <c:v>-6.1210872222745016E-2</c:v>
                </c:pt>
                <c:pt idx="1911">
                  <c:v>-1.5369279591445628E-2</c:v>
                </c:pt>
                <c:pt idx="1912">
                  <c:v>2.6746981470079367E-3</c:v>
                </c:pt>
                <c:pt idx="1913">
                  <c:v>1.5101779980867258E-2</c:v>
                </c:pt>
                <c:pt idx="1914">
                  <c:v>-1.2110727951779587E-3</c:v>
                </c:pt>
                <c:pt idx="1915">
                  <c:v>8.0472347207560802E-4</c:v>
                </c:pt>
                <c:pt idx="1916">
                  <c:v>-1.3311121690123939E-2</c:v>
                </c:pt>
                <c:pt idx="1917">
                  <c:v>1.6267619553163026E-2</c:v>
                </c:pt>
                <c:pt idx="1918">
                  <c:v>1.440066917078231E-2</c:v>
                </c:pt>
                <c:pt idx="1919">
                  <c:v>5.2794388390848823E-2</c:v>
                </c:pt>
                <c:pt idx="1920">
                  <c:v>6.2183858660819713E-2</c:v>
                </c:pt>
                <c:pt idx="1921">
                  <c:v>4.4414280498767333E-2</c:v>
                </c:pt>
                <c:pt idx="1922">
                  <c:v>5.3373980036324153E-2</c:v>
                </c:pt>
                <c:pt idx="1923">
                  <c:v>6.4725830800120621E-2</c:v>
                </c:pt>
                <c:pt idx="1924">
                  <c:v>3.2003439731397187E-2</c:v>
                </c:pt>
                <c:pt idx="1925">
                  <c:v>5.3783608409376349E-2</c:v>
                </c:pt>
                <c:pt idx="1926">
                  <c:v>3.5330186535369346E-2</c:v>
                </c:pt>
                <c:pt idx="1927">
                  <c:v>2.2299152338969397E-2</c:v>
                </c:pt>
                <c:pt idx="1928">
                  <c:v>1.0693883053892628E-2</c:v>
                </c:pt>
                <c:pt idx="1929">
                  <c:v>2.1489923994449045E-2</c:v>
                </c:pt>
                <c:pt idx="1930">
                  <c:v>6.6922597509915249E-3</c:v>
                </c:pt>
                <c:pt idx="1931">
                  <c:v>-5.6976843749357409E-2</c:v>
                </c:pt>
                <c:pt idx="1932">
                  <c:v>-3.095948244421487E-2</c:v>
                </c:pt>
                <c:pt idx="1933">
                  <c:v>-1.6687343861590986E-2</c:v>
                </c:pt>
                <c:pt idx="1934">
                  <c:v>-1.3055886511819992E-2</c:v>
                </c:pt>
                <c:pt idx="1935">
                  <c:v>-1.9892824437868217E-3</c:v>
                </c:pt>
                <c:pt idx="1936">
                  <c:v>-2.4159691520718063E-2</c:v>
                </c:pt>
                <c:pt idx="1937">
                  <c:v>-2.0023683430219541E-2</c:v>
                </c:pt>
                <c:pt idx="1938">
                  <c:v>9.6780182286676508E-3</c:v>
                </c:pt>
                <c:pt idx="1939">
                  <c:v>2.9029212522821424E-2</c:v>
                </c:pt>
                <c:pt idx="1940">
                  <c:v>4.6821380198239448E-2</c:v>
                </c:pt>
                <c:pt idx="1941">
                  <c:v>3.9156265294054804E-2</c:v>
                </c:pt>
                <c:pt idx="1942">
                  <c:v>4.0754286538102091E-2</c:v>
                </c:pt>
                <c:pt idx="1943">
                  <c:v>3.4876990234482319E-2</c:v>
                </c:pt>
                <c:pt idx="1944">
                  <c:v>4.1507182071947701E-2</c:v>
                </c:pt>
                <c:pt idx="1945">
                  <c:v>8.0239407365922388E-2</c:v>
                </c:pt>
                <c:pt idx="1946">
                  <c:v>0.11257315987853811</c:v>
                </c:pt>
                <c:pt idx="1947">
                  <c:v>0.13001181559472752</c:v>
                </c:pt>
                <c:pt idx="1948">
                  <c:v>0.14110850392107022</c:v>
                </c:pt>
                <c:pt idx="1949">
                  <c:v>0.10354854314032569</c:v>
                </c:pt>
                <c:pt idx="1950">
                  <c:v>0.10983153756923236</c:v>
                </c:pt>
                <c:pt idx="1951">
                  <c:v>0.11492826858915872</c:v>
                </c:pt>
                <c:pt idx="1952">
                  <c:v>7.4080308397175498E-2</c:v>
                </c:pt>
                <c:pt idx="1953">
                  <c:v>0.11441818777718094</c:v>
                </c:pt>
                <c:pt idx="1954">
                  <c:v>5.2063435844130979E-2</c:v>
                </c:pt>
                <c:pt idx="1955">
                  <c:v>5.6876663572906105E-2</c:v>
                </c:pt>
                <c:pt idx="1956">
                  <c:v>5.1780729525662927E-2</c:v>
                </c:pt>
                <c:pt idx="1957">
                  <c:v>6.9357701435599495E-3</c:v>
                </c:pt>
                <c:pt idx="1958">
                  <c:v>-3.9893585599987791E-2</c:v>
                </c:pt>
                <c:pt idx="1959">
                  <c:v>-8.3173364037007702E-2</c:v>
                </c:pt>
                <c:pt idx="1960">
                  <c:v>-3.4099553711667951E-2</c:v>
                </c:pt>
                <c:pt idx="1961">
                  <c:v>-4.4905621553427144E-3</c:v>
                </c:pt>
                <c:pt idx="1962">
                  <c:v>-3.8088408789619388E-3</c:v>
                </c:pt>
                <c:pt idx="1963">
                  <c:v>-1.4845218131708693E-2</c:v>
                </c:pt>
                <c:pt idx="1964">
                  <c:v>-2.3969242851815675E-3</c:v>
                </c:pt>
                <c:pt idx="1965">
                  <c:v>6.0979477384867087E-3</c:v>
                </c:pt>
                <c:pt idx="1966">
                  <c:v>1.1200095579643188E-3</c:v>
                </c:pt>
                <c:pt idx="1967">
                  <c:v>1.0596000014373441E-3</c:v>
                </c:pt>
                <c:pt idx="1968">
                  <c:v>-3.2874405973608578E-3</c:v>
                </c:pt>
                <c:pt idx="1969">
                  <c:v>-3.6961871684665359E-3</c:v>
                </c:pt>
                <c:pt idx="1970">
                  <c:v>-4.4091271525389386E-3</c:v>
                </c:pt>
                <c:pt idx="1971">
                  <c:v>-3.770900062004312E-3</c:v>
                </c:pt>
                <c:pt idx="1972">
                  <c:v>-1.0307522241301825E-3</c:v>
                </c:pt>
                <c:pt idx="1973">
                  <c:v>-7.5890815013118784E-3</c:v>
                </c:pt>
                <c:pt idx="1974">
                  <c:v>-1.0696116253161803E-2</c:v>
                </c:pt>
                <c:pt idx="1975">
                  <c:v>-2.4017978249869176E-2</c:v>
                </c:pt>
                <c:pt idx="1976">
                  <c:v>-2.0386910995534246E-2</c:v>
                </c:pt>
                <c:pt idx="1977">
                  <c:v>-2.2545244801081554E-2</c:v>
                </c:pt>
                <c:pt idx="1978">
                  <c:v>-2.0973558941882242E-2</c:v>
                </c:pt>
                <c:pt idx="1979">
                  <c:v>-1.7447153636441781E-2</c:v>
                </c:pt>
                <c:pt idx="1980">
                  <c:v>-1.1549122975797355E-2</c:v>
                </c:pt>
                <c:pt idx="1981">
                  <c:v>-1.1896903213594823E-2</c:v>
                </c:pt>
                <c:pt idx="1982">
                  <c:v>-8.5353549238090798E-3</c:v>
                </c:pt>
                <c:pt idx="1983">
                  <c:v>-1.2383021332496802E-2</c:v>
                </c:pt>
                <c:pt idx="1984">
                  <c:v>-1.5756070119009591E-3</c:v>
                </c:pt>
                <c:pt idx="1985">
                  <c:v>9.2747645205171203E-5</c:v>
                </c:pt>
                <c:pt idx="1986">
                  <c:v>-1.1714428641042773E-2</c:v>
                </c:pt>
                <c:pt idx="1987">
                  <c:v>-2.6729705304281426E-3</c:v>
                </c:pt>
                <c:pt idx="1988">
                  <c:v>-8.831533269928471E-4</c:v>
                </c:pt>
                <c:pt idx="1989">
                  <c:v>-2.4810584519703305E-3</c:v>
                </c:pt>
                <c:pt idx="1990">
                  <c:v>2.3679666372086183E-3</c:v>
                </c:pt>
                <c:pt idx="1991">
                  <c:v>2.8421156432443251E-3</c:v>
                </c:pt>
                <c:pt idx="1992">
                  <c:v>-1.2332334658742283E-3</c:v>
                </c:pt>
                <c:pt idx="1993">
                  <c:v>6.9417239583632329E-3</c:v>
                </c:pt>
                <c:pt idx="1994">
                  <c:v>-6.2831456638190453E-3</c:v>
                </c:pt>
                <c:pt idx="1995">
                  <c:v>-1.5911984257774958E-2</c:v>
                </c:pt>
                <c:pt idx="1996">
                  <c:v>-1.1533127445103708E-2</c:v>
                </c:pt>
                <c:pt idx="1997">
                  <c:v>-3.75318057439189E-3</c:v>
                </c:pt>
                <c:pt idx="1998">
                  <c:v>-5.6958981014904042E-3</c:v>
                </c:pt>
                <c:pt idx="1999">
                  <c:v>-1.4311832507735933E-2</c:v>
                </c:pt>
                <c:pt idx="2000">
                  <c:v>-1.717568192926533E-2</c:v>
                </c:pt>
                <c:pt idx="2001">
                  <c:v>-2.1855013242743859E-2</c:v>
                </c:pt>
                <c:pt idx="2002">
                  <c:v>-2.2159335633168409E-2</c:v>
                </c:pt>
                <c:pt idx="2003">
                  <c:v>-1.4836872210460816E-2</c:v>
                </c:pt>
                <c:pt idx="2004">
                  <c:v>-1.2220935271024747E-2</c:v>
                </c:pt>
                <c:pt idx="2005">
                  <c:v>-5.1400800455436713E-3</c:v>
                </c:pt>
                <c:pt idx="2006">
                  <c:v>-3.182346277387671E-3</c:v>
                </c:pt>
                <c:pt idx="2007">
                  <c:v>-5.7960152190017489E-4</c:v>
                </c:pt>
                <c:pt idx="2008">
                  <c:v>-1.1743182506868122E-3</c:v>
                </c:pt>
                <c:pt idx="2009">
                  <c:v>-2.1675334301859417E-3</c:v>
                </c:pt>
                <c:pt idx="2010">
                  <c:v>-4.6096278478758856E-3</c:v>
                </c:pt>
                <c:pt idx="2011">
                  <c:v>5.4961821423837875E-5</c:v>
                </c:pt>
                <c:pt idx="2012">
                  <c:v>3.9078497566114034E-4</c:v>
                </c:pt>
                <c:pt idx="2013">
                  <c:v>6.9635377089622974E-3</c:v>
                </c:pt>
                <c:pt idx="2014">
                  <c:v>1.0195210595283388E-2</c:v>
                </c:pt>
                <c:pt idx="2015">
                  <c:v>1.0174324497950638E-2</c:v>
                </c:pt>
                <c:pt idx="2016">
                  <c:v>2.0821689822133171E-2</c:v>
                </c:pt>
                <c:pt idx="2017">
                  <c:v>2.9161745324800536E-2</c:v>
                </c:pt>
                <c:pt idx="2018">
                  <c:v>3.0208828214746575E-2</c:v>
                </c:pt>
                <c:pt idx="2019">
                  <c:v>3.129163870751972E-2</c:v>
                </c:pt>
                <c:pt idx="2020">
                  <c:v>2.2625161740962296E-2</c:v>
                </c:pt>
                <c:pt idx="2021">
                  <c:v>2.6204432301981995E-2</c:v>
                </c:pt>
                <c:pt idx="2022">
                  <c:v>2.3256010591080623E-2</c:v>
                </c:pt>
                <c:pt idx="2023">
                  <c:v>6.495677295528135E-3</c:v>
                </c:pt>
                <c:pt idx="2024">
                  <c:v>2.4056849889550258E-2</c:v>
                </c:pt>
                <c:pt idx="2025">
                  <c:v>3.0635451317841733E-2</c:v>
                </c:pt>
                <c:pt idx="2026">
                  <c:v>3.3040290411702422E-2</c:v>
                </c:pt>
                <c:pt idx="2027">
                  <c:v>1.6406784312555045E-2</c:v>
                </c:pt>
                <c:pt idx="2028">
                  <c:v>2.2744855585522306E-2</c:v>
                </c:pt>
                <c:pt idx="2029">
                  <c:v>3.5224927529848293E-2</c:v>
                </c:pt>
                <c:pt idx="2030">
                  <c:v>4.0464316060469185E-2</c:v>
                </c:pt>
                <c:pt idx="2031">
                  <c:v>3.8937974786854901E-2</c:v>
                </c:pt>
                <c:pt idx="2032">
                  <c:v>3.3570937692237179E-2</c:v>
                </c:pt>
                <c:pt idx="2033">
                  <c:v>2.8579324387169813E-2</c:v>
                </c:pt>
                <c:pt idx="2034">
                  <c:v>1.4458026788673251E-2</c:v>
                </c:pt>
                <c:pt idx="2035">
                  <c:v>2.1642537345868296E-2</c:v>
                </c:pt>
                <c:pt idx="2036">
                  <c:v>1.5222801472095093E-2</c:v>
                </c:pt>
                <c:pt idx="2037">
                  <c:v>-1.725875501307983E-3</c:v>
                </c:pt>
                <c:pt idx="2038">
                  <c:v>7.4828468433663087E-4</c:v>
                </c:pt>
                <c:pt idx="2039">
                  <c:v>-4.3538556719945332E-3</c:v>
                </c:pt>
                <c:pt idx="2040">
                  <c:v>-7.9282817778907333E-3</c:v>
                </c:pt>
                <c:pt idx="2041">
                  <c:v>-8.2052194451631699E-3</c:v>
                </c:pt>
                <c:pt idx="2042">
                  <c:v>-7.2860455307901528E-3</c:v>
                </c:pt>
                <c:pt idx="2043">
                  <c:v>-8.5810441050523378E-3</c:v>
                </c:pt>
                <c:pt idx="2044">
                  <c:v>-8.1624910934284811E-3</c:v>
                </c:pt>
                <c:pt idx="2045">
                  <c:v>-3.9335331772932802E-3</c:v>
                </c:pt>
                <c:pt idx="2046">
                  <c:v>-1.2966491491504972E-2</c:v>
                </c:pt>
                <c:pt idx="2047">
                  <c:v>-1.6567116567284712E-2</c:v>
                </c:pt>
                <c:pt idx="2048">
                  <c:v>-1.6057258140450448E-2</c:v>
                </c:pt>
                <c:pt idx="2049">
                  <c:v>-1.2205407255372447E-2</c:v>
                </c:pt>
                <c:pt idx="2050">
                  <c:v>-3.5455861197720706E-3</c:v>
                </c:pt>
                <c:pt idx="2051">
                  <c:v>-7.2601339763662676E-3</c:v>
                </c:pt>
                <c:pt idx="2052">
                  <c:v>-5.9573028594476218E-3</c:v>
                </c:pt>
                <c:pt idx="2053">
                  <c:v>3.2902361935345237E-3</c:v>
                </c:pt>
                <c:pt idx="2054">
                  <c:v>2.636645541183813E-3</c:v>
                </c:pt>
                <c:pt idx="2055">
                  <c:v>2.2661027983165161E-3</c:v>
                </c:pt>
                <c:pt idx="2056">
                  <c:v>-4.3449970228546242E-3</c:v>
                </c:pt>
                <c:pt idx="2057">
                  <c:v>1.7814687421895403E-3</c:v>
                </c:pt>
                <c:pt idx="2058">
                  <c:v>-3.6436499408756262E-3</c:v>
                </c:pt>
                <c:pt idx="2059">
                  <c:v>-5.474286864400435E-3</c:v>
                </c:pt>
                <c:pt idx="2060">
                  <c:v>-4.2820458391619187E-3</c:v>
                </c:pt>
                <c:pt idx="2061">
                  <c:v>-3.1093325320266096E-3</c:v>
                </c:pt>
                <c:pt idx="2062">
                  <c:v>-6.0255043421043597E-3</c:v>
                </c:pt>
                <c:pt idx="2063">
                  <c:v>-7.4648358548027316E-3</c:v>
                </c:pt>
                <c:pt idx="2064">
                  <c:v>4.6184804078941433E-3</c:v>
                </c:pt>
                <c:pt idx="2065">
                  <c:v>5.1091872835088425E-3</c:v>
                </c:pt>
                <c:pt idx="2066">
                  <c:v>3.7081639032409131E-3</c:v>
                </c:pt>
                <c:pt idx="2067">
                  <c:v>1.6428775640529025E-2</c:v>
                </c:pt>
                <c:pt idx="2068">
                  <c:v>5.6824262160427574E-3</c:v>
                </c:pt>
                <c:pt idx="2069">
                  <c:v>9.8530303768959993E-3</c:v>
                </c:pt>
                <c:pt idx="2070">
                  <c:v>1.0219228816574888E-2</c:v>
                </c:pt>
                <c:pt idx="2071">
                  <c:v>4.018120101014544E-3</c:v>
                </c:pt>
                <c:pt idx="2072">
                  <c:v>-8.7920075444226642E-3</c:v>
                </c:pt>
                <c:pt idx="2073">
                  <c:v>6.0152381680933509E-4</c:v>
                </c:pt>
                <c:pt idx="2074">
                  <c:v>-2.415749499440345E-6</c:v>
                </c:pt>
                <c:pt idx="2075">
                  <c:v>-2.0630101677919788E-2</c:v>
                </c:pt>
                <c:pt idx="2076">
                  <c:v>-3.2474509454033518E-3</c:v>
                </c:pt>
                <c:pt idx="2077">
                  <c:v>-4.3994239791212975E-3</c:v>
                </c:pt>
                <c:pt idx="2078">
                  <c:v>-8.1543447231227084E-3</c:v>
                </c:pt>
                <c:pt idx="2079">
                  <c:v>-1.3792257319515389E-2</c:v>
                </c:pt>
                <c:pt idx="2080">
                  <c:v>-2.3892921475772155E-2</c:v>
                </c:pt>
                <c:pt idx="2081">
                  <c:v>-4.0703628663465108E-2</c:v>
                </c:pt>
                <c:pt idx="2082">
                  <c:v>-3.9649843013631947E-2</c:v>
                </c:pt>
                <c:pt idx="2083">
                  <c:v>-3.9247379335469845E-2</c:v>
                </c:pt>
                <c:pt idx="2084">
                  <c:v>-4.6071701874922155E-2</c:v>
                </c:pt>
                <c:pt idx="2085">
                  <c:v>-4.632640723098802E-2</c:v>
                </c:pt>
                <c:pt idx="2086">
                  <c:v>-4.5754479301080897E-2</c:v>
                </c:pt>
                <c:pt idx="2087">
                  <c:v>-4.3852321527170002E-2</c:v>
                </c:pt>
                <c:pt idx="2088">
                  <c:v>-4.5367254687656677E-2</c:v>
                </c:pt>
                <c:pt idx="2089">
                  <c:v>-3.9400882501594681E-2</c:v>
                </c:pt>
                <c:pt idx="2090">
                  <c:v>-3.7523837277108507E-2</c:v>
                </c:pt>
                <c:pt idx="2091">
                  <c:v>-5.1770969582314308E-2</c:v>
                </c:pt>
                <c:pt idx="2092">
                  <c:v>-5.1982982915577569E-2</c:v>
                </c:pt>
                <c:pt idx="2093">
                  <c:v>-4.8646533062473685E-2</c:v>
                </c:pt>
                <c:pt idx="2094">
                  <c:v>-3.9831483901452192E-2</c:v>
                </c:pt>
                <c:pt idx="2095">
                  <c:v>-3.9997368881907858E-2</c:v>
                </c:pt>
                <c:pt idx="2096">
                  <c:v>-4.0620078800786552E-2</c:v>
                </c:pt>
                <c:pt idx="2097">
                  <c:v>-3.882889168153647E-2</c:v>
                </c:pt>
                <c:pt idx="2098">
                  <c:v>-3.4034185695326902E-2</c:v>
                </c:pt>
                <c:pt idx="2099">
                  <c:v>-3.9263899550590731E-2</c:v>
                </c:pt>
                <c:pt idx="2100">
                  <c:v>-3.2499835801167443E-2</c:v>
                </c:pt>
                <c:pt idx="2101">
                  <c:v>-2.8254001827022091E-2</c:v>
                </c:pt>
                <c:pt idx="2102">
                  <c:v>-1.673810794531716E-2</c:v>
                </c:pt>
                <c:pt idx="2103">
                  <c:v>-1.1919998181103231E-2</c:v>
                </c:pt>
                <c:pt idx="2104">
                  <c:v>-8.242958762514685E-3</c:v>
                </c:pt>
                <c:pt idx="2105">
                  <c:v>6.7130222535227713E-3</c:v>
                </c:pt>
                <c:pt idx="2106">
                  <c:v>1.3269975425901359E-2</c:v>
                </c:pt>
                <c:pt idx="2107">
                  <c:v>1.2770390999147008E-2</c:v>
                </c:pt>
                <c:pt idx="2108">
                  <c:v>1.902281143250506E-2</c:v>
                </c:pt>
                <c:pt idx="2109">
                  <c:v>1.9716003603984622E-2</c:v>
                </c:pt>
                <c:pt idx="2110">
                  <c:v>2.5320559002024678E-2</c:v>
                </c:pt>
                <c:pt idx="2111">
                  <c:v>3.877893767900864E-2</c:v>
                </c:pt>
                <c:pt idx="2112">
                  <c:v>4.0293729154660007E-2</c:v>
                </c:pt>
                <c:pt idx="2113">
                  <c:v>4.5845602440670707E-2</c:v>
                </c:pt>
                <c:pt idx="2114">
                  <c:v>4.7041511745873454E-2</c:v>
                </c:pt>
                <c:pt idx="2115">
                  <c:v>3.8816383754571193E-2</c:v>
                </c:pt>
                <c:pt idx="2116">
                  <c:v>4.6747704280295732E-2</c:v>
                </c:pt>
                <c:pt idx="2117">
                  <c:v>4.4931212981812463E-2</c:v>
                </c:pt>
                <c:pt idx="2118">
                  <c:v>4.2625013155673463E-2</c:v>
                </c:pt>
                <c:pt idx="2119">
                  <c:v>4.6499312036831664E-2</c:v>
                </c:pt>
                <c:pt idx="2120">
                  <c:v>4.6026443071433332E-2</c:v>
                </c:pt>
                <c:pt idx="2121">
                  <c:v>3.6475112518320585E-2</c:v>
                </c:pt>
                <c:pt idx="2122">
                  <c:v>3.9085545569730207E-2</c:v>
                </c:pt>
                <c:pt idx="2123">
                  <c:v>2.931423595739957E-2</c:v>
                </c:pt>
                <c:pt idx="2124">
                  <c:v>2.2294960861964142E-2</c:v>
                </c:pt>
                <c:pt idx="2125">
                  <c:v>1.5264787639566624E-2</c:v>
                </c:pt>
                <c:pt idx="2126">
                  <c:v>2.0572775553653444E-2</c:v>
                </c:pt>
                <c:pt idx="2127">
                  <c:v>1.7416468883536984E-2</c:v>
                </c:pt>
                <c:pt idx="2128">
                  <c:v>2.3963930661879851E-2</c:v>
                </c:pt>
                <c:pt idx="2129">
                  <c:v>2.1176649215800869E-2</c:v>
                </c:pt>
                <c:pt idx="2130">
                  <c:v>2.5031881129485178E-2</c:v>
                </c:pt>
                <c:pt idx="2131">
                  <c:v>2.1457827371266114E-2</c:v>
                </c:pt>
                <c:pt idx="2132">
                  <c:v>1.8291029614747378E-2</c:v>
                </c:pt>
                <c:pt idx="2133">
                  <c:v>8.0895443317703375E-3</c:v>
                </c:pt>
                <c:pt idx="2134">
                  <c:v>8.992155635165644E-3</c:v>
                </c:pt>
                <c:pt idx="2135">
                  <c:v>9.1480184119104857E-3</c:v>
                </c:pt>
                <c:pt idx="2136">
                  <c:v>7.7343146894313097E-3</c:v>
                </c:pt>
                <c:pt idx="2137">
                  <c:v>-1.5073606886708557E-3</c:v>
                </c:pt>
                <c:pt idx="2138">
                  <c:v>-1.3172083108243915E-2</c:v>
                </c:pt>
                <c:pt idx="2139">
                  <c:v>-1.8981353608907514E-2</c:v>
                </c:pt>
                <c:pt idx="2140">
                  <c:v>-3.4297856411279581E-2</c:v>
                </c:pt>
                <c:pt idx="2141">
                  <c:v>-3.0918884664977497E-2</c:v>
                </c:pt>
                <c:pt idx="2142">
                  <c:v>-4.0581764722111946E-2</c:v>
                </c:pt>
                <c:pt idx="2143">
                  <c:v>-4.9023475024762342E-2</c:v>
                </c:pt>
                <c:pt idx="2144">
                  <c:v>-5.6264497966057703E-2</c:v>
                </c:pt>
                <c:pt idx="2145">
                  <c:v>-6.0821471948182437E-2</c:v>
                </c:pt>
                <c:pt idx="2146">
                  <c:v>-5.664571969607668E-2</c:v>
                </c:pt>
                <c:pt idx="2147">
                  <c:v>-5.7000531319734704E-2</c:v>
                </c:pt>
                <c:pt idx="2148">
                  <c:v>-5.7928400231013311E-2</c:v>
                </c:pt>
                <c:pt idx="2149">
                  <c:v>-5.7180029240559427E-2</c:v>
                </c:pt>
                <c:pt idx="2150">
                  <c:v>-5.8442594859617336E-2</c:v>
                </c:pt>
                <c:pt idx="2151">
                  <c:v>-4.7074128152500005E-2</c:v>
                </c:pt>
                <c:pt idx="2152">
                  <c:v>-5.3426654661849371E-2</c:v>
                </c:pt>
                <c:pt idx="2153">
                  <c:v>-4.4164190263572323E-2</c:v>
                </c:pt>
                <c:pt idx="2154">
                  <c:v>-4.9543180615004623E-2</c:v>
                </c:pt>
                <c:pt idx="2155">
                  <c:v>-3.4954578881266074E-2</c:v>
                </c:pt>
                <c:pt idx="2156">
                  <c:v>-3.1639155433492383E-2</c:v>
                </c:pt>
                <c:pt idx="2157">
                  <c:v>-3.6011753000158353E-2</c:v>
                </c:pt>
                <c:pt idx="2158">
                  <c:v>-4.3533324026689524E-2</c:v>
                </c:pt>
                <c:pt idx="2159">
                  <c:v>-3.4144316068340674E-2</c:v>
                </c:pt>
                <c:pt idx="2160">
                  <c:v>-3.7958270636993419E-2</c:v>
                </c:pt>
                <c:pt idx="2161">
                  <c:v>-3.3611069404605565E-2</c:v>
                </c:pt>
                <c:pt idx="2162">
                  <c:v>-3.652970745148032E-2</c:v>
                </c:pt>
                <c:pt idx="2163">
                  <c:v>-3.3433847850128151E-2</c:v>
                </c:pt>
                <c:pt idx="2164">
                  <c:v>-3.0760189897313439E-2</c:v>
                </c:pt>
                <c:pt idx="2165">
                  <c:v>-2.969438842602512E-2</c:v>
                </c:pt>
                <c:pt idx="2166">
                  <c:v>-4.0363671151782854E-2</c:v>
                </c:pt>
                <c:pt idx="2167">
                  <c:v>-3.4052289855438289E-2</c:v>
                </c:pt>
                <c:pt idx="2168">
                  <c:v>-2.2677560535287578E-2</c:v>
                </c:pt>
                <c:pt idx="2169">
                  <c:v>-1.3164348767557232E-2</c:v>
                </c:pt>
                <c:pt idx="2170">
                  <c:v>1.0631944447675457E-3</c:v>
                </c:pt>
                <c:pt idx="2171">
                  <c:v>-1.9183505818801683E-3</c:v>
                </c:pt>
                <c:pt idx="2172">
                  <c:v>5.6147910312474014E-3</c:v>
                </c:pt>
                <c:pt idx="2173">
                  <c:v>1.7178424385801305E-2</c:v>
                </c:pt>
                <c:pt idx="2174">
                  <c:v>2.2789353318084182E-2</c:v>
                </c:pt>
                <c:pt idx="2175">
                  <c:v>3.1945284215671443E-2</c:v>
                </c:pt>
                <c:pt idx="2176">
                  <c:v>3.5658196760293026E-2</c:v>
                </c:pt>
                <c:pt idx="2177">
                  <c:v>2.6931752605311776E-2</c:v>
                </c:pt>
                <c:pt idx="2178">
                  <c:v>2.68997058655156E-2</c:v>
                </c:pt>
                <c:pt idx="2179">
                  <c:v>2.1380887699110174E-2</c:v>
                </c:pt>
                <c:pt idx="2180">
                  <c:v>2.0855685256148893E-2</c:v>
                </c:pt>
                <c:pt idx="2181">
                  <c:v>1.9741975561072822E-2</c:v>
                </c:pt>
                <c:pt idx="2182">
                  <c:v>2.7738494404534464E-2</c:v>
                </c:pt>
                <c:pt idx="2183">
                  <c:v>2.3261725875277639E-2</c:v>
                </c:pt>
                <c:pt idx="2184">
                  <c:v>3.6098565280705097E-2</c:v>
                </c:pt>
                <c:pt idx="2185">
                  <c:v>3.7544999687063596E-2</c:v>
                </c:pt>
                <c:pt idx="2186">
                  <c:v>3.6808448666940885E-2</c:v>
                </c:pt>
                <c:pt idx="2187">
                  <c:v>4.4787304427835295E-2</c:v>
                </c:pt>
                <c:pt idx="2188">
                  <c:v>5.0570021568164369E-2</c:v>
                </c:pt>
                <c:pt idx="2189">
                  <c:v>4.7308994929648573E-2</c:v>
                </c:pt>
                <c:pt idx="2190">
                  <c:v>4.3957999274891302E-2</c:v>
                </c:pt>
                <c:pt idx="2191">
                  <c:v>3.1379345673749226E-2</c:v>
                </c:pt>
                <c:pt idx="2192">
                  <c:v>3.5651404706147027E-2</c:v>
                </c:pt>
                <c:pt idx="2193">
                  <c:v>3.8078705553229342E-2</c:v>
                </c:pt>
                <c:pt idx="2194">
                  <c:v>1.7620108169854709E-2</c:v>
                </c:pt>
                <c:pt idx="2195">
                  <c:v>1.3819773525795331E-2</c:v>
                </c:pt>
                <c:pt idx="2196">
                  <c:v>1.9172809062848239E-2</c:v>
                </c:pt>
                <c:pt idx="2197">
                  <c:v>1.7847649744373695E-2</c:v>
                </c:pt>
                <c:pt idx="2198">
                  <c:v>2.3691324044097462E-2</c:v>
                </c:pt>
                <c:pt idx="2199">
                  <c:v>2.4370595855757848E-2</c:v>
                </c:pt>
                <c:pt idx="2200">
                  <c:v>2.1809604309248054E-2</c:v>
                </c:pt>
                <c:pt idx="2201">
                  <c:v>2.4719831373087864E-2</c:v>
                </c:pt>
                <c:pt idx="2202">
                  <c:v>2.7575702931841417E-2</c:v>
                </c:pt>
                <c:pt idx="2203">
                  <c:v>2.4512311276605803E-2</c:v>
                </c:pt>
                <c:pt idx="2204">
                  <c:v>2.0786294916073866E-2</c:v>
                </c:pt>
                <c:pt idx="2205">
                  <c:v>1.711701482282979E-2</c:v>
                </c:pt>
                <c:pt idx="2206">
                  <c:v>1.7890195167980627E-2</c:v>
                </c:pt>
                <c:pt idx="2207">
                  <c:v>2.7795801908967466E-2</c:v>
                </c:pt>
                <c:pt idx="2208">
                  <c:v>1.4756667302440629E-2</c:v>
                </c:pt>
                <c:pt idx="2209">
                  <c:v>1.7232270320377552E-2</c:v>
                </c:pt>
                <c:pt idx="2210">
                  <c:v>1.7957371985851789E-2</c:v>
                </c:pt>
                <c:pt idx="2211">
                  <c:v>8.9999319587038551E-3</c:v>
                </c:pt>
                <c:pt idx="2212">
                  <c:v>7.8505709282006286E-4</c:v>
                </c:pt>
                <c:pt idx="2213">
                  <c:v>7.6816229224425658E-3</c:v>
                </c:pt>
                <c:pt idx="2214">
                  <c:v>4.3720227462662464E-3</c:v>
                </c:pt>
                <c:pt idx="2215">
                  <c:v>-4.2130850437614997E-3</c:v>
                </c:pt>
                <c:pt idx="2216">
                  <c:v>-1.052815292291498E-2</c:v>
                </c:pt>
                <c:pt idx="2217">
                  <c:v>-8.4716349251177103E-3</c:v>
                </c:pt>
                <c:pt idx="2218">
                  <c:v>-7.5130327721895096E-4</c:v>
                </c:pt>
                <c:pt idx="2219">
                  <c:v>1.103309347963588E-2</c:v>
                </c:pt>
                <c:pt idx="2220">
                  <c:v>1.0779368818356616E-2</c:v>
                </c:pt>
                <c:pt idx="2221">
                  <c:v>1.6430668751545974E-2</c:v>
                </c:pt>
                <c:pt idx="2222">
                  <c:v>2.1893980715329775E-2</c:v>
                </c:pt>
                <c:pt idx="2223">
                  <c:v>1.9853976073917035E-2</c:v>
                </c:pt>
                <c:pt idx="2224">
                  <c:v>1.5369991248822545E-2</c:v>
                </c:pt>
                <c:pt idx="2225">
                  <c:v>-3.115064983453808E-2</c:v>
                </c:pt>
                <c:pt idx="2226">
                  <c:v>-7.5928400502388249E-2</c:v>
                </c:pt>
                <c:pt idx="2227">
                  <c:v>-8.770900644354318E-2</c:v>
                </c:pt>
                <c:pt idx="2228">
                  <c:v>-6.2664555367538566E-2</c:v>
                </c:pt>
                <c:pt idx="2229">
                  <c:v>-9.2994480148088754E-2</c:v>
                </c:pt>
                <c:pt idx="2230">
                  <c:v>-3.3298158994826799E-2</c:v>
                </c:pt>
                <c:pt idx="2231">
                  <c:v>-7.4853466597500917E-3</c:v>
                </c:pt>
                <c:pt idx="2232">
                  <c:v>2.0433776910043222E-2</c:v>
                </c:pt>
                <c:pt idx="2233">
                  <c:v>3.7028473563923137E-2</c:v>
                </c:pt>
                <c:pt idx="2234">
                  <c:v>0.19211142833347494</c:v>
                </c:pt>
                <c:pt idx="2235">
                  <c:v>0.20940309027294834</c:v>
                </c:pt>
                <c:pt idx="2236">
                  <c:v>0.21055100163374452</c:v>
                </c:pt>
                <c:pt idx="2237">
                  <c:v>0.17098962080910896</c:v>
                </c:pt>
                <c:pt idx="2238">
                  <c:v>0.12558632696738836</c:v>
                </c:pt>
                <c:pt idx="2239">
                  <c:v>0.13443592893432832</c:v>
                </c:pt>
                <c:pt idx="2240">
                  <c:v>0.15115562778249447</c:v>
                </c:pt>
                <c:pt idx="2241">
                  <c:v>0.13206178318402928</c:v>
                </c:pt>
                <c:pt idx="2242">
                  <c:v>0.12968709775862985</c:v>
                </c:pt>
                <c:pt idx="2243">
                  <c:v>0.15820397962573629</c:v>
                </c:pt>
                <c:pt idx="2244">
                  <c:v>0.25473896566709053</c:v>
                </c:pt>
                <c:pt idx="2245">
                  <c:v>0.20893092617423548</c:v>
                </c:pt>
                <c:pt idx="2246">
                  <c:v>0.23153561586320903</c:v>
                </c:pt>
                <c:pt idx="2247">
                  <c:v>0.28296235554163529</c:v>
                </c:pt>
                <c:pt idx="2248">
                  <c:v>0.37097226975586051</c:v>
                </c:pt>
                <c:pt idx="2249">
                  <c:v>0.32823190950667025</c:v>
                </c:pt>
                <c:pt idx="2250">
                  <c:v>0.39365726265397483</c:v>
                </c:pt>
                <c:pt idx="2251">
                  <c:v>0.35172287558913184</c:v>
                </c:pt>
                <c:pt idx="2252">
                  <c:v>0.39147842990040116</c:v>
                </c:pt>
                <c:pt idx="2253">
                  <c:v>0.41509512532318882</c:v>
                </c:pt>
                <c:pt idx="2254">
                  <c:v>0.42245599459633876</c:v>
                </c:pt>
                <c:pt idx="2255">
                  <c:v>0.35815424391986583</c:v>
                </c:pt>
                <c:pt idx="2256">
                  <c:v>0.48779671327546248</c:v>
                </c:pt>
                <c:pt idx="2257">
                  <c:v>0.57852777403595856</c:v>
                </c:pt>
                <c:pt idx="2258">
                  <c:v>0.57035274610762221</c:v>
                </c:pt>
                <c:pt idx="2259">
                  <c:v>0.55624877804094586</c:v>
                </c:pt>
                <c:pt idx="2260">
                  <c:v>0.48174364345960285</c:v>
                </c:pt>
                <c:pt idx="2261">
                  <c:v>0.42194511845008364</c:v>
                </c:pt>
                <c:pt idx="2262">
                  <c:v>0.41878372133358754</c:v>
                </c:pt>
                <c:pt idx="2263">
                  <c:v>0.49523060944677588</c:v>
                </c:pt>
                <c:pt idx="2264">
                  <c:v>0.53478551678390496</c:v>
                </c:pt>
                <c:pt idx="2265">
                  <c:v>0.69610511732464497</c:v>
                </c:pt>
                <c:pt idx="2266">
                  <c:v>0.58413735398960542</c:v>
                </c:pt>
                <c:pt idx="2267">
                  <c:v>0.83752020772948488</c:v>
                </c:pt>
                <c:pt idx="2268">
                  <c:v>0.89453544719656553</c:v>
                </c:pt>
                <c:pt idx="2269">
                  <c:v>1.0080607649924347</c:v>
                </c:pt>
                <c:pt idx="2270">
                  <c:v>1.0579275342634813</c:v>
                </c:pt>
                <c:pt idx="2271">
                  <c:v>1.114046944352082</c:v>
                </c:pt>
                <c:pt idx="2272">
                  <c:v>1.1720794580202063</c:v>
                </c:pt>
                <c:pt idx="2273">
                  <c:v>1.1546207474091998</c:v>
                </c:pt>
                <c:pt idx="2274">
                  <c:v>1.025433196499423</c:v>
                </c:pt>
                <c:pt idx="2275">
                  <c:v>1.054194346344663</c:v>
                </c:pt>
                <c:pt idx="2276">
                  <c:v>0.6446098426281438</c:v>
                </c:pt>
                <c:pt idx="2277">
                  <c:v>0.61127898721791107</c:v>
                </c:pt>
                <c:pt idx="2278">
                  <c:v>0.62846593469386358</c:v>
                </c:pt>
                <c:pt idx="2279">
                  <c:v>0.74583112317825917</c:v>
                </c:pt>
                <c:pt idx="2280">
                  <c:v>0.84033875363613542</c:v>
                </c:pt>
                <c:pt idx="2281">
                  <c:v>0.9099673365212585</c:v>
                </c:pt>
                <c:pt idx="2282">
                  <c:v>1.0084405281167252</c:v>
                </c:pt>
                <c:pt idx="2283">
                  <c:v>1.1758491807687572</c:v>
                </c:pt>
                <c:pt idx="2284">
                  <c:v>1.1765866237792912</c:v>
                </c:pt>
                <c:pt idx="2285">
                  <c:v>1.1592327643149569</c:v>
                </c:pt>
                <c:pt idx="2286">
                  <c:v>1.0503816494095104</c:v>
                </c:pt>
                <c:pt idx="2287">
                  <c:v>1.0007230940359331</c:v>
                </c:pt>
                <c:pt idx="2288">
                  <c:v>0.82442428393313316</c:v>
                </c:pt>
                <c:pt idx="2289">
                  <c:v>0.74831944796252936</c:v>
                </c:pt>
                <c:pt idx="2290">
                  <c:v>0.75148417648629684</c:v>
                </c:pt>
                <c:pt idx="2291">
                  <c:v>0.78716977935540522</c:v>
                </c:pt>
                <c:pt idx="2292">
                  <c:v>0.79767443402325855</c:v>
                </c:pt>
                <c:pt idx="2293">
                  <c:v>0.8224462152435571</c:v>
                </c:pt>
                <c:pt idx="2294">
                  <c:v>0.85609779000080233</c:v>
                </c:pt>
                <c:pt idx="2295">
                  <c:v>0.90452691296624688</c:v>
                </c:pt>
                <c:pt idx="2296">
                  <c:v>0.90521582327330175</c:v>
                </c:pt>
                <c:pt idx="2297">
                  <c:v>0.93026745643985687</c:v>
                </c:pt>
                <c:pt idx="2298">
                  <c:v>0.94392709083398396</c:v>
                </c:pt>
                <c:pt idx="2299">
                  <c:v>0.8749198260532417</c:v>
                </c:pt>
                <c:pt idx="2300">
                  <c:v>0.81208362133442125</c:v>
                </c:pt>
                <c:pt idx="2301">
                  <c:v>0.74593322681168817</c:v>
                </c:pt>
                <c:pt idx="2302">
                  <c:v>0.69060098710296247</c:v>
                </c:pt>
                <c:pt idx="2303">
                  <c:v>0.58431247080424387</c:v>
                </c:pt>
                <c:pt idx="2304">
                  <c:v>0.47513127516071096</c:v>
                </c:pt>
                <c:pt idx="2305">
                  <c:v>0.34099962916897086</c:v>
                </c:pt>
                <c:pt idx="2306">
                  <c:v>0.3455623255958834</c:v>
                </c:pt>
                <c:pt idx="2307">
                  <c:v>0.35104665208664765</c:v>
                </c:pt>
                <c:pt idx="2308">
                  <c:v>0.35393155983354918</c:v>
                </c:pt>
                <c:pt idx="2309">
                  <c:v>0.34351001829673289</c:v>
                </c:pt>
                <c:pt idx="2310">
                  <c:v>0.3361854341241749</c:v>
                </c:pt>
                <c:pt idx="2311">
                  <c:v>0.32574250938360694</c:v>
                </c:pt>
                <c:pt idx="2312">
                  <c:v>0.31759847128924934</c:v>
                </c:pt>
                <c:pt idx="2313">
                  <c:v>0.30426442289285272</c:v>
                </c:pt>
                <c:pt idx="2314">
                  <c:v>0.29127743498903558</c:v>
                </c:pt>
                <c:pt idx="2315">
                  <c:v>0.27431901497463829</c:v>
                </c:pt>
                <c:pt idx="2316">
                  <c:v>0.2535581538251318</c:v>
                </c:pt>
                <c:pt idx="2317">
                  <c:v>0.2300011459364516</c:v>
                </c:pt>
                <c:pt idx="2318">
                  <c:v>0.20372562947232231</c:v>
                </c:pt>
                <c:pt idx="2319">
                  <c:v>0.16297018064303403</c:v>
                </c:pt>
                <c:pt idx="2320">
                  <c:v>0.11267201984463127</c:v>
                </c:pt>
                <c:pt idx="2321">
                  <c:v>-1.9936538043514029E-2</c:v>
                </c:pt>
                <c:pt idx="2322">
                  <c:v>-1.9257768108980056E-2</c:v>
                </c:pt>
                <c:pt idx="2323">
                  <c:v>-2.0878079092243929E-2</c:v>
                </c:pt>
                <c:pt idx="2324">
                  <c:v>-2.3329898831955465E-2</c:v>
                </c:pt>
                <c:pt idx="2325">
                  <c:v>-2.5703742934925167E-2</c:v>
                </c:pt>
                <c:pt idx="2326">
                  <c:v>-2.8627088397953027E-2</c:v>
                </c:pt>
                <c:pt idx="2327">
                  <c:v>-3.5316720539030788E-2</c:v>
                </c:pt>
                <c:pt idx="2328">
                  <c:v>-3.5895440677407686E-2</c:v>
                </c:pt>
                <c:pt idx="2329">
                  <c:v>-4.1542686352827318E-2</c:v>
                </c:pt>
                <c:pt idx="2330">
                  <c:v>-4.6803520129836018E-2</c:v>
                </c:pt>
                <c:pt idx="2331">
                  <c:v>-4.7057884594204458E-2</c:v>
                </c:pt>
                <c:pt idx="2332">
                  <c:v>-4.1982707235697525E-2</c:v>
                </c:pt>
                <c:pt idx="2333">
                  <c:v>-3.34223269745475E-2</c:v>
                </c:pt>
                <c:pt idx="2334">
                  <c:v>-3.3206088739799688E-2</c:v>
                </c:pt>
                <c:pt idx="2335">
                  <c:v>-3.2012794275571466E-2</c:v>
                </c:pt>
                <c:pt idx="2336">
                  <c:v>-2.81891115502092E-2</c:v>
                </c:pt>
                <c:pt idx="2337">
                  <c:v>-3.2924565061579925E-2</c:v>
                </c:pt>
                <c:pt idx="2338">
                  <c:v>-2.5567415804792604E-2</c:v>
                </c:pt>
                <c:pt idx="2339">
                  <c:v>-2.4574598657424396E-2</c:v>
                </c:pt>
                <c:pt idx="2340">
                  <c:v>-2.5600839638750705E-2</c:v>
                </c:pt>
                <c:pt idx="2341">
                  <c:v>-2.4829581888224261E-2</c:v>
                </c:pt>
                <c:pt idx="2342">
                  <c:v>-2.1290824222513827E-2</c:v>
                </c:pt>
                <c:pt idx="2343">
                  <c:v>-2.9936288431919977E-2</c:v>
                </c:pt>
                <c:pt idx="2344">
                  <c:v>-2.3481558701456184E-2</c:v>
                </c:pt>
                <c:pt idx="2345">
                  <c:v>-1.6725583512745335E-2</c:v>
                </c:pt>
                <c:pt idx="2346">
                  <c:v>-1.8072637161676841E-2</c:v>
                </c:pt>
                <c:pt idx="2347">
                  <c:v>-2.1512745292588731E-2</c:v>
                </c:pt>
                <c:pt idx="2348">
                  <c:v>-3.915788899884165E-2</c:v>
                </c:pt>
                <c:pt idx="2349">
                  <c:v>-2.9460260600651988E-2</c:v>
                </c:pt>
                <c:pt idx="2350">
                  <c:v>-3.6569400225425985E-2</c:v>
                </c:pt>
                <c:pt idx="2351">
                  <c:v>-2.0759122366249549E-2</c:v>
                </c:pt>
                <c:pt idx="2352">
                  <c:v>-1.3089861891823706E-2</c:v>
                </c:pt>
                <c:pt idx="2353">
                  <c:v>-1.0000673429223395E-2</c:v>
                </c:pt>
                <c:pt idx="2354">
                  <c:v>-1.1567760440294172E-2</c:v>
                </c:pt>
                <c:pt idx="2355">
                  <c:v>-1.0832833364979422E-2</c:v>
                </c:pt>
                <c:pt idx="2356">
                  <c:v>-8.8470795951827164E-3</c:v>
                </c:pt>
                <c:pt idx="2357">
                  <c:v>3.3781831672530238E-3</c:v>
                </c:pt>
                <c:pt idx="2358">
                  <c:v>1.2791089171367842E-2</c:v>
                </c:pt>
                <c:pt idx="2359">
                  <c:v>1.4038159016505292E-2</c:v>
                </c:pt>
                <c:pt idx="2360">
                  <c:v>2.0536070430598241E-2</c:v>
                </c:pt>
                <c:pt idx="2361">
                  <c:v>2.3512265626918882E-2</c:v>
                </c:pt>
                <c:pt idx="2362">
                  <c:v>3.0966608018071939E-2</c:v>
                </c:pt>
                <c:pt idx="2363">
                  <c:v>3.214408905373356E-2</c:v>
                </c:pt>
                <c:pt idx="2364">
                  <c:v>3.1856691257608039E-2</c:v>
                </c:pt>
                <c:pt idx="2365">
                  <c:v>3.4077117409355151E-2</c:v>
                </c:pt>
                <c:pt idx="2366">
                  <c:v>2.8565804368200554E-2</c:v>
                </c:pt>
                <c:pt idx="2367">
                  <c:v>1.504818744778591E-2</c:v>
                </c:pt>
                <c:pt idx="2368">
                  <c:v>1.381726605210376E-2</c:v>
                </c:pt>
                <c:pt idx="2369">
                  <c:v>1.9098394397181195E-2</c:v>
                </c:pt>
                <c:pt idx="2370">
                  <c:v>2.014787864876677E-2</c:v>
                </c:pt>
                <c:pt idx="2371">
                  <c:v>1.8524100364365581E-2</c:v>
                </c:pt>
                <c:pt idx="2372">
                  <c:v>1.2233249996631113E-2</c:v>
                </c:pt>
                <c:pt idx="2373">
                  <c:v>1.6722714238619485E-2</c:v>
                </c:pt>
                <c:pt idx="2374">
                  <c:v>2.1668056366452859E-3</c:v>
                </c:pt>
                <c:pt idx="2375">
                  <c:v>2.7554387963483196E-3</c:v>
                </c:pt>
                <c:pt idx="2376">
                  <c:v>8.5509121689022471E-3</c:v>
                </c:pt>
                <c:pt idx="2377">
                  <c:v>2.3500205280949649E-2</c:v>
                </c:pt>
                <c:pt idx="2378">
                  <c:v>2.0163754172072945E-2</c:v>
                </c:pt>
                <c:pt idx="2379">
                  <c:v>1.8586972274909241E-2</c:v>
                </c:pt>
                <c:pt idx="2380">
                  <c:v>1.7489339622001276E-2</c:v>
                </c:pt>
                <c:pt idx="2381">
                  <c:v>1.293589387400873E-2</c:v>
                </c:pt>
                <c:pt idx="2382">
                  <c:v>1.2352006021717377E-2</c:v>
                </c:pt>
                <c:pt idx="2383">
                  <c:v>1.2389475324739108E-2</c:v>
                </c:pt>
                <c:pt idx="2384">
                  <c:v>1.7907507271814338E-2</c:v>
                </c:pt>
                <c:pt idx="2385">
                  <c:v>1.2306098920074171E-2</c:v>
                </c:pt>
                <c:pt idx="2386">
                  <c:v>1.8385645944215878E-2</c:v>
                </c:pt>
                <c:pt idx="2387">
                  <c:v>1.9113350162088816E-2</c:v>
                </c:pt>
                <c:pt idx="2388">
                  <c:v>2.5297203913083544E-2</c:v>
                </c:pt>
                <c:pt idx="2389">
                  <c:v>2.8801144323655659E-2</c:v>
                </c:pt>
                <c:pt idx="2390">
                  <c:v>3.3824619356677132E-2</c:v>
                </c:pt>
                <c:pt idx="2391">
                  <c:v>2.9718247839024214E-2</c:v>
                </c:pt>
                <c:pt idx="2392">
                  <c:v>1.9136272786391073E-2</c:v>
                </c:pt>
                <c:pt idx="2393">
                  <c:v>1.4381812140636829E-2</c:v>
                </c:pt>
                <c:pt idx="2394">
                  <c:v>1.3317257152894779E-2</c:v>
                </c:pt>
                <c:pt idx="2395">
                  <c:v>5.786003081903579E-3</c:v>
                </c:pt>
                <c:pt idx="2396">
                  <c:v>6.316274912514741E-3</c:v>
                </c:pt>
                <c:pt idx="2397">
                  <c:v>1.6671033934087087E-2</c:v>
                </c:pt>
                <c:pt idx="2398">
                  <c:v>1.8937365769051473E-2</c:v>
                </c:pt>
                <c:pt idx="2399">
                  <c:v>1.310370499169522E-2</c:v>
                </c:pt>
                <c:pt idx="2400">
                  <c:v>1.3289386996790276E-2</c:v>
                </c:pt>
                <c:pt idx="2401">
                  <c:v>1.8748599375868147E-2</c:v>
                </c:pt>
                <c:pt idx="2402">
                  <c:v>2.1384333192568827E-2</c:v>
                </c:pt>
                <c:pt idx="2403">
                  <c:v>2.5525383479794717E-2</c:v>
                </c:pt>
                <c:pt idx="2404">
                  <c:v>3.5287422815243996E-2</c:v>
                </c:pt>
                <c:pt idx="2405">
                  <c:v>3.4438805470188183E-2</c:v>
                </c:pt>
                <c:pt idx="2406">
                  <c:v>3.319418396784779E-2</c:v>
                </c:pt>
                <c:pt idx="2407">
                  <c:v>2.1095188192490011E-2</c:v>
                </c:pt>
                <c:pt idx="2408">
                  <c:v>2.7402093938825756E-2</c:v>
                </c:pt>
                <c:pt idx="2409">
                  <c:v>3.0009412553759218E-2</c:v>
                </c:pt>
                <c:pt idx="2410">
                  <c:v>3.002066300088313E-2</c:v>
                </c:pt>
                <c:pt idx="2411">
                  <c:v>2.487331070987675E-2</c:v>
                </c:pt>
                <c:pt idx="2412">
                  <c:v>2.729272737785482E-2</c:v>
                </c:pt>
                <c:pt idx="2413">
                  <c:v>2.2952414735316173E-2</c:v>
                </c:pt>
                <c:pt idx="2414">
                  <c:v>2.1747757455302108E-2</c:v>
                </c:pt>
                <c:pt idx="2415">
                  <c:v>1.8897509911733001E-2</c:v>
                </c:pt>
                <c:pt idx="2416">
                  <c:v>2.4242441620826671E-2</c:v>
                </c:pt>
                <c:pt idx="2417">
                  <c:v>1.5760010538663938E-2</c:v>
                </c:pt>
                <c:pt idx="2418">
                  <c:v>1.1380291867022274E-2</c:v>
                </c:pt>
                <c:pt idx="2419">
                  <c:v>5.91362180314986E-3</c:v>
                </c:pt>
                <c:pt idx="2420">
                  <c:v>1.7762227441754375E-3</c:v>
                </c:pt>
                <c:pt idx="2421">
                  <c:v>3.4288021003752167E-3</c:v>
                </c:pt>
                <c:pt idx="2422">
                  <c:v>3.6410415195883283E-3</c:v>
                </c:pt>
                <c:pt idx="2423">
                  <c:v>7.7072432887938525E-3</c:v>
                </c:pt>
                <c:pt idx="2424">
                  <c:v>5.3761962182252154E-3</c:v>
                </c:pt>
                <c:pt idx="2425">
                  <c:v>8.4820847177629055E-3</c:v>
                </c:pt>
                <c:pt idx="2426">
                  <c:v>1.7402395316615138E-2</c:v>
                </c:pt>
                <c:pt idx="2427">
                  <c:v>1.785942410704866E-2</c:v>
                </c:pt>
                <c:pt idx="2428">
                  <c:v>1.3973789178247542E-2</c:v>
                </c:pt>
                <c:pt idx="2429">
                  <c:v>1.8933218185147427E-2</c:v>
                </c:pt>
                <c:pt idx="2430">
                  <c:v>2.1554896727839001E-2</c:v>
                </c:pt>
                <c:pt idx="2431">
                  <c:v>1.5612101500115549E-2</c:v>
                </c:pt>
                <c:pt idx="2432">
                  <c:v>1.5621867586631422E-2</c:v>
                </c:pt>
                <c:pt idx="2433">
                  <c:v>1.0858520599768717E-2</c:v>
                </c:pt>
                <c:pt idx="2434">
                  <c:v>6.43126562904206E-3</c:v>
                </c:pt>
                <c:pt idx="2435">
                  <c:v>8.3083619057275904E-3</c:v>
                </c:pt>
                <c:pt idx="2436">
                  <c:v>1.3748641638739345E-2</c:v>
                </c:pt>
                <c:pt idx="2437">
                  <c:v>1.8357806011140287E-2</c:v>
                </c:pt>
                <c:pt idx="2438">
                  <c:v>2.5113184868018279E-2</c:v>
                </c:pt>
                <c:pt idx="2439">
                  <c:v>1.6705230859591913E-2</c:v>
                </c:pt>
                <c:pt idx="2440">
                  <c:v>1.6930792988390009E-2</c:v>
                </c:pt>
                <c:pt idx="2441">
                  <c:v>2.0025292191899691E-2</c:v>
                </c:pt>
                <c:pt idx="2442">
                  <c:v>2.2579103742228768E-2</c:v>
                </c:pt>
                <c:pt idx="2443">
                  <c:v>2.1829042728429837E-2</c:v>
                </c:pt>
                <c:pt idx="2444">
                  <c:v>1.0758611013025776E-2</c:v>
                </c:pt>
                <c:pt idx="2445">
                  <c:v>4.598378335999953E-2</c:v>
                </c:pt>
                <c:pt idx="2446">
                  <c:v>4.8205078971365889E-2</c:v>
                </c:pt>
                <c:pt idx="2447">
                  <c:v>6.2561551933828119E-2</c:v>
                </c:pt>
                <c:pt idx="2448">
                  <c:v>8.0423287731007209E-2</c:v>
                </c:pt>
                <c:pt idx="2449">
                  <c:v>8.2685941131778518E-2</c:v>
                </c:pt>
                <c:pt idx="2450">
                  <c:v>8.5164670182304891E-2</c:v>
                </c:pt>
                <c:pt idx="2451">
                  <c:v>2.026710098959178E-2</c:v>
                </c:pt>
              </c:numCache>
            </c:numRef>
          </c:val>
          <c:smooth val="0"/>
          <c:extLst>
            <c:ext xmlns:c16="http://schemas.microsoft.com/office/drawing/2014/chart" uri="{C3380CC4-5D6E-409C-BE32-E72D297353CC}">
              <c16:uniqueId val="{00000003-35E8-4FEF-9886-75B3DE2C6CFE}"/>
            </c:ext>
          </c:extLst>
        </c:ser>
        <c:dLbls>
          <c:showLegendKey val="0"/>
          <c:showVal val="0"/>
          <c:showCatName val="0"/>
          <c:showSerName val="0"/>
          <c:showPercent val="0"/>
          <c:showBubbleSize val="0"/>
        </c:dLbls>
        <c:marker val="1"/>
        <c:smooth val="0"/>
        <c:axId val="1382895807"/>
        <c:axId val="1382893407"/>
      </c:lineChart>
      <c:catAx>
        <c:axId val="1418830911"/>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8831391"/>
        <c:crosses val="autoZero"/>
        <c:auto val="1"/>
        <c:lblAlgn val="ctr"/>
        <c:lblOffset val="100"/>
        <c:noMultiLvlLbl val="0"/>
      </c:catAx>
      <c:valAx>
        <c:axId val="141883139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8830911"/>
        <c:crosses val="autoZero"/>
        <c:crossBetween val="between"/>
      </c:valAx>
      <c:valAx>
        <c:axId val="1382893407"/>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82895807"/>
        <c:crosses val="max"/>
        <c:crossBetween val="between"/>
      </c:valAx>
      <c:catAx>
        <c:axId val="1382895807"/>
        <c:scaling>
          <c:orientation val="minMax"/>
        </c:scaling>
        <c:delete val="1"/>
        <c:axPos val="b"/>
        <c:majorTickMark val="out"/>
        <c:minorTickMark val="none"/>
        <c:tickLblPos val="nextTo"/>
        <c:crossAx val="1382893407"/>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efficient ranking</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Preparation'!$M$16:$M$22</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Data Preparation'!$N$16:$N$22</c:f>
              <c:numCache>
                <c:formatCode>General</c:formatCode>
                <c:ptCount val="7"/>
                <c:pt idx="0">
                  <c:v>0.76488650391381219</c:v>
                </c:pt>
                <c:pt idx="1">
                  <c:v>0.34234999005938682</c:v>
                </c:pt>
                <c:pt idx="2">
                  <c:v>5.0960926372487107E-2</c:v>
                </c:pt>
                <c:pt idx="3">
                  <c:v>1.8223572481078983E-2</c:v>
                </c:pt>
                <c:pt idx="4">
                  <c:v>-1.7875059072203575E-2</c:v>
                </c:pt>
                <c:pt idx="5">
                  <c:v>-1.890313547339104E-2</c:v>
                </c:pt>
                <c:pt idx="6">
                  <c:v>-0.61136452850738654</c:v>
                </c:pt>
              </c:numCache>
            </c:numRef>
          </c:val>
          <c:extLst>
            <c:ext xmlns:c16="http://schemas.microsoft.com/office/drawing/2014/chart" uri="{C3380CC4-5D6E-409C-BE32-E72D297353CC}">
              <c16:uniqueId val="{00000000-FA13-4FE0-86C1-FC230CC6E8B1}"/>
            </c:ext>
          </c:extLst>
        </c:ser>
        <c:dLbls>
          <c:dLblPos val="outEnd"/>
          <c:showLegendKey val="0"/>
          <c:showVal val="1"/>
          <c:showCatName val="0"/>
          <c:showSerName val="0"/>
          <c:showPercent val="0"/>
          <c:showBubbleSize val="0"/>
        </c:dLbls>
        <c:gapWidth val="219"/>
        <c:overlap val="-27"/>
        <c:axId val="1236277199"/>
        <c:axId val="1236283439"/>
      </c:barChart>
      <c:catAx>
        <c:axId val="123627719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6283439"/>
        <c:crosses val="autoZero"/>
        <c:auto val="1"/>
        <c:lblAlgn val="ctr"/>
        <c:lblOffset val="100"/>
        <c:noMultiLvlLbl val="0"/>
      </c:catAx>
      <c:valAx>
        <c:axId val="123628343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gression</a:t>
                </a:r>
                <a:r>
                  <a:rPr lang="en-US" baseline="0"/>
                  <a:t> correlation coefficent</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62771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RT Rolling stdev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multiLvlStrRef>
              <c:f>'DRT Rolling Stdev'!$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Stdev (30 Minute)</c:v>
                  </c:pt>
                  <c:pt idx="1">
                    <c:v>Rolling Stdev (30 Minute)</c:v>
                  </c:pt>
                  <c:pt idx="2">
                    <c:v>Rolling Stdev (30 Minute)</c:v>
                  </c:pt>
                  <c:pt idx="3">
                    <c:v>Rolling Stdev (30 Minute)</c:v>
                  </c:pt>
                  <c:pt idx="4">
                    <c:v>Rolling Stdev (30 Minute)</c:v>
                  </c:pt>
                  <c:pt idx="5">
                    <c:v>Rolling Stdev (30 Minute)</c:v>
                  </c:pt>
                  <c:pt idx="6">
                    <c:v>Rolling Stdev (30 Minute)</c:v>
                  </c:pt>
                  <c:pt idx="7">
                    <c:v>Rolling Stdev (30 Minute)</c:v>
                  </c:pt>
                  <c:pt idx="8">
                    <c:v>Rolling Stdev (30 Minute)</c:v>
                  </c:pt>
                  <c:pt idx="9">
                    <c:v>Rolling Stdev (30 Minute)</c:v>
                  </c:pt>
                  <c:pt idx="10">
                    <c:v>Rolling Stdev (30 Minute)</c:v>
                  </c:pt>
                  <c:pt idx="11">
                    <c:v>Rolling Stdev (30 Minute)</c:v>
                  </c:pt>
                  <c:pt idx="12">
                    <c:v>Rolling Stdev (30 Minute)</c:v>
                  </c:pt>
                  <c:pt idx="13">
                    <c:v>Rolling Stdev (30 Minute)</c:v>
                  </c:pt>
                  <c:pt idx="14">
                    <c:v>Rolling Stdev (30 Minute)</c:v>
                  </c:pt>
                  <c:pt idx="15">
                    <c:v>Rolling Stdev (30 Minute)</c:v>
                  </c:pt>
                  <c:pt idx="16">
                    <c:v>Rolling Stdev (30 Minute)</c:v>
                  </c:pt>
                  <c:pt idx="17">
                    <c:v>Rolling Stdev (30 Minute)</c:v>
                  </c:pt>
                  <c:pt idx="18">
                    <c:v>Rolling Stdev (30 Minute)</c:v>
                  </c:pt>
                  <c:pt idx="19">
                    <c:v>Rolling Stdev (30 Minute)</c:v>
                  </c:pt>
                  <c:pt idx="20">
                    <c:v>Rolling Stdev (30 Minute)</c:v>
                  </c:pt>
                  <c:pt idx="21">
                    <c:v>Rolling Stdev (30 Minute)</c:v>
                  </c:pt>
                  <c:pt idx="22">
                    <c:v>Rolling Stdev (30 Minute)</c:v>
                  </c:pt>
                  <c:pt idx="23">
                    <c:v>Rolling Stdev (30 Minute)</c:v>
                  </c:pt>
                  <c:pt idx="24">
                    <c:v>Rolling Stdev (30 Minute)</c:v>
                  </c:pt>
                  <c:pt idx="25">
                    <c:v>Rolling Stdev (30 Minute)</c:v>
                  </c:pt>
                  <c:pt idx="26">
                    <c:v>Rolling Stdev (30 Minute)</c:v>
                  </c:pt>
                  <c:pt idx="27">
                    <c:v>Rolling Stdev (30 Minute)</c:v>
                  </c:pt>
                  <c:pt idx="28">
                    <c:v>Rolling Stdev (30 Minute)</c:v>
                  </c:pt>
                  <c:pt idx="29">
                    <c:v>Rolling Stdev (30 Minute)</c:v>
                  </c:pt>
                  <c:pt idx="30">
                    <c:v>Rolling Stdev (30 Minute)</c:v>
                  </c:pt>
                  <c:pt idx="31">
                    <c:v>Rolling Stdev (30 Minute)</c:v>
                  </c:pt>
                  <c:pt idx="32">
                    <c:v>Rolling Stdev (30 Minute)</c:v>
                  </c:pt>
                  <c:pt idx="33">
                    <c:v>Rolling Stdev (30 Minute)</c:v>
                  </c:pt>
                  <c:pt idx="34">
                    <c:v>Rolling Stdev (30 Minute)</c:v>
                  </c:pt>
                  <c:pt idx="35">
                    <c:v>Rolling Stdev (30 Minute)</c:v>
                  </c:pt>
                  <c:pt idx="36">
                    <c:v>Rolling Stdev (30 Minute)</c:v>
                  </c:pt>
                  <c:pt idx="37">
                    <c:v>Rolling Stdev (30 Minute)</c:v>
                  </c:pt>
                  <c:pt idx="38">
                    <c:v>Rolling Stdev (30 Minute)</c:v>
                  </c:pt>
                  <c:pt idx="39">
                    <c:v>Rolling Stdev (30 Minute)</c:v>
                  </c:pt>
                  <c:pt idx="40">
                    <c:v>Rolling Stdev (30 Minute)</c:v>
                  </c:pt>
                  <c:pt idx="41">
                    <c:v>Rolling Stdev (30 Minute)</c:v>
                  </c:pt>
                  <c:pt idx="42">
                    <c:v>Rolling Stdev (30 Minute)</c:v>
                  </c:pt>
                  <c:pt idx="43">
                    <c:v>Rolling Stdev (30 Minute)</c:v>
                  </c:pt>
                  <c:pt idx="44">
                    <c:v>Rolling Stdev (30 Minute)</c:v>
                  </c:pt>
                  <c:pt idx="45">
                    <c:v>Rolling Stdev (30 Minute)</c:v>
                  </c:pt>
                  <c:pt idx="46">
                    <c:v>Rolling Stdev (30 Minute)</c:v>
                  </c:pt>
                  <c:pt idx="47">
                    <c:v>Rolling Stdev (30 Minute)</c:v>
                  </c:pt>
                  <c:pt idx="48">
                    <c:v>Rolling Stdev (30 Minute)</c:v>
                  </c:pt>
                  <c:pt idx="49">
                    <c:v>Rolling Stdev (30 Minute)</c:v>
                  </c:pt>
                  <c:pt idx="50">
                    <c:v>Rolling Stdev (30 Minute)</c:v>
                  </c:pt>
                  <c:pt idx="51">
                    <c:v>Rolling Stdev (30 Minute)</c:v>
                  </c:pt>
                  <c:pt idx="52">
                    <c:v>Rolling Stdev (30 Minute)</c:v>
                  </c:pt>
                  <c:pt idx="53">
                    <c:v>Rolling Stdev (30 Minute)</c:v>
                  </c:pt>
                  <c:pt idx="54">
                    <c:v>Rolling Stdev (30 Minute)</c:v>
                  </c:pt>
                  <c:pt idx="55">
                    <c:v>Rolling Stdev (30 Minute)</c:v>
                  </c:pt>
                  <c:pt idx="56">
                    <c:v>Rolling Stdev (30 Minute)</c:v>
                  </c:pt>
                  <c:pt idx="57">
                    <c:v>Rolling Stdev (30 Minute)</c:v>
                  </c:pt>
                  <c:pt idx="58">
                    <c:v>Rolling Stdev (30 Minute)</c:v>
                  </c:pt>
                  <c:pt idx="59">
                    <c:v>Rolling Stdev (30 Minute)</c:v>
                  </c:pt>
                  <c:pt idx="60">
                    <c:v>Rolling Stdev (30 Minute)</c:v>
                  </c:pt>
                  <c:pt idx="61">
                    <c:v>Rolling Stdev (30 Minute)</c:v>
                  </c:pt>
                  <c:pt idx="62">
                    <c:v>Rolling Stdev (30 Minute)</c:v>
                  </c:pt>
                  <c:pt idx="63">
                    <c:v>Rolling Stdev (30 Minute)</c:v>
                  </c:pt>
                  <c:pt idx="64">
                    <c:v>Rolling Stdev (30 Minute)</c:v>
                  </c:pt>
                  <c:pt idx="65">
                    <c:v>Rolling Stdev (30 Minute)</c:v>
                  </c:pt>
                  <c:pt idx="66">
                    <c:v>Rolling Stdev (30 Minute)</c:v>
                  </c:pt>
                  <c:pt idx="67">
                    <c:v>Rolling Stdev (30 Minute)</c:v>
                  </c:pt>
                  <c:pt idx="68">
                    <c:v>Rolling Stdev (30 Minute)</c:v>
                  </c:pt>
                  <c:pt idx="69">
                    <c:v>Rolling Stdev (30 Minute)</c:v>
                  </c:pt>
                  <c:pt idx="70">
                    <c:v>Rolling Stdev (30 Minute)</c:v>
                  </c:pt>
                  <c:pt idx="71">
                    <c:v>Rolling Stdev (30 Minute)</c:v>
                  </c:pt>
                  <c:pt idx="72">
                    <c:v>Rolling Stdev (30 Minute)</c:v>
                  </c:pt>
                  <c:pt idx="73">
                    <c:v>Rolling Stdev (30 Minute)</c:v>
                  </c:pt>
                  <c:pt idx="74">
                    <c:v>Rolling Stdev (30 Minute)</c:v>
                  </c:pt>
                  <c:pt idx="75">
                    <c:v>Rolling Stdev (30 Minute)</c:v>
                  </c:pt>
                  <c:pt idx="76">
                    <c:v>Rolling Stdev (30 Minute)</c:v>
                  </c:pt>
                  <c:pt idx="77">
                    <c:v>Rolling Stdev (30 Minute)</c:v>
                  </c:pt>
                  <c:pt idx="78">
                    <c:v>Rolling Stdev (30 Minute)</c:v>
                  </c:pt>
                  <c:pt idx="79">
                    <c:v>Rolling Stdev (30 Minute)</c:v>
                  </c:pt>
                  <c:pt idx="80">
                    <c:v>Rolling Stdev (30 Minute)</c:v>
                  </c:pt>
                  <c:pt idx="81">
                    <c:v>Rolling Stdev (30 Minute)</c:v>
                  </c:pt>
                  <c:pt idx="82">
                    <c:v>Rolling Stdev (30 Minute)</c:v>
                  </c:pt>
                  <c:pt idx="83">
                    <c:v>Rolling Stdev (30 Minute)</c:v>
                  </c:pt>
                  <c:pt idx="84">
                    <c:v>Rolling Stdev (30 Minute)</c:v>
                  </c:pt>
                  <c:pt idx="85">
                    <c:v>Rolling Stdev (30 Minute)</c:v>
                  </c:pt>
                  <c:pt idx="86">
                    <c:v>Rolling Stdev (30 Minute)</c:v>
                  </c:pt>
                  <c:pt idx="87">
                    <c:v>Rolling Stdev (30 Minute)</c:v>
                  </c:pt>
                  <c:pt idx="88">
                    <c:v>Rolling Stdev (30 Minute)</c:v>
                  </c:pt>
                  <c:pt idx="89">
                    <c:v>Rolling Stdev (30 Minute)</c:v>
                  </c:pt>
                  <c:pt idx="90">
                    <c:v>Rolling Stdev (30 Minute)</c:v>
                  </c:pt>
                  <c:pt idx="91">
                    <c:v>Rolling Stdev (30 Minute)</c:v>
                  </c:pt>
                  <c:pt idx="92">
                    <c:v>Rolling Stdev (30 Minute)</c:v>
                  </c:pt>
                  <c:pt idx="93">
                    <c:v>Rolling Stdev (30 Minute)</c:v>
                  </c:pt>
                  <c:pt idx="94">
                    <c:v>Rolling Stdev (30 Minute)</c:v>
                  </c:pt>
                  <c:pt idx="95">
                    <c:v>Rolling Stdev (30 Minute)</c:v>
                  </c:pt>
                  <c:pt idx="96">
                    <c:v>Rolling Stdev (30 Minute)</c:v>
                  </c:pt>
                  <c:pt idx="97">
                    <c:v>Rolling Stdev (30 Minute)</c:v>
                  </c:pt>
                  <c:pt idx="98">
                    <c:v>Rolling Stdev (30 Minute)</c:v>
                  </c:pt>
                  <c:pt idx="99">
                    <c:v>Rolling Stdev (30 Minute)</c:v>
                  </c:pt>
                  <c:pt idx="100">
                    <c:v>Rolling Stdev (30 Minute)</c:v>
                  </c:pt>
                  <c:pt idx="101">
                    <c:v>Rolling Stdev (30 Minute)</c:v>
                  </c:pt>
                  <c:pt idx="102">
                    <c:v>Rolling Stdev (30 Minute)</c:v>
                  </c:pt>
                  <c:pt idx="103">
                    <c:v>Rolling Stdev (30 Minute)</c:v>
                  </c:pt>
                  <c:pt idx="104">
                    <c:v>Rolling Stdev (30 Minute)</c:v>
                  </c:pt>
                  <c:pt idx="105">
                    <c:v>Rolling Stdev (30 Minute)</c:v>
                  </c:pt>
                  <c:pt idx="106">
                    <c:v>Rolling Stdev (30 Minute)</c:v>
                  </c:pt>
                  <c:pt idx="107">
                    <c:v>Rolling Stdev (30 Minute)</c:v>
                  </c:pt>
                  <c:pt idx="108">
                    <c:v>Rolling Stdev (30 Minute)</c:v>
                  </c:pt>
                  <c:pt idx="109">
                    <c:v>Rolling Stdev (30 Minute)</c:v>
                  </c:pt>
                  <c:pt idx="110">
                    <c:v>Rolling Stdev (30 Minute)</c:v>
                  </c:pt>
                  <c:pt idx="111">
                    <c:v>Rolling Stdev (30 Minute)</c:v>
                  </c:pt>
                  <c:pt idx="112">
                    <c:v>Rolling Stdev (30 Minute)</c:v>
                  </c:pt>
                  <c:pt idx="113">
                    <c:v>Rolling Stdev (30 Minute)</c:v>
                  </c:pt>
                  <c:pt idx="114">
                    <c:v>Rolling Stdev (30 Minute)</c:v>
                  </c:pt>
                  <c:pt idx="115">
                    <c:v>Rolling Stdev (30 Minute)</c:v>
                  </c:pt>
                  <c:pt idx="116">
                    <c:v>Rolling Stdev (30 Minute)</c:v>
                  </c:pt>
                  <c:pt idx="117">
                    <c:v>Rolling Stdev (30 Minute)</c:v>
                  </c:pt>
                  <c:pt idx="118">
                    <c:v>Rolling Stdev (30 Minute)</c:v>
                  </c:pt>
                  <c:pt idx="119">
                    <c:v>Rolling Stdev (30 Minute)</c:v>
                  </c:pt>
                  <c:pt idx="120">
                    <c:v>Rolling Stdev (30 Minute)</c:v>
                  </c:pt>
                  <c:pt idx="121">
                    <c:v>Rolling Stdev (30 Minute)</c:v>
                  </c:pt>
                  <c:pt idx="122">
                    <c:v>Rolling Stdev (30 Minute)</c:v>
                  </c:pt>
                  <c:pt idx="123">
                    <c:v>Rolling Stdev (30 Minute)</c:v>
                  </c:pt>
                  <c:pt idx="124">
                    <c:v>Rolling Stdev (30 Minute)</c:v>
                  </c:pt>
                  <c:pt idx="125">
                    <c:v>Rolling Stdev (30 Minute)</c:v>
                  </c:pt>
                  <c:pt idx="126">
                    <c:v>Rolling Stdev (30 Minute)</c:v>
                  </c:pt>
                  <c:pt idx="127">
                    <c:v>Rolling Stdev (30 Minute)</c:v>
                  </c:pt>
                  <c:pt idx="128">
                    <c:v>Rolling Stdev (30 Minute)</c:v>
                  </c:pt>
                  <c:pt idx="129">
                    <c:v>Rolling Stdev (30 Minute)</c:v>
                  </c:pt>
                  <c:pt idx="130">
                    <c:v>Rolling Stdev (30 Minute)</c:v>
                  </c:pt>
                  <c:pt idx="131">
                    <c:v>Rolling Stdev (30 Minute)</c:v>
                  </c:pt>
                  <c:pt idx="132">
                    <c:v>Rolling Stdev (30 Minute)</c:v>
                  </c:pt>
                  <c:pt idx="133">
                    <c:v>Rolling Stdev (30 Minute)</c:v>
                  </c:pt>
                  <c:pt idx="134">
                    <c:v>Rolling Stdev (30 Minute)</c:v>
                  </c:pt>
                  <c:pt idx="135">
                    <c:v>Rolling Stdev (30 Minute)</c:v>
                  </c:pt>
                  <c:pt idx="136">
                    <c:v>Rolling Stdev (30 Minute)</c:v>
                  </c:pt>
                  <c:pt idx="137">
                    <c:v>Rolling Stdev (30 Minute)</c:v>
                  </c:pt>
                  <c:pt idx="138">
                    <c:v>Rolling Stdev (30 Minute)</c:v>
                  </c:pt>
                  <c:pt idx="139">
                    <c:v>Rolling Stdev (30 Minute)</c:v>
                  </c:pt>
                  <c:pt idx="140">
                    <c:v>Rolling Stdev (30 Minute)</c:v>
                  </c:pt>
                  <c:pt idx="141">
                    <c:v>Rolling Stdev (30 Minute)</c:v>
                  </c:pt>
                  <c:pt idx="142">
                    <c:v>Rolling Stdev (30 Minute)</c:v>
                  </c:pt>
                  <c:pt idx="143">
                    <c:v>Rolling Stdev (30 Minute)</c:v>
                  </c:pt>
                  <c:pt idx="144">
                    <c:v>Rolling Stdev (30 Minute)</c:v>
                  </c:pt>
                  <c:pt idx="145">
                    <c:v>Rolling Stdev (30 Minute)</c:v>
                  </c:pt>
                  <c:pt idx="146">
                    <c:v>Rolling Stdev (30 Minute)</c:v>
                  </c:pt>
                  <c:pt idx="147">
                    <c:v>Rolling Stdev (30 Minute)</c:v>
                  </c:pt>
                  <c:pt idx="148">
                    <c:v>Rolling Stdev (30 Minute)</c:v>
                  </c:pt>
                  <c:pt idx="149">
                    <c:v>Rolling Stdev (30 Minute)</c:v>
                  </c:pt>
                  <c:pt idx="150">
                    <c:v>Rolling Stdev (30 Minute)</c:v>
                  </c:pt>
                  <c:pt idx="151">
                    <c:v>Rolling Stdev (30 Minute)</c:v>
                  </c:pt>
                  <c:pt idx="152">
                    <c:v>Rolling Stdev (30 Minute)</c:v>
                  </c:pt>
                  <c:pt idx="153">
                    <c:v>Rolling Stdev (30 Minute)</c:v>
                  </c:pt>
                  <c:pt idx="154">
                    <c:v>Rolling Stdev (30 Minute)</c:v>
                  </c:pt>
                  <c:pt idx="155">
                    <c:v>Rolling Stdev (30 Minute)</c:v>
                  </c:pt>
                  <c:pt idx="156">
                    <c:v>Rolling Stdev (30 Minute)</c:v>
                  </c:pt>
                  <c:pt idx="157">
                    <c:v>Rolling Stdev (30 Minute)</c:v>
                  </c:pt>
                  <c:pt idx="158">
                    <c:v>Rolling Stdev (30 Minute)</c:v>
                  </c:pt>
                  <c:pt idx="159">
                    <c:v>Rolling Stdev (30 Minute)</c:v>
                  </c:pt>
                  <c:pt idx="160">
                    <c:v>Rolling Stdev (30 Minute)</c:v>
                  </c:pt>
                  <c:pt idx="161">
                    <c:v>Rolling Stdev (30 Minute)</c:v>
                  </c:pt>
                  <c:pt idx="162">
                    <c:v>Rolling Stdev (30 Minute)</c:v>
                  </c:pt>
                  <c:pt idx="163">
                    <c:v>Rolling Stdev (30 Minute)</c:v>
                  </c:pt>
                  <c:pt idx="164">
                    <c:v>Rolling Stdev (30 Minute)</c:v>
                  </c:pt>
                  <c:pt idx="165">
                    <c:v>Rolling Stdev (30 Minute)</c:v>
                  </c:pt>
                  <c:pt idx="166">
                    <c:v>Rolling Stdev (30 Minute)</c:v>
                  </c:pt>
                  <c:pt idx="167">
                    <c:v>Rolling Stdev (30 Minute)</c:v>
                  </c:pt>
                  <c:pt idx="168">
                    <c:v>Rolling Stdev (30 Minute)</c:v>
                  </c:pt>
                  <c:pt idx="169">
                    <c:v>Rolling Stdev (30 Minute)</c:v>
                  </c:pt>
                  <c:pt idx="170">
                    <c:v>Rolling Stdev (30 Minute)</c:v>
                  </c:pt>
                  <c:pt idx="171">
                    <c:v>Rolling Stdev (30 Minute)</c:v>
                  </c:pt>
                  <c:pt idx="172">
                    <c:v>Rolling Stdev (30 Minute)</c:v>
                  </c:pt>
                  <c:pt idx="173">
                    <c:v>Rolling Stdev (30 Minute)</c:v>
                  </c:pt>
                  <c:pt idx="174">
                    <c:v>Rolling Stdev (30 Minute)</c:v>
                  </c:pt>
                  <c:pt idx="175">
                    <c:v>Rolling Stdev (30 Minute)</c:v>
                  </c:pt>
                  <c:pt idx="176">
                    <c:v>Rolling Stdev (30 Minute)</c:v>
                  </c:pt>
                  <c:pt idx="177">
                    <c:v>Rolling Stdev (30 Minute)</c:v>
                  </c:pt>
                  <c:pt idx="178">
                    <c:v>Rolling Stdev (30 Minute)</c:v>
                  </c:pt>
                  <c:pt idx="179">
                    <c:v>Rolling Stdev (30 Minute)</c:v>
                  </c:pt>
                  <c:pt idx="180">
                    <c:v>Rolling Stdev (30 Minute)</c:v>
                  </c:pt>
                  <c:pt idx="181">
                    <c:v>Rolling Stdev (30 Minute)</c:v>
                  </c:pt>
                  <c:pt idx="182">
                    <c:v>Rolling Stdev (30 Minute)</c:v>
                  </c:pt>
                  <c:pt idx="183">
                    <c:v>Rolling Stdev (30 Minute)</c:v>
                  </c:pt>
                  <c:pt idx="184">
                    <c:v>Rolling Stdev (30 Minute)</c:v>
                  </c:pt>
                  <c:pt idx="185">
                    <c:v>Rolling Stdev (30 Minute)</c:v>
                  </c:pt>
                  <c:pt idx="186">
                    <c:v>Rolling Stdev (30 Minute)</c:v>
                  </c:pt>
                  <c:pt idx="187">
                    <c:v>Rolling Stdev (30 Minute)</c:v>
                  </c:pt>
                  <c:pt idx="188">
                    <c:v>Rolling Stdev (30 Minute)</c:v>
                  </c:pt>
                  <c:pt idx="189">
                    <c:v>Rolling Stdev (30 Minute)</c:v>
                  </c:pt>
                  <c:pt idx="190">
                    <c:v>Rolling Stdev (30 Minute)</c:v>
                  </c:pt>
                  <c:pt idx="191">
                    <c:v>Rolling Stdev (30 Minute)</c:v>
                  </c:pt>
                  <c:pt idx="192">
                    <c:v>Rolling Stdev (30 Minute)</c:v>
                  </c:pt>
                  <c:pt idx="193">
                    <c:v>Rolling Stdev (30 Minute)</c:v>
                  </c:pt>
                  <c:pt idx="194">
                    <c:v>Rolling Stdev (30 Minute)</c:v>
                  </c:pt>
                  <c:pt idx="195">
                    <c:v>Rolling Stdev (30 Minute)</c:v>
                  </c:pt>
                  <c:pt idx="196">
                    <c:v>Rolling Stdev (30 Minute)</c:v>
                  </c:pt>
                  <c:pt idx="197">
                    <c:v>Rolling Stdev (30 Minute)</c:v>
                  </c:pt>
                  <c:pt idx="198">
                    <c:v>Rolling Stdev (30 Minute)</c:v>
                  </c:pt>
                  <c:pt idx="199">
                    <c:v>Rolling Stdev (30 Minute)</c:v>
                  </c:pt>
                  <c:pt idx="200">
                    <c:v>Rolling Stdev (30 Minute)</c:v>
                  </c:pt>
                  <c:pt idx="201">
                    <c:v>Rolling Stdev (30 Minute)</c:v>
                  </c:pt>
                  <c:pt idx="202">
                    <c:v>Rolling Stdev (30 Minute)</c:v>
                  </c:pt>
                  <c:pt idx="203">
                    <c:v>Rolling Stdev (30 Minute)</c:v>
                  </c:pt>
                  <c:pt idx="204">
                    <c:v>Rolling Stdev (30 Minute)</c:v>
                  </c:pt>
                  <c:pt idx="205">
                    <c:v>Rolling Stdev (30 Minute)</c:v>
                  </c:pt>
                  <c:pt idx="206">
                    <c:v>Rolling Stdev (30 Minute)</c:v>
                  </c:pt>
                  <c:pt idx="207">
                    <c:v>Rolling Stdev (30 Minute)</c:v>
                  </c:pt>
                  <c:pt idx="208">
                    <c:v>Rolling Stdev (30 Minute)</c:v>
                  </c:pt>
                  <c:pt idx="209">
                    <c:v>Rolling Stdev (30 Minute)</c:v>
                  </c:pt>
                  <c:pt idx="210">
                    <c:v>Rolling Stdev (30 Minute)</c:v>
                  </c:pt>
                  <c:pt idx="211">
                    <c:v>Rolling Stdev (30 Minute)</c:v>
                  </c:pt>
                  <c:pt idx="212">
                    <c:v>Rolling Stdev (30 Minute)</c:v>
                  </c:pt>
                  <c:pt idx="213">
                    <c:v>Rolling Stdev (30 Minute)</c:v>
                  </c:pt>
                  <c:pt idx="214">
                    <c:v>Rolling Stdev (30 Minute)</c:v>
                  </c:pt>
                  <c:pt idx="215">
                    <c:v>Rolling Stdev (30 Minute)</c:v>
                  </c:pt>
                  <c:pt idx="216">
                    <c:v>Rolling Stdev (30 Minute)</c:v>
                  </c:pt>
                  <c:pt idx="217">
                    <c:v>Rolling Stdev (30 Minute)</c:v>
                  </c:pt>
                  <c:pt idx="218">
                    <c:v>Rolling Stdev (30 Minute)</c:v>
                  </c:pt>
                  <c:pt idx="219">
                    <c:v>Rolling Stdev (30 Minute)</c:v>
                  </c:pt>
                  <c:pt idx="220">
                    <c:v>Rolling Stdev (30 Minute)</c:v>
                  </c:pt>
                  <c:pt idx="221">
                    <c:v>Rolling Stdev (30 Minute)</c:v>
                  </c:pt>
                  <c:pt idx="222">
                    <c:v>Rolling Stdev (30 Minute)</c:v>
                  </c:pt>
                  <c:pt idx="223">
                    <c:v>Rolling Stdev (30 Minute)</c:v>
                  </c:pt>
                  <c:pt idx="224">
                    <c:v>Rolling Stdev (30 Minute)</c:v>
                  </c:pt>
                  <c:pt idx="225">
                    <c:v>Rolling Stdev (30 Minute)</c:v>
                  </c:pt>
                  <c:pt idx="226">
                    <c:v>Rolling Stdev (30 Minute)</c:v>
                  </c:pt>
                  <c:pt idx="227">
                    <c:v>Rolling Stdev (30 Minute)</c:v>
                  </c:pt>
                  <c:pt idx="228">
                    <c:v>Rolling Stdev (30 Minute)</c:v>
                  </c:pt>
                  <c:pt idx="229">
                    <c:v>Rolling Stdev (30 Minute)</c:v>
                  </c:pt>
                  <c:pt idx="230">
                    <c:v>Rolling Stdev (30 Minute)</c:v>
                  </c:pt>
                  <c:pt idx="231">
                    <c:v>Rolling Stdev (30 Minute)</c:v>
                  </c:pt>
                  <c:pt idx="232">
                    <c:v>Rolling Stdev (30 Minute)</c:v>
                  </c:pt>
                  <c:pt idx="233">
                    <c:v>Rolling Stdev (30 Minute)</c:v>
                  </c:pt>
                  <c:pt idx="234">
                    <c:v>Rolling Stdev (30 Minute)</c:v>
                  </c:pt>
                  <c:pt idx="235">
                    <c:v>Rolling Stdev (30 Minute)</c:v>
                  </c:pt>
                  <c:pt idx="236">
                    <c:v>Rolling Stdev (30 Minute)</c:v>
                  </c:pt>
                  <c:pt idx="237">
                    <c:v>Rolling Stdev (30 Minute)</c:v>
                  </c:pt>
                  <c:pt idx="238">
                    <c:v>Rolling Stdev (30 Minute)</c:v>
                  </c:pt>
                  <c:pt idx="239">
                    <c:v>Rolling Stdev (30 Minute)</c:v>
                  </c:pt>
                  <c:pt idx="240">
                    <c:v>Rolling Stdev (30 Minute)</c:v>
                  </c:pt>
                  <c:pt idx="241">
                    <c:v>Rolling Stdev (30 Minute)</c:v>
                  </c:pt>
                  <c:pt idx="242">
                    <c:v>Rolling Stdev (30 Minute)</c:v>
                  </c:pt>
                  <c:pt idx="243">
                    <c:v>Rolling Stdev (30 Minute)</c:v>
                  </c:pt>
                  <c:pt idx="244">
                    <c:v>Rolling Stdev (30 Minute)</c:v>
                  </c:pt>
                  <c:pt idx="245">
                    <c:v>Rolling Stdev (30 Minute)</c:v>
                  </c:pt>
                  <c:pt idx="246">
                    <c:v>Rolling Stdev (30 Minute)</c:v>
                  </c:pt>
                  <c:pt idx="247">
                    <c:v>Rolling Stdev (30 Minute)</c:v>
                  </c:pt>
                  <c:pt idx="248">
                    <c:v>Rolling Stdev (30 Minute)</c:v>
                  </c:pt>
                  <c:pt idx="249">
                    <c:v>Rolling Stdev (30 Minute)</c:v>
                  </c:pt>
                  <c:pt idx="250">
                    <c:v>Rolling Stdev (30 Minute)</c:v>
                  </c:pt>
                  <c:pt idx="251">
                    <c:v>Rolling Stdev (30 Minute)</c:v>
                  </c:pt>
                  <c:pt idx="252">
                    <c:v>Rolling Stdev (30 Minute)</c:v>
                  </c:pt>
                  <c:pt idx="253">
                    <c:v>Rolling Stdev (30 Minute)</c:v>
                  </c:pt>
                  <c:pt idx="254">
                    <c:v>Rolling Stdev (30 Minute)</c:v>
                  </c:pt>
                  <c:pt idx="255">
                    <c:v>Rolling Stdev (30 Minute)</c:v>
                  </c:pt>
                  <c:pt idx="256">
                    <c:v>Rolling Stdev (30 Minute)</c:v>
                  </c:pt>
                  <c:pt idx="257">
                    <c:v>Rolling Stdev (30 Minute)</c:v>
                  </c:pt>
                  <c:pt idx="258">
                    <c:v>Rolling Stdev (30 Minute)</c:v>
                  </c:pt>
                  <c:pt idx="259">
                    <c:v>Rolling Stdev (30 Minute)</c:v>
                  </c:pt>
                  <c:pt idx="260">
                    <c:v>Rolling Stdev (30 Minute)</c:v>
                  </c:pt>
                  <c:pt idx="261">
                    <c:v>Rolling Stdev (30 Minute)</c:v>
                  </c:pt>
                  <c:pt idx="262">
                    <c:v>Rolling Stdev (30 Minute)</c:v>
                  </c:pt>
                  <c:pt idx="263">
                    <c:v>Rolling Stdev (30 Minute)</c:v>
                  </c:pt>
                  <c:pt idx="264">
                    <c:v>Rolling Stdev (30 Minute)</c:v>
                  </c:pt>
                  <c:pt idx="265">
                    <c:v>Rolling Stdev (30 Minute)</c:v>
                  </c:pt>
                  <c:pt idx="266">
                    <c:v>Rolling Stdev (30 Minute)</c:v>
                  </c:pt>
                  <c:pt idx="267">
                    <c:v>Rolling Stdev (30 Minute)</c:v>
                  </c:pt>
                  <c:pt idx="268">
                    <c:v>Rolling Stdev (30 Minute)</c:v>
                  </c:pt>
                  <c:pt idx="269">
                    <c:v>Rolling Stdev (30 Minute)</c:v>
                  </c:pt>
                  <c:pt idx="270">
                    <c:v>Rolling Stdev (30 Minute)</c:v>
                  </c:pt>
                  <c:pt idx="271">
                    <c:v>Rolling Stdev (30 Minute)</c:v>
                  </c:pt>
                  <c:pt idx="272">
                    <c:v>Rolling Stdev (30 Minute)</c:v>
                  </c:pt>
                  <c:pt idx="273">
                    <c:v>Rolling Stdev (30 Minute)</c:v>
                  </c:pt>
                  <c:pt idx="274">
                    <c:v>Rolling Stdev (30 Minute)</c:v>
                  </c:pt>
                  <c:pt idx="275">
                    <c:v>Rolling Stdev (30 Minute)</c:v>
                  </c:pt>
                  <c:pt idx="276">
                    <c:v>Rolling Stdev (30 Minute)</c:v>
                  </c:pt>
                  <c:pt idx="277">
                    <c:v>Rolling Stdev (30 Minute)</c:v>
                  </c:pt>
                  <c:pt idx="278">
                    <c:v>Rolling Stdev (30 Minute)</c:v>
                  </c:pt>
                  <c:pt idx="279">
                    <c:v>Rolling Stdev (30 Minute)</c:v>
                  </c:pt>
                  <c:pt idx="280">
                    <c:v>Rolling Stdev (30 Minute)</c:v>
                  </c:pt>
                  <c:pt idx="281">
                    <c:v>Rolling Stdev (30 Minute)</c:v>
                  </c:pt>
                  <c:pt idx="282">
                    <c:v>Rolling Stdev (30 Minute)</c:v>
                  </c:pt>
                  <c:pt idx="283">
                    <c:v>Rolling Stdev (30 Minute)</c:v>
                  </c:pt>
                  <c:pt idx="284">
                    <c:v>Rolling Stdev (30 Minute)</c:v>
                  </c:pt>
                  <c:pt idx="285">
                    <c:v>Rolling Stdev (30 Minute)</c:v>
                  </c:pt>
                  <c:pt idx="286">
                    <c:v>Rolling Stdev (30 Minute)</c:v>
                  </c:pt>
                  <c:pt idx="287">
                    <c:v>Rolling Stdev (30 Minute)</c:v>
                  </c:pt>
                  <c:pt idx="288">
                    <c:v>Rolling Stdev (30 Minute)</c:v>
                  </c:pt>
                  <c:pt idx="289">
                    <c:v>Rolling Stdev (30 Minute)</c:v>
                  </c:pt>
                  <c:pt idx="290">
                    <c:v>Rolling Stdev (30 Minute)</c:v>
                  </c:pt>
                  <c:pt idx="291">
                    <c:v>Rolling Stdev (30 Minute)</c:v>
                  </c:pt>
                  <c:pt idx="292">
                    <c:v>Rolling Stdev (30 Minute)</c:v>
                  </c:pt>
                  <c:pt idx="293">
                    <c:v>Rolling Stdev (30 Minute)</c:v>
                  </c:pt>
                  <c:pt idx="294">
                    <c:v>Rolling Stdev (30 Minute)</c:v>
                  </c:pt>
                  <c:pt idx="295">
                    <c:v>Rolling Stdev (30 Minute)</c:v>
                  </c:pt>
                  <c:pt idx="296">
                    <c:v>Rolling Stdev (30 Minute)</c:v>
                  </c:pt>
                  <c:pt idx="297">
                    <c:v>Rolling Stdev (30 Minute)</c:v>
                  </c:pt>
                  <c:pt idx="298">
                    <c:v>Rolling Stdev (30 Minute)</c:v>
                  </c:pt>
                  <c:pt idx="299">
                    <c:v>Rolling Stdev (30 Minute)</c:v>
                  </c:pt>
                  <c:pt idx="300">
                    <c:v>Rolling Stdev (30 Minute)</c:v>
                  </c:pt>
                  <c:pt idx="301">
                    <c:v>Rolling Stdev (30 Minute)</c:v>
                  </c:pt>
                  <c:pt idx="302">
                    <c:v>Rolling Stdev (30 Minute)</c:v>
                  </c:pt>
                  <c:pt idx="303">
                    <c:v>Rolling Stdev (30 Minute)</c:v>
                  </c:pt>
                  <c:pt idx="304">
                    <c:v>Rolling Stdev (30 Minute)</c:v>
                  </c:pt>
                  <c:pt idx="305">
                    <c:v>Rolling Stdev (30 Minute)</c:v>
                  </c:pt>
                  <c:pt idx="306">
                    <c:v>Rolling Stdev (30 Minute)</c:v>
                  </c:pt>
                  <c:pt idx="307">
                    <c:v>Rolling Stdev (30 Minute)</c:v>
                  </c:pt>
                  <c:pt idx="308">
                    <c:v>Rolling Stdev (30 Minute)</c:v>
                  </c:pt>
                  <c:pt idx="309">
                    <c:v>Rolling Stdev (30 Minute)</c:v>
                  </c:pt>
                  <c:pt idx="310">
                    <c:v>Rolling Stdev (30 Minute)</c:v>
                  </c:pt>
                  <c:pt idx="311">
                    <c:v>Rolling Stdev (30 Minute)</c:v>
                  </c:pt>
                  <c:pt idx="312">
                    <c:v>Rolling Stdev (30 Minute)</c:v>
                  </c:pt>
                  <c:pt idx="313">
                    <c:v>Rolling Stdev (30 Minute)</c:v>
                  </c:pt>
                  <c:pt idx="314">
                    <c:v>Rolling Stdev (30 Minute)</c:v>
                  </c:pt>
                  <c:pt idx="315">
                    <c:v>Rolling Stdev (30 Minute)</c:v>
                  </c:pt>
                  <c:pt idx="316">
                    <c:v>Rolling Stdev (30 Minute)</c:v>
                  </c:pt>
                  <c:pt idx="317">
                    <c:v>Rolling Stdev (30 Minute)</c:v>
                  </c:pt>
                  <c:pt idx="318">
                    <c:v>Rolling Stdev (30 Minute)</c:v>
                  </c:pt>
                  <c:pt idx="319">
                    <c:v>Rolling Stdev (30 Minute)</c:v>
                  </c:pt>
                  <c:pt idx="320">
                    <c:v>Rolling Stdev (30 Minute)</c:v>
                  </c:pt>
                  <c:pt idx="321">
                    <c:v>Rolling Stdev (30 Minute)</c:v>
                  </c:pt>
                  <c:pt idx="322">
                    <c:v>Rolling Stdev (30 Minute)</c:v>
                  </c:pt>
                  <c:pt idx="323">
                    <c:v>Rolling Stdev (30 Minute)</c:v>
                  </c:pt>
                  <c:pt idx="324">
                    <c:v>Rolling Stdev (30 Minute)</c:v>
                  </c:pt>
                  <c:pt idx="325">
                    <c:v>Rolling Stdev (30 Minute)</c:v>
                  </c:pt>
                  <c:pt idx="326">
                    <c:v>Rolling Stdev (30 Minute)</c:v>
                  </c:pt>
                  <c:pt idx="327">
                    <c:v>Rolling Stdev (30 Minute)</c:v>
                  </c:pt>
                  <c:pt idx="328">
                    <c:v>Rolling Stdev (30 Minute)</c:v>
                  </c:pt>
                  <c:pt idx="329">
                    <c:v>Rolling Stdev (30 Minute)</c:v>
                  </c:pt>
                  <c:pt idx="330">
                    <c:v>Rolling Stdev (30 Minute)</c:v>
                  </c:pt>
                  <c:pt idx="331">
                    <c:v>Rolling Stdev (30 Minute)</c:v>
                  </c:pt>
                  <c:pt idx="332">
                    <c:v>Rolling Stdev (30 Minute)</c:v>
                  </c:pt>
                  <c:pt idx="333">
                    <c:v>Rolling Stdev (30 Minute)</c:v>
                  </c:pt>
                  <c:pt idx="334">
                    <c:v>Rolling Stdev (30 Minute)</c:v>
                  </c:pt>
                  <c:pt idx="335">
                    <c:v>Rolling Stdev (30 Minute)</c:v>
                  </c:pt>
                  <c:pt idx="336">
                    <c:v>Rolling Stdev (30 Minute)</c:v>
                  </c:pt>
                  <c:pt idx="337">
                    <c:v>Rolling Stdev (30 Minute)</c:v>
                  </c:pt>
                  <c:pt idx="338">
                    <c:v>Rolling Stdev (30 Minute)</c:v>
                  </c:pt>
                  <c:pt idx="339">
                    <c:v>Rolling Stdev (30 Minute)</c:v>
                  </c:pt>
                  <c:pt idx="340">
                    <c:v>Rolling Stdev (30 Minute)</c:v>
                  </c:pt>
                  <c:pt idx="341">
                    <c:v>Rolling Stdev (30 Minute)</c:v>
                  </c:pt>
                  <c:pt idx="342">
                    <c:v>Rolling Stdev (30 Minute)</c:v>
                  </c:pt>
                  <c:pt idx="343">
                    <c:v>Rolling Stdev (30 Minute)</c:v>
                  </c:pt>
                  <c:pt idx="344">
                    <c:v>Rolling Stdev (30 Minute)</c:v>
                  </c:pt>
                  <c:pt idx="345">
                    <c:v>Rolling Stdev (30 Minute)</c:v>
                  </c:pt>
                  <c:pt idx="346">
                    <c:v>Rolling Stdev (30 Minute)</c:v>
                  </c:pt>
                  <c:pt idx="347">
                    <c:v>Rolling Stdev (30 Minute)</c:v>
                  </c:pt>
                  <c:pt idx="348">
                    <c:v>Rolling Stdev (30 Minute)</c:v>
                  </c:pt>
                  <c:pt idx="349">
                    <c:v>Rolling Stdev (30 Minute)</c:v>
                  </c:pt>
                  <c:pt idx="350">
                    <c:v>Rolling Stdev (30 Minute)</c:v>
                  </c:pt>
                  <c:pt idx="351">
                    <c:v>Rolling Stdev (30 Minute)</c:v>
                  </c:pt>
                  <c:pt idx="352">
                    <c:v>Rolling Stdev (30 Minute)</c:v>
                  </c:pt>
                  <c:pt idx="353">
                    <c:v>Rolling Stdev (30 Minute)</c:v>
                  </c:pt>
                  <c:pt idx="354">
                    <c:v>Rolling Stdev (30 Minute)</c:v>
                  </c:pt>
                  <c:pt idx="355">
                    <c:v>Rolling Stdev (30 Minute)</c:v>
                  </c:pt>
                  <c:pt idx="356">
                    <c:v>Rolling Stdev (30 Minute)</c:v>
                  </c:pt>
                  <c:pt idx="357">
                    <c:v>Rolling Stdev (30 Minute)</c:v>
                  </c:pt>
                  <c:pt idx="358">
                    <c:v>Rolling Stdev (30 Minute)</c:v>
                  </c:pt>
                  <c:pt idx="359">
                    <c:v>Rolling Stdev (30 Minute)</c:v>
                  </c:pt>
                  <c:pt idx="360">
                    <c:v>Rolling Stdev (30 Minute)</c:v>
                  </c:pt>
                  <c:pt idx="361">
                    <c:v>Rolling Stdev (30 Minute)</c:v>
                  </c:pt>
                  <c:pt idx="362">
                    <c:v>Rolling Stdev (30 Minute)</c:v>
                  </c:pt>
                  <c:pt idx="363">
                    <c:v>Rolling Stdev (30 Minute)</c:v>
                  </c:pt>
                  <c:pt idx="364">
                    <c:v>Rolling Stdev (30 Minute)</c:v>
                  </c:pt>
                  <c:pt idx="365">
                    <c:v>Rolling Stdev (30 Minute)</c:v>
                  </c:pt>
                  <c:pt idx="366">
                    <c:v>Rolling Stdev (30 Minute)</c:v>
                  </c:pt>
                  <c:pt idx="367">
                    <c:v>Rolling Stdev (30 Minute)</c:v>
                  </c:pt>
                  <c:pt idx="368">
                    <c:v>Rolling Stdev (30 Minute)</c:v>
                  </c:pt>
                  <c:pt idx="369">
                    <c:v>Rolling Stdev (30 Minute)</c:v>
                  </c:pt>
                  <c:pt idx="370">
                    <c:v>Rolling Stdev (30 Minute)</c:v>
                  </c:pt>
                  <c:pt idx="371">
                    <c:v>Rolling Stdev (30 Minute)</c:v>
                  </c:pt>
                  <c:pt idx="372">
                    <c:v>Rolling Stdev (30 Minute)</c:v>
                  </c:pt>
                  <c:pt idx="373">
                    <c:v>Rolling Stdev (30 Minute)</c:v>
                  </c:pt>
                  <c:pt idx="374">
                    <c:v>Rolling Stdev (30 Minute)</c:v>
                  </c:pt>
                  <c:pt idx="375">
                    <c:v>Rolling Stdev (30 Minute)</c:v>
                  </c:pt>
                  <c:pt idx="376">
                    <c:v>Rolling Stdev (30 Minute)</c:v>
                  </c:pt>
                  <c:pt idx="377">
                    <c:v>Rolling Stdev (30 Minute)</c:v>
                  </c:pt>
                  <c:pt idx="378">
                    <c:v>Rolling Stdev (30 Minute)</c:v>
                  </c:pt>
                  <c:pt idx="379">
                    <c:v>Rolling Stdev (30 Minute)</c:v>
                  </c:pt>
                  <c:pt idx="380">
                    <c:v>Rolling Stdev (30 Minute)</c:v>
                  </c:pt>
                  <c:pt idx="381">
                    <c:v>Rolling Stdev (30 Minute)</c:v>
                  </c:pt>
                  <c:pt idx="382">
                    <c:v>Rolling Stdev (30 Minute)</c:v>
                  </c:pt>
                  <c:pt idx="383">
                    <c:v>Rolling Stdev (30 Minute)</c:v>
                  </c:pt>
                  <c:pt idx="384">
                    <c:v>Rolling Stdev (30 Minute)</c:v>
                  </c:pt>
                  <c:pt idx="385">
                    <c:v>Rolling Stdev (30 Minute)</c:v>
                  </c:pt>
                  <c:pt idx="386">
                    <c:v>Rolling Stdev (30 Minute)</c:v>
                  </c:pt>
                  <c:pt idx="387">
                    <c:v>Rolling Stdev (30 Minute)</c:v>
                  </c:pt>
                  <c:pt idx="388">
                    <c:v>Rolling Stdev (30 Minute)</c:v>
                  </c:pt>
                  <c:pt idx="389">
                    <c:v>Rolling Stdev (30 Minute)</c:v>
                  </c:pt>
                  <c:pt idx="390">
                    <c:v>Rolling Stdev (30 Minute)</c:v>
                  </c:pt>
                  <c:pt idx="391">
                    <c:v>Rolling Stdev (30 Minute)</c:v>
                  </c:pt>
                  <c:pt idx="392">
                    <c:v>Rolling Stdev (30 Minute)</c:v>
                  </c:pt>
                  <c:pt idx="393">
                    <c:v>Rolling Stdev (30 Minute)</c:v>
                  </c:pt>
                  <c:pt idx="394">
                    <c:v>Rolling Stdev (30 Minute)</c:v>
                  </c:pt>
                  <c:pt idx="395">
                    <c:v>Rolling Stdev (30 Minute)</c:v>
                  </c:pt>
                  <c:pt idx="396">
                    <c:v>Rolling Stdev (30 Minute)</c:v>
                  </c:pt>
                  <c:pt idx="397">
                    <c:v>Rolling Stdev (30 Minute)</c:v>
                  </c:pt>
                  <c:pt idx="398">
                    <c:v>Rolling Stdev (30 Minute)</c:v>
                  </c:pt>
                  <c:pt idx="399">
                    <c:v>Rolling Stdev (30 Minute)</c:v>
                  </c:pt>
                  <c:pt idx="400">
                    <c:v>Rolling Stdev (30 Minute)</c:v>
                  </c:pt>
                  <c:pt idx="401">
                    <c:v>Rolling Stdev (30 Minute)</c:v>
                  </c:pt>
                  <c:pt idx="402">
                    <c:v>Rolling Stdev (30 Minute)</c:v>
                  </c:pt>
                  <c:pt idx="403">
                    <c:v>Rolling Stdev (30 Minute)</c:v>
                  </c:pt>
                  <c:pt idx="404">
                    <c:v>Rolling Stdev (30 Minute)</c:v>
                  </c:pt>
                  <c:pt idx="405">
                    <c:v>Rolling Stdev (30 Minute)</c:v>
                  </c:pt>
                  <c:pt idx="406">
                    <c:v>Rolling Stdev (30 Minute)</c:v>
                  </c:pt>
                  <c:pt idx="407">
                    <c:v>Rolling Stdev (30 Minute)</c:v>
                  </c:pt>
                  <c:pt idx="408">
                    <c:v>Rolling Stdev (30 Minute)</c:v>
                  </c:pt>
                  <c:pt idx="409">
                    <c:v>Rolling Stdev (30 Minute)</c:v>
                  </c:pt>
                  <c:pt idx="410">
                    <c:v>Rolling Stdev (30 Minute)</c:v>
                  </c:pt>
                  <c:pt idx="411">
                    <c:v>Rolling Stdev (30 Minute)</c:v>
                  </c:pt>
                  <c:pt idx="412">
                    <c:v>Rolling Stdev (30 Minute)</c:v>
                  </c:pt>
                  <c:pt idx="413">
                    <c:v>Rolling Stdev (30 Minute)</c:v>
                  </c:pt>
                  <c:pt idx="414">
                    <c:v>Rolling Stdev (30 Minute)</c:v>
                  </c:pt>
                  <c:pt idx="415">
                    <c:v>Rolling Stdev (30 Minute)</c:v>
                  </c:pt>
                  <c:pt idx="416">
                    <c:v>Rolling Stdev (30 Minute)</c:v>
                  </c:pt>
                  <c:pt idx="417">
                    <c:v>Rolling Stdev (30 Minute)</c:v>
                  </c:pt>
                  <c:pt idx="418">
                    <c:v>Rolling Stdev (30 Minute)</c:v>
                  </c:pt>
                  <c:pt idx="419">
                    <c:v>Rolling Stdev (30 Minute)</c:v>
                  </c:pt>
                  <c:pt idx="420">
                    <c:v>Rolling Stdev (30 Minute)</c:v>
                  </c:pt>
                  <c:pt idx="421">
                    <c:v>Rolling Stdev (30 Minute)</c:v>
                  </c:pt>
                  <c:pt idx="422">
                    <c:v>Rolling Stdev (30 Minute)</c:v>
                  </c:pt>
                  <c:pt idx="423">
                    <c:v>Rolling Stdev (30 Minute)</c:v>
                  </c:pt>
                  <c:pt idx="424">
                    <c:v>Rolling Stdev (30 Minute)</c:v>
                  </c:pt>
                  <c:pt idx="425">
                    <c:v>Rolling Stdev (30 Minute)</c:v>
                  </c:pt>
                  <c:pt idx="426">
                    <c:v>Rolling Stdev (30 Minute)</c:v>
                  </c:pt>
                  <c:pt idx="427">
                    <c:v>Rolling Stdev (30 Minute)</c:v>
                  </c:pt>
                  <c:pt idx="428">
                    <c:v>Rolling Stdev (30 Minute)</c:v>
                  </c:pt>
                  <c:pt idx="429">
                    <c:v>Rolling Stdev (30 Minute)</c:v>
                  </c:pt>
                  <c:pt idx="430">
                    <c:v>Rolling Stdev (30 Minute)</c:v>
                  </c:pt>
                  <c:pt idx="431">
                    <c:v>Rolling Stdev (30 Minute)</c:v>
                  </c:pt>
                  <c:pt idx="432">
                    <c:v>Rolling Stdev (30 Minute)</c:v>
                  </c:pt>
                  <c:pt idx="433">
                    <c:v>Rolling Stdev (30 Minute)</c:v>
                  </c:pt>
                  <c:pt idx="434">
                    <c:v>Rolling Stdev (30 Minute)</c:v>
                  </c:pt>
                  <c:pt idx="435">
                    <c:v>Rolling Stdev (30 Minute)</c:v>
                  </c:pt>
                  <c:pt idx="436">
                    <c:v>Rolling Stdev (30 Minute)</c:v>
                  </c:pt>
                  <c:pt idx="437">
                    <c:v>Rolling Stdev (30 Minute)</c:v>
                  </c:pt>
                  <c:pt idx="438">
                    <c:v>Rolling Stdev (30 Minute)</c:v>
                  </c:pt>
                  <c:pt idx="439">
                    <c:v>Rolling Stdev (30 Minute)</c:v>
                  </c:pt>
                  <c:pt idx="440">
                    <c:v>Rolling Stdev (30 Minute)</c:v>
                  </c:pt>
                  <c:pt idx="441">
                    <c:v>Rolling Stdev (30 Minute)</c:v>
                  </c:pt>
                  <c:pt idx="442">
                    <c:v>Rolling Stdev (30 Minute)</c:v>
                  </c:pt>
                  <c:pt idx="443">
                    <c:v>Rolling Stdev (30 Minute)</c:v>
                  </c:pt>
                  <c:pt idx="444">
                    <c:v>Rolling Stdev (30 Minute)</c:v>
                  </c:pt>
                  <c:pt idx="445">
                    <c:v>Rolling Stdev (30 Minute)</c:v>
                  </c:pt>
                  <c:pt idx="446">
                    <c:v>Rolling Stdev (30 Minute)</c:v>
                  </c:pt>
                  <c:pt idx="447">
                    <c:v>Rolling Stdev (30 Minute)</c:v>
                  </c:pt>
                  <c:pt idx="448">
                    <c:v>Rolling Stdev (30 Minute)</c:v>
                  </c:pt>
                  <c:pt idx="449">
                    <c:v>Rolling Stdev (30 Minute)</c:v>
                  </c:pt>
                  <c:pt idx="450">
                    <c:v>Rolling Stdev (30 Minute)</c:v>
                  </c:pt>
                  <c:pt idx="451">
                    <c:v>Rolling Stdev (30 Minute)</c:v>
                  </c:pt>
                  <c:pt idx="452">
                    <c:v>Rolling Stdev (30 Minute)</c:v>
                  </c:pt>
                  <c:pt idx="453">
                    <c:v>Rolling Stdev (30 Minute)</c:v>
                  </c:pt>
                  <c:pt idx="454">
                    <c:v>Rolling Stdev (30 Minute)</c:v>
                  </c:pt>
                  <c:pt idx="455">
                    <c:v>Rolling Stdev (30 Minute)</c:v>
                  </c:pt>
                  <c:pt idx="456">
                    <c:v>Rolling Stdev (30 Minute)</c:v>
                  </c:pt>
                  <c:pt idx="457">
                    <c:v>Rolling Stdev (30 Minute)</c:v>
                  </c:pt>
                  <c:pt idx="458">
                    <c:v>Rolling Stdev (30 Minute)</c:v>
                  </c:pt>
                  <c:pt idx="459">
                    <c:v>Rolling Stdev (30 Minute)</c:v>
                  </c:pt>
                  <c:pt idx="460">
                    <c:v>Rolling Stdev (30 Minute)</c:v>
                  </c:pt>
                  <c:pt idx="461">
                    <c:v>Rolling Stdev (30 Minute)</c:v>
                  </c:pt>
                  <c:pt idx="462">
                    <c:v>Rolling Stdev (30 Minute)</c:v>
                  </c:pt>
                  <c:pt idx="463">
                    <c:v>Rolling Stdev (30 Minute)</c:v>
                  </c:pt>
                  <c:pt idx="464">
                    <c:v>Rolling Stdev (30 Minute)</c:v>
                  </c:pt>
                  <c:pt idx="465">
                    <c:v>Rolling Stdev (30 Minute)</c:v>
                  </c:pt>
                  <c:pt idx="466">
                    <c:v>Rolling Stdev (30 Minute)</c:v>
                  </c:pt>
                  <c:pt idx="467">
                    <c:v>Rolling Stdev (30 Minute)</c:v>
                  </c:pt>
                  <c:pt idx="468">
                    <c:v>Rolling Stdev (30 Minute)</c:v>
                  </c:pt>
                  <c:pt idx="469">
                    <c:v>Rolling Stdev (30 Minute)</c:v>
                  </c:pt>
                  <c:pt idx="470">
                    <c:v>Rolling Stdev (30 Minute)</c:v>
                  </c:pt>
                  <c:pt idx="471">
                    <c:v>Rolling Stdev (30 Minute)</c:v>
                  </c:pt>
                  <c:pt idx="472">
                    <c:v>Rolling Stdev (30 Minute)</c:v>
                  </c:pt>
                  <c:pt idx="473">
                    <c:v>Rolling Stdev (30 Minute)</c:v>
                  </c:pt>
                  <c:pt idx="474">
                    <c:v>Rolling Stdev (30 Minute)</c:v>
                  </c:pt>
                  <c:pt idx="475">
                    <c:v>Rolling Stdev (30 Minute)</c:v>
                  </c:pt>
                  <c:pt idx="476">
                    <c:v>Rolling Stdev (30 Minute)</c:v>
                  </c:pt>
                  <c:pt idx="477">
                    <c:v>Rolling Stdev (30 Minute)</c:v>
                  </c:pt>
                  <c:pt idx="478">
                    <c:v>Rolling Stdev (30 Minute)</c:v>
                  </c:pt>
                  <c:pt idx="479">
                    <c:v>Rolling Stdev (30 Minute)</c:v>
                  </c:pt>
                  <c:pt idx="480">
                    <c:v>Rolling Stdev (30 Minute)</c:v>
                  </c:pt>
                  <c:pt idx="481">
                    <c:v>Rolling Stdev (30 Minute)</c:v>
                  </c:pt>
                  <c:pt idx="482">
                    <c:v>Rolling Stdev (30 Minute)</c:v>
                  </c:pt>
                  <c:pt idx="483">
                    <c:v>Rolling Stdev (30 Minute)</c:v>
                  </c:pt>
                  <c:pt idx="484">
                    <c:v>Rolling Stdev (30 Minute)</c:v>
                  </c:pt>
                  <c:pt idx="485">
                    <c:v>Rolling Stdev (30 Minute)</c:v>
                  </c:pt>
                  <c:pt idx="486">
                    <c:v>Rolling Stdev (30 Minute)</c:v>
                  </c:pt>
                  <c:pt idx="487">
                    <c:v>Rolling Stdev (30 Minute)</c:v>
                  </c:pt>
                  <c:pt idx="488">
                    <c:v>Rolling Stdev (30 Minute)</c:v>
                  </c:pt>
                  <c:pt idx="489">
                    <c:v>Rolling Stdev (30 Minute)</c:v>
                  </c:pt>
                  <c:pt idx="490">
                    <c:v>Rolling Stdev (30 Minute)</c:v>
                  </c:pt>
                  <c:pt idx="491">
                    <c:v>Rolling Stdev (30 Minute)</c:v>
                  </c:pt>
                  <c:pt idx="492">
                    <c:v>Rolling Stdev (30 Minute)</c:v>
                  </c:pt>
                  <c:pt idx="493">
                    <c:v>Rolling Stdev (30 Minute)</c:v>
                  </c:pt>
                  <c:pt idx="494">
                    <c:v>Rolling Stdev (30 Minute)</c:v>
                  </c:pt>
                  <c:pt idx="495">
                    <c:v>Rolling Stdev (30 Minute)</c:v>
                  </c:pt>
                  <c:pt idx="496">
                    <c:v>Rolling Stdev (30 Minute)</c:v>
                  </c:pt>
                  <c:pt idx="497">
                    <c:v>Rolling Stdev (30 Minute)</c:v>
                  </c:pt>
                  <c:pt idx="498">
                    <c:v>Rolling Stdev (30 Minute)</c:v>
                  </c:pt>
                  <c:pt idx="499">
                    <c:v>Rolling Stdev (30 Minute)</c:v>
                  </c:pt>
                  <c:pt idx="500">
                    <c:v>Rolling Stdev (30 Minute)</c:v>
                  </c:pt>
                  <c:pt idx="501">
                    <c:v>Rolling Stdev (30 Minute)</c:v>
                  </c:pt>
                  <c:pt idx="502">
                    <c:v>Rolling Stdev (30 Minute)</c:v>
                  </c:pt>
                  <c:pt idx="503">
                    <c:v>Rolling Stdev (30 Minute)</c:v>
                  </c:pt>
                  <c:pt idx="504">
                    <c:v>Rolling Stdev (30 Minute)</c:v>
                  </c:pt>
                  <c:pt idx="505">
                    <c:v>Rolling Stdev (30 Minute)</c:v>
                  </c:pt>
                  <c:pt idx="506">
                    <c:v>Rolling Stdev (30 Minute)</c:v>
                  </c:pt>
                  <c:pt idx="507">
                    <c:v>Rolling Stdev (30 Minute)</c:v>
                  </c:pt>
                  <c:pt idx="508">
                    <c:v>Rolling Stdev (30 Minute)</c:v>
                  </c:pt>
                  <c:pt idx="509">
                    <c:v>Rolling Stdev (30 Minute)</c:v>
                  </c:pt>
                  <c:pt idx="510">
                    <c:v>Rolling Stdev (30 Minute)</c:v>
                  </c:pt>
                  <c:pt idx="511">
                    <c:v>Rolling Stdev (30 Minute)</c:v>
                  </c:pt>
                  <c:pt idx="512">
                    <c:v>Rolling Stdev (30 Minute)</c:v>
                  </c:pt>
                  <c:pt idx="513">
                    <c:v>Rolling Stdev (30 Minute)</c:v>
                  </c:pt>
                  <c:pt idx="514">
                    <c:v>Rolling Stdev (30 Minute)</c:v>
                  </c:pt>
                  <c:pt idx="515">
                    <c:v>Rolling Stdev (30 Minute)</c:v>
                  </c:pt>
                  <c:pt idx="516">
                    <c:v>Rolling Stdev (30 Minute)</c:v>
                  </c:pt>
                  <c:pt idx="517">
                    <c:v>Rolling Stdev (30 Minute)</c:v>
                  </c:pt>
                  <c:pt idx="518">
                    <c:v>Rolling Stdev (30 Minute)</c:v>
                  </c:pt>
                  <c:pt idx="519">
                    <c:v>Rolling Stdev (30 Minute)</c:v>
                  </c:pt>
                  <c:pt idx="520">
                    <c:v>Rolling Stdev (30 Minute)</c:v>
                  </c:pt>
                  <c:pt idx="521">
                    <c:v>Rolling Stdev (30 Minute)</c:v>
                  </c:pt>
                  <c:pt idx="522">
                    <c:v>Rolling Stdev (30 Minute)</c:v>
                  </c:pt>
                  <c:pt idx="523">
                    <c:v>Rolling Stdev (30 Minute)</c:v>
                  </c:pt>
                  <c:pt idx="524">
                    <c:v>Rolling Stdev (30 Minute)</c:v>
                  </c:pt>
                  <c:pt idx="525">
                    <c:v>Rolling Stdev (30 Minute)</c:v>
                  </c:pt>
                  <c:pt idx="526">
                    <c:v>Rolling Stdev (30 Minute)</c:v>
                  </c:pt>
                  <c:pt idx="527">
                    <c:v>Rolling Stdev (30 Minute)</c:v>
                  </c:pt>
                  <c:pt idx="528">
                    <c:v>Rolling Stdev (30 Minute)</c:v>
                  </c:pt>
                  <c:pt idx="529">
                    <c:v>Rolling Stdev (30 Minute)</c:v>
                  </c:pt>
                  <c:pt idx="530">
                    <c:v>Rolling Stdev (30 Minute)</c:v>
                  </c:pt>
                  <c:pt idx="531">
                    <c:v>Rolling Stdev (30 Minute)</c:v>
                  </c:pt>
                  <c:pt idx="532">
                    <c:v>Rolling Stdev (30 Minute)</c:v>
                  </c:pt>
                  <c:pt idx="533">
                    <c:v>Rolling Stdev (30 Minute)</c:v>
                  </c:pt>
                  <c:pt idx="534">
                    <c:v>Rolling Stdev (30 Minute)</c:v>
                  </c:pt>
                  <c:pt idx="535">
                    <c:v>Rolling Stdev (30 Minute)</c:v>
                  </c:pt>
                  <c:pt idx="536">
                    <c:v>Rolling Stdev (30 Minute)</c:v>
                  </c:pt>
                  <c:pt idx="537">
                    <c:v>Rolling Stdev (30 Minute)</c:v>
                  </c:pt>
                  <c:pt idx="538">
                    <c:v>Rolling Stdev (30 Minute)</c:v>
                  </c:pt>
                  <c:pt idx="539">
                    <c:v>Rolling Stdev (30 Minute)</c:v>
                  </c:pt>
                  <c:pt idx="540">
                    <c:v>Rolling Stdev (30 Minute)</c:v>
                  </c:pt>
                  <c:pt idx="541">
                    <c:v>Rolling Stdev (30 Minute)</c:v>
                  </c:pt>
                  <c:pt idx="542">
                    <c:v>Rolling Stdev (30 Minute)</c:v>
                  </c:pt>
                  <c:pt idx="543">
                    <c:v>Rolling Stdev (30 Minute)</c:v>
                  </c:pt>
                  <c:pt idx="544">
                    <c:v>Rolling Stdev (30 Minute)</c:v>
                  </c:pt>
                  <c:pt idx="545">
                    <c:v>Rolling Stdev (30 Minute)</c:v>
                  </c:pt>
                  <c:pt idx="546">
                    <c:v>Rolling Stdev (30 Minute)</c:v>
                  </c:pt>
                  <c:pt idx="547">
                    <c:v>Rolling Stdev (30 Minute)</c:v>
                  </c:pt>
                  <c:pt idx="548">
                    <c:v>Rolling Stdev (30 Minute)</c:v>
                  </c:pt>
                  <c:pt idx="549">
                    <c:v>Rolling Stdev (30 Minute)</c:v>
                  </c:pt>
                  <c:pt idx="550">
                    <c:v>Rolling Stdev (30 Minute)</c:v>
                  </c:pt>
                  <c:pt idx="551">
                    <c:v>Rolling Stdev (30 Minute)</c:v>
                  </c:pt>
                  <c:pt idx="552">
                    <c:v>Rolling Stdev (30 Minute)</c:v>
                  </c:pt>
                  <c:pt idx="553">
                    <c:v>Rolling Stdev (30 Minute)</c:v>
                  </c:pt>
                  <c:pt idx="554">
                    <c:v>Rolling Stdev (30 Minute)</c:v>
                  </c:pt>
                  <c:pt idx="555">
                    <c:v>Rolling Stdev (30 Minute)</c:v>
                  </c:pt>
                  <c:pt idx="556">
                    <c:v>Rolling Stdev (30 Minute)</c:v>
                  </c:pt>
                  <c:pt idx="557">
                    <c:v>Rolling Stdev (30 Minute)</c:v>
                  </c:pt>
                  <c:pt idx="558">
                    <c:v>Rolling Stdev (30 Minute)</c:v>
                  </c:pt>
                  <c:pt idx="559">
                    <c:v>Rolling Stdev (30 Minute)</c:v>
                  </c:pt>
                  <c:pt idx="560">
                    <c:v>Rolling Stdev (30 Minute)</c:v>
                  </c:pt>
                  <c:pt idx="561">
                    <c:v>Rolling Stdev (30 Minute)</c:v>
                  </c:pt>
                  <c:pt idx="562">
                    <c:v>Rolling Stdev (30 Minute)</c:v>
                  </c:pt>
                  <c:pt idx="563">
                    <c:v>Rolling Stdev (30 Minute)</c:v>
                  </c:pt>
                  <c:pt idx="564">
                    <c:v>Rolling Stdev (30 Minute)</c:v>
                  </c:pt>
                  <c:pt idx="565">
                    <c:v>Rolling Stdev (30 Minute)</c:v>
                  </c:pt>
                  <c:pt idx="566">
                    <c:v>Rolling Stdev (30 Minute)</c:v>
                  </c:pt>
                  <c:pt idx="567">
                    <c:v>Rolling Stdev (30 Minute)</c:v>
                  </c:pt>
                  <c:pt idx="568">
                    <c:v>Rolling Stdev (30 Minute)</c:v>
                  </c:pt>
                  <c:pt idx="569">
                    <c:v>Rolling Stdev (30 Minute)</c:v>
                  </c:pt>
                  <c:pt idx="570">
                    <c:v>Rolling Stdev (30 Minute)</c:v>
                  </c:pt>
                  <c:pt idx="571">
                    <c:v>Rolling Stdev (30 Minute)</c:v>
                  </c:pt>
                  <c:pt idx="572">
                    <c:v>Rolling Stdev (30 Minute)</c:v>
                  </c:pt>
                  <c:pt idx="573">
                    <c:v>Rolling Stdev (30 Minute)</c:v>
                  </c:pt>
                  <c:pt idx="574">
                    <c:v>Rolling Stdev (30 Minute)</c:v>
                  </c:pt>
                  <c:pt idx="575">
                    <c:v>Rolling Stdev (30 Minute)</c:v>
                  </c:pt>
                  <c:pt idx="576">
                    <c:v>Rolling Stdev (30 Minute)</c:v>
                  </c:pt>
                  <c:pt idx="577">
                    <c:v>Rolling Stdev (30 Minute)</c:v>
                  </c:pt>
                  <c:pt idx="578">
                    <c:v>Rolling Stdev (30 Minute)</c:v>
                  </c:pt>
                  <c:pt idx="579">
                    <c:v>Rolling Stdev (30 Minute)</c:v>
                  </c:pt>
                  <c:pt idx="580">
                    <c:v>Rolling Stdev (30 Minute)</c:v>
                  </c:pt>
                  <c:pt idx="581">
                    <c:v>Rolling Stdev (30 Minute)</c:v>
                  </c:pt>
                  <c:pt idx="582">
                    <c:v>Rolling Stdev (30 Minute)</c:v>
                  </c:pt>
                  <c:pt idx="583">
                    <c:v>Rolling Stdev (30 Minute)</c:v>
                  </c:pt>
                  <c:pt idx="584">
                    <c:v>Rolling Stdev (30 Minute)</c:v>
                  </c:pt>
                  <c:pt idx="585">
                    <c:v>Rolling Stdev (30 Minute)</c:v>
                  </c:pt>
                  <c:pt idx="586">
                    <c:v>Rolling Stdev (30 Minute)</c:v>
                  </c:pt>
                  <c:pt idx="587">
                    <c:v>Rolling Stdev (30 Minute)</c:v>
                  </c:pt>
                  <c:pt idx="588">
                    <c:v>Rolling Stdev (30 Minute)</c:v>
                  </c:pt>
                  <c:pt idx="589">
                    <c:v>Rolling Stdev (30 Minute)</c:v>
                  </c:pt>
                  <c:pt idx="590">
                    <c:v>Rolling Stdev (30 Minute)</c:v>
                  </c:pt>
                  <c:pt idx="591">
                    <c:v>Rolling Stdev (30 Minute)</c:v>
                  </c:pt>
                  <c:pt idx="592">
                    <c:v>Rolling Stdev (30 Minute)</c:v>
                  </c:pt>
                  <c:pt idx="593">
                    <c:v>Rolling Stdev (30 Minute)</c:v>
                  </c:pt>
                  <c:pt idx="594">
                    <c:v>Rolling Stdev (30 Minute)</c:v>
                  </c:pt>
                  <c:pt idx="595">
                    <c:v>Rolling Stdev (30 Minute)</c:v>
                  </c:pt>
                  <c:pt idx="596">
                    <c:v>Rolling Stdev (30 Minute)</c:v>
                  </c:pt>
                  <c:pt idx="597">
                    <c:v>Rolling Stdev (30 Minute)</c:v>
                  </c:pt>
                  <c:pt idx="598">
                    <c:v>Rolling Stdev (30 Minute)</c:v>
                  </c:pt>
                  <c:pt idx="599">
                    <c:v>Rolling Stdev (30 Minute)</c:v>
                  </c:pt>
                  <c:pt idx="600">
                    <c:v>Rolling Stdev (30 Minute)</c:v>
                  </c:pt>
                  <c:pt idx="601">
                    <c:v>Rolling Stdev (30 Minute)</c:v>
                  </c:pt>
                  <c:pt idx="602">
                    <c:v>Rolling Stdev (30 Minute)</c:v>
                  </c:pt>
                  <c:pt idx="603">
                    <c:v>Rolling Stdev (30 Minute)</c:v>
                  </c:pt>
                  <c:pt idx="604">
                    <c:v>Rolling Stdev (30 Minute)</c:v>
                  </c:pt>
                  <c:pt idx="605">
                    <c:v>Rolling Stdev (30 Minute)</c:v>
                  </c:pt>
                  <c:pt idx="606">
                    <c:v>Rolling Stdev (30 Minute)</c:v>
                  </c:pt>
                  <c:pt idx="607">
                    <c:v>Rolling Stdev (30 Minute)</c:v>
                  </c:pt>
                  <c:pt idx="608">
                    <c:v>Rolling Stdev (30 Minute)</c:v>
                  </c:pt>
                  <c:pt idx="609">
                    <c:v>Rolling Stdev (30 Minute)</c:v>
                  </c:pt>
                  <c:pt idx="610">
                    <c:v>Rolling Stdev (30 Minute)</c:v>
                  </c:pt>
                  <c:pt idx="611">
                    <c:v>Rolling Stdev (30 Minute)</c:v>
                  </c:pt>
                  <c:pt idx="612">
                    <c:v>Rolling Stdev (30 Minute)</c:v>
                  </c:pt>
                  <c:pt idx="613">
                    <c:v>Rolling Stdev (30 Minute)</c:v>
                  </c:pt>
                  <c:pt idx="614">
                    <c:v>Rolling Stdev (30 Minute)</c:v>
                  </c:pt>
                  <c:pt idx="615">
                    <c:v>Rolling Stdev (30 Minute)</c:v>
                  </c:pt>
                  <c:pt idx="616">
                    <c:v>Rolling Stdev (30 Minute)</c:v>
                  </c:pt>
                  <c:pt idx="617">
                    <c:v>Rolling Stdev (30 Minute)</c:v>
                  </c:pt>
                  <c:pt idx="618">
                    <c:v>Rolling Stdev (30 Minute)</c:v>
                  </c:pt>
                  <c:pt idx="619">
                    <c:v>Rolling Stdev (30 Minute)</c:v>
                  </c:pt>
                  <c:pt idx="620">
                    <c:v>Rolling Stdev (30 Minute)</c:v>
                  </c:pt>
                  <c:pt idx="621">
                    <c:v>Rolling Stdev (30 Minute)</c:v>
                  </c:pt>
                  <c:pt idx="622">
                    <c:v>Rolling Stdev (30 Minute)</c:v>
                  </c:pt>
                  <c:pt idx="623">
                    <c:v>Rolling Stdev (30 Minute)</c:v>
                  </c:pt>
                  <c:pt idx="624">
                    <c:v>Rolling Stdev (30 Minute)</c:v>
                  </c:pt>
                  <c:pt idx="625">
                    <c:v>Rolling Stdev (30 Minute)</c:v>
                  </c:pt>
                  <c:pt idx="626">
                    <c:v>Rolling Stdev (30 Minute)</c:v>
                  </c:pt>
                  <c:pt idx="627">
                    <c:v>Rolling Stdev (30 Minute)</c:v>
                  </c:pt>
                  <c:pt idx="628">
                    <c:v>Rolling Stdev (30 Minute)</c:v>
                  </c:pt>
                  <c:pt idx="629">
                    <c:v>Rolling Stdev (30 Minute)</c:v>
                  </c:pt>
                  <c:pt idx="630">
                    <c:v>Rolling Stdev (30 Minute)</c:v>
                  </c:pt>
                  <c:pt idx="631">
                    <c:v>Rolling Stdev (30 Minute)</c:v>
                  </c:pt>
                  <c:pt idx="632">
                    <c:v>Rolling Stdev (30 Minute)</c:v>
                  </c:pt>
                  <c:pt idx="633">
                    <c:v>Rolling Stdev (30 Minute)</c:v>
                  </c:pt>
                  <c:pt idx="634">
                    <c:v>Rolling Stdev (30 Minute)</c:v>
                  </c:pt>
                  <c:pt idx="635">
                    <c:v>Rolling Stdev (30 Minute)</c:v>
                  </c:pt>
                  <c:pt idx="636">
                    <c:v>Rolling Stdev (30 Minute)</c:v>
                  </c:pt>
                  <c:pt idx="637">
                    <c:v>Rolling Stdev (30 Minute)</c:v>
                  </c:pt>
                  <c:pt idx="638">
                    <c:v>Rolling Stdev (30 Minute)</c:v>
                  </c:pt>
                  <c:pt idx="639">
                    <c:v>Rolling Stdev (30 Minute)</c:v>
                  </c:pt>
                  <c:pt idx="640">
                    <c:v>Rolling Stdev (30 Minute)</c:v>
                  </c:pt>
                  <c:pt idx="641">
                    <c:v>Rolling Stdev (30 Minute)</c:v>
                  </c:pt>
                  <c:pt idx="642">
                    <c:v>Rolling Stdev (30 Minute)</c:v>
                  </c:pt>
                  <c:pt idx="643">
                    <c:v>Rolling Stdev (30 Minute)</c:v>
                  </c:pt>
                  <c:pt idx="644">
                    <c:v>Rolling Stdev (30 Minute)</c:v>
                  </c:pt>
                  <c:pt idx="645">
                    <c:v>Rolling Stdev (30 Minute)</c:v>
                  </c:pt>
                  <c:pt idx="646">
                    <c:v>Rolling Stdev (30 Minute)</c:v>
                  </c:pt>
                  <c:pt idx="647">
                    <c:v>Rolling Stdev (30 Minute)</c:v>
                  </c:pt>
                  <c:pt idx="648">
                    <c:v>Rolling Stdev (30 Minute)</c:v>
                  </c:pt>
                  <c:pt idx="649">
                    <c:v>Rolling Stdev (30 Minute)</c:v>
                  </c:pt>
                  <c:pt idx="650">
                    <c:v>Rolling Stdev (30 Minute)</c:v>
                  </c:pt>
                  <c:pt idx="651">
                    <c:v>Rolling Stdev (30 Minute)</c:v>
                  </c:pt>
                  <c:pt idx="652">
                    <c:v>Rolling Stdev (30 Minute)</c:v>
                  </c:pt>
                  <c:pt idx="653">
                    <c:v>Rolling Stdev (30 Minute)</c:v>
                  </c:pt>
                  <c:pt idx="654">
                    <c:v>Rolling Stdev (30 Minute)</c:v>
                  </c:pt>
                  <c:pt idx="655">
                    <c:v>Rolling Stdev (30 Minute)</c:v>
                  </c:pt>
                  <c:pt idx="656">
                    <c:v>Rolling Stdev (30 Minute)</c:v>
                  </c:pt>
                  <c:pt idx="657">
                    <c:v>Rolling Stdev (30 Minute)</c:v>
                  </c:pt>
                  <c:pt idx="658">
                    <c:v>Rolling Stdev (30 Minute)</c:v>
                  </c:pt>
                  <c:pt idx="659">
                    <c:v>Rolling Stdev (30 Minute)</c:v>
                  </c:pt>
                  <c:pt idx="660">
                    <c:v>Rolling Stdev (30 Minute)</c:v>
                  </c:pt>
                  <c:pt idx="661">
                    <c:v>Rolling Stdev (30 Minute)</c:v>
                  </c:pt>
                  <c:pt idx="662">
                    <c:v>Rolling Stdev (30 Minute)</c:v>
                  </c:pt>
                  <c:pt idx="663">
                    <c:v>Rolling Stdev (30 Minute)</c:v>
                  </c:pt>
                  <c:pt idx="664">
                    <c:v>Rolling Stdev (30 Minute)</c:v>
                  </c:pt>
                  <c:pt idx="665">
                    <c:v>Rolling Stdev (30 Minute)</c:v>
                  </c:pt>
                  <c:pt idx="666">
                    <c:v>Rolling Stdev (30 Minute)</c:v>
                  </c:pt>
                  <c:pt idx="667">
                    <c:v>Rolling Stdev (30 Minute)</c:v>
                  </c:pt>
                  <c:pt idx="668">
                    <c:v>Rolling Stdev (30 Minute)</c:v>
                  </c:pt>
                  <c:pt idx="669">
                    <c:v>Rolling Stdev (30 Minute)</c:v>
                  </c:pt>
                  <c:pt idx="670">
                    <c:v>Rolling Stdev (30 Minute)</c:v>
                  </c:pt>
                  <c:pt idx="671">
                    <c:v>Rolling Stdev (30 Minute)</c:v>
                  </c:pt>
                  <c:pt idx="672">
                    <c:v>Rolling Stdev (30 Minute)</c:v>
                  </c:pt>
                  <c:pt idx="673">
                    <c:v>Rolling Stdev (30 Minute)</c:v>
                  </c:pt>
                  <c:pt idx="674">
                    <c:v>Rolling Stdev (30 Minute)</c:v>
                  </c:pt>
                  <c:pt idx="675">
                    <c:v>Rolling Stdev (30 Minute)</c:v>
                  </c:pt>
                  <c:pt idx="676">
                    <c:v>Rolling Stdev (30 Minute)</c:v>
                  </c:pt>
                  <c:pt idx="677">
                    <c:v>Rolling Stdev (30 Minute)</c:v>
                  </c:pt>
                  <c:pt idx="678">
                    <c:v>Rolling Stdev (30 Minute)</c:v>
                  </c:pt>
                  <c:pt idx="679">
                    <c:v>Rolling Stdev (30 Minute)</c:v>
                  </c:pt>
                  <c:pt idx="680">
                    <c:v>Rolling Stdev (30 Minute)</c:v>
                  </c:pt>
                  <c:pt idx="681">
                    <c:v>Rolling Stdev (30 Minute)</c:v>
                  </c:pt>
                  <c:pt idx="682">
                    <c:v>Rolling Stdev (30 Minute)</c:v>
                  </c:pt>
                  <c:pt idx="683">
                    <c:v>Rolling Stdev (30 Minute)</c:v>
                  </c:pt>
                  <c:pt idx="684">
                    <c:v>Rolling Stdev (30 Minute)</c:v>
                  </c:pt>
                  <c:pt idx="685">
                    <c:v>Rolling Stdev (30 Minute)</c:v>
                  </c:pt>
                  <c:pt idx="686">
                    <c:v>Rolling Stdev (30 Minute)</c:v>
                  </c:pt>
                  <c:pt idx="687">
                    <c:v>Rolling Stdev (30 Minute)</c:v>
                  </c:pt>
                  <c:pt idx="688">
                    <c:v>Rolling Stdev (30 Minute)</c:v>
                  </c:pt>
                  <c:pt idx="689">
                    <c:v>Rolling Stdev (30 Minute)</c:v>
                  </c:pt>
                  <c:pt idx="690">
                    <c:v>Rolling Stdev (30 Minute)</c:v>
                  </c:pt>
                  <c:pt idx="691">
                    <c:v>Rolling Stdev (30 Minute)</c:v>
                  </c:pt>
                  <c:pt idx="692">
                    <c:v>Rolling Stdev (30 Minute)</c:v>
                  </c:pt>
                  <c:pt idx="693">
                    <c:v>Rolling Stdev (30 Minute)</c:v>
                  </c:pt>
                  <c:pt idx="694">
                    <c:v>Rolling Stdev (30 Minute)</c:v>
                  </c:pt>
                  <c:pt idx="695">
                    <c:v>Rolling Stdev (30 Minute)</c:v>
                  </c:pt>
                  <c:pt idx="696">
                    <c:v>Rolling Stdev (30 Minute)</c:v>
                  </c:pt>
                  <c:pt idx="697">
                    <c:v>Rolling Stdev (30 Minute)</c:v>
                  </c:pt>
                  <c:pt idx="698">
                    <c:v>Rolling Stdev (30 Minute)</c:v>
                  </c:pt>
                  <c:pt idx="699">
                    <c:v>Rolling Stdev (30 Minute)</c:v>
                  </c:pt>
                  <c:pt idx="700">
                    <c:v>Rolling Stdev (30 Minute)</c:v>
                  </c:pt>
                  <c:pt idx="701">
                    <c:v>Rolling Stdev (30 Minute)</c:v>
                  </c:pt>
                  <c:pt idx="702">
                    <c:v>Rolling Stdev (30 Minute)</c:v>
                  </c:pt>
                  <c:pt idx="703">
                    <c:v>Rolling Stdev (30 Minute)</c:v>
                  </c:pt>
                  <c:pt idx="704">
                    <c:v>Rolling Stdev (30 Minute)</c:v>
                  </c:pt>
                  <c:pt idx="705">
                    <c:v>Rolling Stdev (30 Minute)</c:v>
                  </c:pt>
                  <c:pt idx="706">
                    <c:v>Rolling Stdev (30 Minute)</c:v>
                  </c:pt>
                  <c:pt idx="707">
                    <c:v>Rolling Stdev (30 Minute)</c:v>
                  </c:pt>
                  <c:pt idx="708">
                    <c:v>Rolling Stdev (30 Minute)</c:v>
                  </c:pt>
                  <c:pt idx="709">
                    <c:v>Rolling Stdev (30 Minute)</c:v>
                  </c:pt>
                  <c:pt idx="710">
                    <c:v>Rolling Stdev (30 Minute)</c:v>
                  </c:pt>
                  <c:pt idx="711">
                    <c:v>Rolling Stdev (30 Minute)</c:v>
                  </c:pt>
                  <c:pt idx="712">
                    <c:v>Rolling Stdev (30 Minute)</c:v>
                  </c:pt>
                  <c:pt idx="713">
                    <c:v>Rolling Stdev (30 Minute)</c:v>
                  </c:pt>
                  <c:pt idx="714">
                    <c:v>Rolling Stdev (30 Minute)</c:v>
                  </c:pt>
                  <c:pt idx="715">
                    <c:v>Rolling Stdev (30 Minute)</c:v>
                  </c:pt>
                  <c:pt idx="716">
                    <c:v>Rolling Stdev (30 Minute)</c:v>
                  </c:pt>
                  <c:pt idx="717">
                    <c:v>Rolling Stdev (30 Minute)</c:v>
                  </c:pt>
                  <c:pt idx="718">
                    <c:v>Rolling Stdev (30 Minute)</c:v>
                  </c:pt>
                  <c:pt idx="719">
                    <c:v>Rolling Stdev (30 Minute)</c:v>
                  </c:pt>
                  <c:pt idx="720">
                    <c:v>Rolling Stdev (30 Minute)</c:v>
                  </c:pt>
                  <c:pt idx="721">
                    <c:v>Rolling Stdev (30 Minute)</c:v>
                  </c:pt>
                  <c:pt idx="722">
                    <c:v>Rolling Stdev (30 Minute)</c:v>
                  </c:pt>
                  <c:pt idx="723">
                    <c:v>Rolling Stdev (30 Minute)</c:v>
                  </c:pt>
                  <c:pt idx="724">
                    <c:v>Rolling Stdev (30 Minute)</c:v>
                  </c:pt>
                  <c:pt idx="725">
                    <c:v>Rolling Stdev (30 Minute)</c:v>
                  </c:pt>
                  <c:pt idx="726">
                    <c:v>Rolling Stdev (30 Minute)</c:v>
                  </c:pt>
                  <c:pt idx="727">
                    <c:v>Rolling Stdev (30 Minute)</c:v>
                  </c:pt>
                  <c:pt idx="728">
                    <c:v>Rolling Stdev (30 Minute)</c:v>
                  </c:pt>
                  <c:pt idx="729">
                    <c:v>Rolling Stdev (30 Minute)</c:v>
                  </c:pt>
                  <c:pt idx="730">
                    <c:v>Rolling Stdev (30 Minute)</c:v>
                  </c:pt>
                  <c:pt idx="731">
                    <c:v>Rolling Stdev (30 Minute)</c:v>
                  </c:pt>
                  <c:pt idx="732">
                    <c:v>Rolling Stdev (30 Minute)</c:v>
                  </c:pt>
                  <c:pt idx="733">
                    <c:v>Rolling Stdev (30 Minute)</c:v>
                  </c:pt>
                  <c:pt idx="734">
                    <c:v>Rolling Stdev (30 Minute)</c:v>
                  </c:pt>
                  <c:pt idx="735">
                    <c:v>Rolling Stdev (30 Minute)</c:v>
                  </c:pt>
                  <c:pt idx="736">
                    <c:v>Rolling Stdev (30 Minute)</c:v>
                  </c:pt>
                  <c:pt idx="737">
                    <c:v>Rolling Stdev (30 Minute)</c:v>
                  </c:pt>
                  <c:pt idx="738">
                    <c:v>Rolling Stdev (30 Minute)</c:v>
                  </c:pt>
                  <c:pt idx="739">
                    <c:v>Rolling Stdev (30 Minute)</c:v>
                  </c:pt>
                  <c:pt idx="740">
                    <c:v>Rolling Stdev (30 Minute)</c:v>
                  </c:pt>
                  <c:pt idx="741">
                    <c:v>Rolling Stdev (30 Minute)</c:v>
                  </c:pt>
                  <c:pt idx="742">
                    <c:v>Rolling Stdev (30 Minute)</c:v>
                  </c:pt>
                  <c:pt idx="743">
                    <c:v>Rolling Stdev (30 Minute)</c:v>
                  </c:pt>
                  <c:pt idx="744">
                    <c:v>Rolling Stdev (30 Minute)</c:v>
                  </c:pt>
                  <c:pt idx="745">
                    <c:v>Rolling Stdev (30 Minute)</c:v>
                  </c:pt>
                  <c:pt idx="746">
                    <c:v>Rolling Stdev (30 Minute)</c:v>
                  </c:pt>
                  <c:pt idx="747">
                    <c:v>Rolling Stdev (30 Minute)</c:v>
                  </c:pt>
                  <c:pt idx="748">
                    <c:v>Rolling Stdev (30 Minute)</c:v>
                  </c:pt>
                  <c:pt idx="749">
                    <c:v>Rolling Stdev (30 Minute)</c:v>
                  </c:pt>
                  <c:pt idx="750">
                    <c:v>Rolling Stdev (30 Minute)</c:v>
                  </c:pt>
                  <c:pt idx="751">
                    <c:v>Rolling Stdev (30 Minute)</c:v>
                  </c:pt>
                  <c:pt idx="752">
                    <c:v>Rolling Stdev (30 Minute)</c:v>
                  </c:pt>
                  <c:pt idx="753">
                    <c:v>Rolling Stdev (30 Minute)</c:v>
                  </c:pt>
                  <c:pt idx="754">
                    <c:v>Rolling Stdev (30 Minute)</c:v>
                  </c:pt>
                  <c:pt idx="755">
                    <c:v>Rolling Stdev (30 Minute)</c:v>
                  </c:pt>
                  <c:pt idx="756">
                    <c:v>Rolling Stdev (30 Minute)</c:v>
                  </c:pt>
                  <c:pt idx="757">
                    <c:v>Rolling Stdev (30 Minute)</c:v>
                  </c:pt>
                  <c:pt idx="758">
                    <c:v>Rolling Stdev (30 Minute)</c:v>
                  </c:pt>
                  <c:pt idx="759">
                    <c:v>Rolling Stdev (30 Minute)</c:v>
                  </c:pt>
                  <c:pt idx="760">
                    <c:v>Rolling Stdev (30 Minute)</c:v>
                  </c:pt>
                  <c:pt idx="761">
                    <c:v>Rolling Stdev (30 Minute)</c:v>
                  </c:pt>
                  <c:pt idx="762">
                    <c:v>Rolling Stdev (30 Minute)</c:v>
                  </c:pt>
                  <c:pt idx="763">
                    <c:v>Rolling Stdev (30 Minute)</c:v>
                  </c:pt>
                  <c:pt idx="764">
                    <c:v>Rolling Stdev (30 Minute)</c:v>
                  </c:pt>
                  <c:pt idx="765">
                    <c:v>Rolling Stdev (30 Minute)</c:v>
                  </c:pt>
                  <c:pt idx="766">
                    <c:v>Rolling Stdev (30 Minute)</c:v>
                  </c:pt>
                  <c:pt idx="767">
                    <c:v>Rolling Stdev (30 Minute)</c:v>
                  </c:pt>
                  <c:pt idx="768">
                    <c:v>Rolling Stdev (30 Minute)</c:v>
                  </c:pt>
                  <c:pt idx="769">
                    <c:v>Rolling Stdev (30 Minute)</c:v>
                  </c:pt>
                  <c:pt idx="770">
                    <c:v>Rolling Stdev (30 Minute)</c:v>
                  </c:pt>
                  <c:pt idx="771">
                    <c:v>Rolling Stdev (30 Minute)</c:v>
                  </c:pt>
                  <c:pt idx="772">
                    <c:v>Rolling Stdev (30 Minute)</c:v>
                  </c:pt>
                  <c:pt idx="773">
                    <c:v>Rolling Stdev (30 Minute)</c:v>
                  </c:pt>
                  <c:pt idx="774">
                    <c:v>Rolling Stdev (30 Minute)</c:v>
                  </c:pt>
                  <c:pt idx="775">
                    <c:v>Rolling Stdev (30 Minute)</c:v>
                  </c:pt>
                  <c:pt idx="776">
                    <c:v>Rolling Stdev (30 Minute)</c:v>
                  </c:pt>
                  <c:pt idx="777">
                    <c:v>Rolling Stdev (30 Minute)</c:v>
                  </c:pt>
                  <c:pt idx="778">
                    <c:v>Rolling Stdev (30 Minute)</c:v>
                  </c:pt>
                  <c:pt idx="779">
                    <c:v>Rolling Stdev (30 Minute)</c:v>
                  </c:pt>
                  <c:pt idx="780">
                    <c:v>Rolling Stdev (30 Minute)</c:v>
                  </c:pt>
                  <c:pt idx="781">
                    <c:v>Rolling Stdev (30 Minute)</c:v>
                  </c:pt>
                  <c:pt idx="782">
                    <c:v>Rolling Stdev (30 Minute)</c:v>
                  </c:pt>
                  <c:pt idx="783">
                    <c:v>Rolling Stdev (30 Minute)</c:v>
                  </c:pt>
                  <c:pt idx="784">
                    <c:v>Rolling Stdev (30 Minute)</c:v>
                  </c:pt>
                  <c:pt idx="785">
                    <c:v>Rolling Stdev (30 Minute)</c:v>
                  </c:pt>
                  <c:pt idx="786">
                    <c:v>Rolling Stdev (30 Minute)</c:v>
                  </c:pt>
                  <c:pt idx="787">
                    <c:v>Rolling Stdev (30 Minute)</c:v>
                  </c:pt>
                  <c:pt idx="788">
                    <c:v>Rolling Stdev (30 Minute)</c:v>
                  </c:pt>
                  <c:pt idx="789">
                    <c:v>Rolling Stdev (30 Minute)</c:v>
                  </c:pt>
                  <c:pt idx="790">
                    <c:v>Rolling Stdev (30 Minute)</c:v>
                  </c:pt>
                  <c:pt idx="791">
                    <c:v>Rolling Stdev (30 Minute)</c:v>
                  </c:pt>
                  <c:pt idx="792">
                    <c:v>Rolling Stdev (30 Minute)</c:v>
                  </c:pt>
                  <c:pt idx="793">
                    <c:v>Rolling Stdev (30 Minute)</c:v>
                  </c:pt>
                  <c:pt idx="794">
                    <c:v>Rolling Stdev (30 Minute)</c:v>
                  </c:pt>
                  <c:pt idx="795">
                    <c:v>Rolling Stdev (30 Minute)</c:v>
                  </c:pt>
                  <c:pt idx="796">
                    <c:v>Rolling Stdev (30 Minute)</c:v>
                  </c:pt>
                  <c:pt idx="797">
                    <c:v>Rolling Stdev (30 Minute)</c:v>
                  </c:pt>
                  <c:pt idx="798">
                    <c:v>Rolling Stdev (30 Minute)</c:v>
                  </c:pt>
                  <c:pt idx="799">
                    <c:v>Rolling Stdev (30 Minute)</c:v>
                  </c:pt>
                  <c:pt idx="800">
                    <c:v>Rolling Stdev (30 Minute)</c:v>
                  </c:pt>
                  <c:pt idx="801">
                    <c:v>Rolling Stdev (30 Minute)</c:v>
                  </c:pt>
                  <c:pt idx="802">
                    <c:v>Rolling Stdev (30 Minute)</c:v>
                  </c:pt>
                  <c:pt idx="803">
                    <c:v>Rolling Stdev (30 Minute)</c:v>
                  </c:pt>
                  <c:pt idx="804">
                    <c:v>Rolling Stdev (30 Minute)</c:v>
                  </c:pt>
                  <c:pt idx="805">
                    <c:v>Rolling Stdev (30 Minute)</c:v>
                  </c:pt>
                  <c:pt idx="806">
                    <c:v>Rolling Stdev (30 Minute)</c:v>
                  </c:pt>
                  <c:pt idx="807">
                    <c:v>Rolling Stdev (30 Minute)</c:v>
                  </c:pt>
                  <c:pt idx="808">
                    <c:v>Rolling Stdev (30 Minute)</c:v>
                  </c:pt>
                  <c:pt idx="809">
                    <c:v>Rolling Stdev (30 Minute)</c:v>
                  </c:pt>
                  <c:pt idx="810">
                    <c:v>Rolling Stdev (30 Minute)</c:v>
                  </c:pt>
                  <c:pt idx="811">
                    <c:v>Rolling Stdev (30 Minute)</c:v>
                  </c:pt>
                  <c:pt idx="812">
                    <c:v>Rolling Stdev (30 Minute)</c:v>
                  </c:pt>
                  <c:pt idx="813">
                    <c:v>Rolling Stdev (30 Minute)</c:v>
                  </c:pt>
                  <c:pt idx="814">
                    <c:v>Rolling Stdev (30 Minute)</c:v>
                  </c:pt>
                  <c:pt idx="815">
                    <c:v>Rolling Stdev (30 Minute)</c:v>
                  </c:pt>
                  <c:pt idx="816">
                    <c:v>Rolling Stdev (30 Minute)</c:v>
                  </c:pt>
                  <c:pt idx="817">
                    <c:v>Rolling Stdev (30 Minute)</c:v>
                  </c:pt>
                  <c:pt idx="818">
                    <c:v>Rolling Stdev (30 Minute)</c:v>
                  </c:pt>
                  <c:pt idx="819">
                    <c:v>Rolling Stdev (30 Minute)</c:v>
                  </c:pt>
                  <c:pt idx="820">
                    <c:v>Rolling Stdev (30 Minute)</c:v>
                  </c:pt>
                  <c:pt idx="821">
                    <c:v>Rolling Stdev (30 Minute)</c:v>
                  </c:pt>
                  <c:pt idx="822">
                    <c:v>Rolling Stdev (30 Minute)</c:v>
                  </c:pt>
                  <c:pt idx="823">
                    <c:v>Rolling Stdev (30 Minute)</c:v>
                  </c:pt>
                  <c:pt idx="824">
                    <c:v>Rolling Stdev (30 Minute)</c:v>
                  </c:pt>
                  <c:pt idx="825">
                    <c:v>Rolling Stdev (30 Minute)</c:v>
                  </c:pt>
                  <c:pt idx="826">
                    <c:v>Rolling Stdev (30 Minute)</c:v>
                  </c:pt>
                  <c:pt idx="827">
                    <c:v>Rolling Stdev (30 Minute)</c:v>
                  </c:pt>
                  <c:pt idx="828">
                    <c:v>Rolling Stdev (30 Minute)</c:v>
                  </c:pt>
                  <c:pt idx="829">
                    <c:v>Rolling Stdev (30 Minute)</c:v>
                  </c:pt>
                  <c:pt idx="830">
                    <c:v>Rolling Stdev (30 Minute)</c:v>
                  </c:pt>
                  <c:pt idx="831">
                    <c:v>Rolling Stdev (30 Minute)</c:v>
                  </c:pt>
                  <c:pt idx="832">
                    <c:v>Rolling Stdev (30 Minute)</c:v>
                  </c:pt>
                  <c:pt idx="833">
                    <c:v>Rolling Stdev (30 Minute)</c:v>
                  </c:pt>
                  <c:pt idx="834">
                    <c:v>Rolling Stdev (30 Minute)</c:v>
                  </c:pt>
                  <c:pt idx="835">
                    <c:v>Rolling Stdev (30 Minute)</c:v>
                  </c:pt>
                  <c:pt idx="836">
                    <c:v>Rolling Stdev (30 Minute)</c:v>
                  </c:pt>
                  <c:pt idx="837">
                    <c:v>Rolling Stdev (30 Minute)</c:v>
                  </c:pt>
                  <c:pt idx="838">
                    <c:v>Rolling Stdev (30 Minute)</c:v>
                  </c:pt>
                  <c:pt idx="839">
                    <c:v>Rolling Stdev (30 Minute)</c:v>
                  </c:pt>
                  <c:pt idx="840">
                    <c:v>Rolling Stdev (30 Minute)</c:v>
                  </c:pt>
                  <c:pt idx="841">
                    <c:v>Rolling Stdev (30 Minute)</c:v>
                  </c:pt>
                  <c:pt idx="842">
                    <c:v>Rolling Stdev (30 Minute)</c:v>
                  </c:pt>
                  <c:pt idx="843">
                    <c:v>Rolling Stdev (30 Minute)</c:v>
                  </c:pt>
                  <c:pt idx="844">
                    <c:v>Rolling Stdev (30 Minute)</c:v>
                  </c:pt>
                  <c:pt idx="845">
                    <c:v>Rolling Stdev (30 Minute)</c:v>
                  </c:pt>
                  <c:pt idx="846">
                    <c:v>Rolling Stdev (30 Minute)</c:v>
                  </c:pt>
                  <c:pt idx="847">
                    <c:v>Rolling Stdev (30 Minute)</c:v>
                  </c:pt>
                  <c:pt idx="848">
                    <c:v>Rolling Stdev (30 Minute)</c:v>
                  </c:pt>
                  <c:pt idx="849">
                    <c:v>Rolling Stdev (30 Minute)</c:v>
                  </c:pt>
                  <c:pt idx="850">
                    <c:v>Rolling Stdev (30 Minute)</c:v>
                  </c:pt>
                  <c:pt idx="851">
                    <c:v>Rolling Stdev (30 Minute)</c:v>
                  </c:pt>
                  <c:pt idx="852">
                    <c:v>Rolling Stdev (30 Minute)</c:v>
                  </c:pt>
                  <c:pt idx="853">
                    <c:v>Rolling Stdev (30 Minute)</c:v>
                  </c:pt>
                  <c:pt idx="854">
                    <c:v>Rolling Stdev (30 Minute)</c:v>
                  </c:pt>
                  <c:pt idx="855">
                    <c:v>Rolling Stdev (30 Minute)</c:v>
                  </c:pt>
                  <c:pt idx="856">
                    <c:v>Rolling Stdev (30 Minute)</c:v>
                  </c:pt>
                  <c:pt idx="857">
                    <c:v>Rolling Stdev (30 Minute)</c:v>
                  </c:pt>
                  <c:pt idx="858">
                    <c:v>Rolling Stdev (30 Minute)</c:v>
                  </c:pt>
                  <c:pt idx="859">
                    <c:v>Rolling Stdev (30 Minute)</c:v>
                  </c:pt>
                  <c:pt idx="860">
                    <c:v>Rolling Stdev (30 Minute)</c:v>
                  </c:pt>
                  <c:pt idx="861">
                    <c:v>Rolling Stdev (30 Minute)</c:v>
                  </c:pt>
                  <c:pt idx="862">
                    <c:v>Rolling Stdev (30 Minute)</c:v>
                  </c:pt>
                  <c:pt idx="863">
                    <c:v>Rolling Stdev (30 Minute)</c:v>
                  </c:pt>
                  <c:pt idx="864">
                    <c:v>Rolling Stdev (30 Minute)</c:v>
                  </c:pt>
                  <c:pt idx="865">
                    <c:v>Rolling Stdev (30 Minute)</c:v>
                  </c:pt>
                  <c:pt idx="866">
                    <c:v>Rolling Stdev (30 Minute)</c:v>
                  </c:pt>
                  <c:pt idx="867">
                    <c:v>Rolling Stdev (30 Minute)</c:v>
                  </c:pt>
                  <c:pt idx="868">
                    <c:v>Rolling Stdev (30 Minute)</c:v>
                  </c:pt>
                  <c:pt idx="869">
                    <c:v>Rolling Stdev (30 Minute)</c:v>
                  </c:pt>
                  <c:pt idx="870">
                    <c:v>Rolling Stdev (30 Minute)</c:v>
                  </c:pt>
                  <c:pt idx="871">
                    <c:v>Rolling Stdev (30 Minute)</c:v>
                  </c:pt>
                  <c:pt idx="872">
                    <c:v>Rolling Stdev (30 Minute)</c:v>
                  </c:pt>
                  <c:pt idx="873">
                    <c:v>Rolling Stdev (30 Minute)</c:v>
                  </c:pt>
                  <c:pt idx="874">
                    <c:v>Rolling Stdev (30 Minute)</c:v>
                  </c:pt>
                  <c:pt idx="875">
                    <c:v>Rolling Stdev (30 Minute)</c:v>
                  </c:pt>
                  <c:pt idx="876">
                    <c:v>Rolling Stdev (30 Minute)</c:v>
                  </c:pt>
                  <c:pt idx="877">
                    <c:v>Rolling Stdev (30 Minute)</c:v>
                  </c:pt>
                  <c:pt idx="878">
                    <c:v>Rolling Stdev (30 Minute)</c:v>
                  </c:pt>
                  <c:pt idx="879">
                    <c:v>Rolling Stdev (30 Minute)</c:v>
                  </c:pt>
                  <c:pt idx="880">
                    <c:v>Rolling Stdev (30 Minute)</c:v>
                  </c:pt>
                  <c:pt idx="881">
                    <c:v>Rolling Stdev (30 Minute)</c:v>
                  </c:pt>
                  <c:pt idx="882">
                    <c:v>Rolling Stdev (30 Minute)</c:v>
                  </c:pt>
                  <c:pt idx="883">
                    <c:v>Rolling Stdev (30 Minute)</c:v>
                  </c:pt>
                  <c:pt idx="884">
                    <c:v>Rolling Stdev (30 Minute)</c:v>
                  </c:pt>
                  <c:pt idx="885">
                    <c:v>Rolling Stdev (30 Minute)</c:v>
                  </c:pt>
                  <c:pt idx="886">
                    <c:v>Rolling Stdev (30 Minute)</c:v>
                  </c:pt>
                  <c:pt idx="887">
                    <c:v>Rolling Stdev (30 Minute)</c:v>
                  </c:pt>
                  <c:pt idx="888">
                    <c:v>Rolling Stdev (30 Minute)</c:v>
                  </c:pt>
                  <c:pt idx="889">
                    <c:v>Rolling Stdev (30 Minute)</c:v>
                  </c:pt>
                  <c:pt idx="890">
                    <c:v>Rolling Stdev (30 Minute)</c:v>
                  </c:pt>
                  <c:pt idx="891">
                    <c:v>Rolling Stdev (30 Minute)</c:v>
                  </c:pt>
                  <c:pt idx="892">
                    <c:v>Rolling Stdev (30 Minute)</c:v>
                  </c:pt>
                  <c:pt idx="893">
                    <c:v>Rolling Stdev (30 Minute)</c:v>
                  </c:pt>
                  <c:pt idx="894">
                    <c:v>Rolling Stdev (30 Minute)</c:v>
                  </c:pt>
                  <c:pt idx="895">
                    <c:v>Rolling Stdev (30 Minute)</c:v>
                  </c:pt>
                  <c:pt idx="896">
                    <c:v>Rolling Stdev (30 Minute)</c:v>
                  </c:pt>
                  <c:pt idx="897">
                    <c:v>Rolling Stdev (30 Minute)</c:v>
                  </c:pt>
                  <c:pt idx="898">
                    <c:v>Rolling Stdev (30 Minute)</c:v>
                  </c:pt>
                  <c:pt idx="899">
                    <c:v>Rolling Stdev (30 Minute)</c:v>
                  </c:pt>
                  <c:pt idx="900">
                    <c:v>Rolling Stdev (30 Minute)</c:v>
                  </c:pt>
                  <c:pt idx="901">
                    <c:v>Rolling Stdev (30 Minute)</c:v>
                  </c:pt>
                  <c:pt idx="902">
                    <c:v>Rolling Stdev (30 Minute)</c:v>
                  </c:pt>
                  <c:pt idx="903">
                    <c:v>Rolling Stdev (30 Minute)</c:v>
                  </c:pt>
                  <c:pt idx="904">
                    <c:v>Rolling Stdev (30 Minute)</c:v>
                  </c:pt>
                  <c:pt idx="905">
                    <c:v>Rolling Stdev (30 Minute)</c:v>
                  </c:pt>
                  <c:pt idx="906">
                    <c:v>Rolling Stdev (30 Minute)</c:v>
                  </c:pt>
                  <c:pt idx="907">
                    <c:v>Rolling Stdev (30 Minute)</c:v>
                  </c:pt>
                  <c:pt idx="908">
                    <c:v>Rolling Stdev (30 Minute)</c:v>
                  </c:pt>
                  <c:pt idx="909">
                    <c:v>Rolling Stdev (30 Minute)</c:v>
                  </c:pt>
                  <c:pt idx="910">
                    <c:v>Rolling Stdev (30 Minute)</c:v>
                  </c:pt>
                  <c:pt idx="911">
                    <c:v>Rolling Stdev (30 Minute)</c:v>
                  </c:pt>
                  <c:pt idx="912">
                    <c:v>Rolling Stdev (30 Minute)</c:v>
                  </c:pt>
                  <c:pt idx="913">
                    <c:v>Rolling Stdev (30 Minute)</c:v>
                  </c:pt>
                  <c:pt idx="914">
                    <c:v>Rolling Stdev (30 Minute)</c:v>
                  </c:pt>
                  <c:pt idx="915">
                    <c:v>Rolling Stdev (30 Minute)</c:v>
                  </c:pt>
                  <c:pt idx="916">
                    <c:v>Rolling Stdev (30 Minute)</c:v>
                  </c:pt>
                  <c:pt idx="917">
                    <c:v>Rolling Stdev (30 Minute)</c:v>
                  </c:pt>
                  <c:pt idx="918">
                    <c:v>Rolling Stdev (30 Minute)</c:v>
                  </c:pt>
                  <c:pt idx="919">
                    <c:v>Rolling Stdev (30 Minute)</c:v>
                  </c:pt>
                  <c:pt idx="920">
                    <c:v>Rolling Stdev (30 Minute)</c:v>
                  </c:pt>
                  <c:pt idx="921">
                    <c:v>Rolling Stdev (30 Minute)</c:v>
                  </c:pt>
                  <c:pt idx="922">
                    <c:v>Rolling Stdev (30 Minute)</c:v>
                  </c:pt>
                  <c:pt idx="923">
                    <c:v>Rolling Stdev (30 Minute)</c:v>
                  </c:pt>
                  <c:pt idx="924">
                    <c:v>Rolling Stdev (30 Minute)</c:v>
                  </c:pt>
                  <c:pt idx="925">
                    <c:v>Rolling Stdev (30 Minute)</c:v>
                  </c:pt>
                  <c:pt idx="926">
                    <c:v>Rolling Stdev (30 Minute)</c:v>
                  </c:pt>
                  <c:pt idx="927">
                    <c:v>Rolling Stdev (30 Minute)</c:v>
                  </c:pt>
                  <c:pt idx="928">
                    <c:v>Rolling Stdev (30 Minute)</c:v>
                  </c:pt>
                  <c:pt idx="929">
                    <c:v>Rolling Stdev (30 Minute)</c:v>
                  </c:pt>
                  <c:pt idx="930">
                    <c:v>Rolling Stdev (30 Minute)</c:v>
                  </c:pt>
                  <c:pt idx="931">
                    <c:v>Rolling Stdev (30 Minute)</c:v>
                  </c:pt>
                  <c:pt idx="932">
                    <c:v>Rolling Stdev (30 Minute)</c:v>
                  </c:pt>
                  <c:pt idx="933">
                    <c:v>Rolling Stdev (30 Minute)</c:v>
                  </c:pt>
                  <c:pt idx="934">
                    <c:v>Rolling Stdev (30 Minute)</c:v>
                  </c:pt>
                  <c:pt idx="935">
                    <c:v>Rolling Stdev (30 Minute)</c:v>
                  </c:pt>
                  <c:pt idx="936">
                    <c:v>Rolling Stdev (30 Minute)</c:v>
                  </c:pt>
                  <c:pt idx="937">
                    <c:v>Rolling Stdev (30 Minute)</c:v>
                  </c:pt>
                  <c:pt idx="938">
                    <c:v>Rolling Stdev (30 Minute)</c:v>
                  </c:pt>
                  <c:pt idx="939">
                    <c:v>Rolling Stdev (30 Minute)</c:v>
                  </c:pt>
                  <c:pt idx="940">
                    <c:v>Rolling Stdev (30 Minute)</c:v>
                  </c:pt>
                  <c:pt idx="941">
                    <c:v>Rolling Stdev (30 Minute)</c:v>
                  </c:pt>
                  <c:pt idx="942">
                    <c:v>Rolling Stdev (30 Minute)</c:v>
                  </c:pt>
                  <c:pt idx="943">
                    <c:v>Rolling Stdev (30 Minute)</c:v>
                  </c:pt>
                  <c:pt idx="944">
                    <c:v>Rolling Stdev (30 Minute)</c:v>
                  </c:pt>
                  <c:pt idx="945">
                    <c:v>Rolling Stdev (30 Minute)</c:v>
                  </c:pt>
                  <c:pt idx="946">
                    <c:v>Rolling Stdev (30 Minute)</c:v>
                  </c:pt>
                  <c:pt idx="947">
                    <c:v>Rolling Stdev (30 Minute)</c:v>
                  </c:pt>
                  <c:pt idx="948">
                    <c:v>Rolling Stdev (30 Minute)</c:v>
                  </c:pt>
                  <c:pt idx="949">
                    <c:v>Rolling Stdev (30 Minute)</c:v>
                  </c:pt>
                  <c:pt idx="950">
                    <c:v>Rolling Stdev (30 Minute)</c:v>
                  </c:pt>
                  <c:pt idx="951">
                    <c:v>Rolling Stdev (30 Minute)</c:v>
                  </c:pt>
                  <c:pt idx="952">
                    <c:v>Rolling Stdev (30 Minute)</c:v>
                  </c:pt>
                  <c:pt idx="953">
                    <c:v>Rolling Stdev (30 Minute)</c:v>
                  </c:pt>
                  <c:pt idx="954">
                    <c:v>Rolling Stdev (30 Minute)</c:v>
                  </c:pt>
                  <c:pt idx="955">
                    <c:v>Rolling Stdev (30 Minute)</c:v>
                  </c:pt>
                  <c:pt idx="956">
                    <c:v>Rolling Stdev (30 Minute)</c:v>
                  </c:pt>
                  <c:pt idx="957">
                    <c:v>Rolling Stdev (30 Minute)</c:v>
                  </c:pt>
                  <c:pt idx="958">
                    <c:v>Rolling Stdev (30 Minute)</c:v>
                  </c:pt>
                  <c:pt idx="959">
                    <c:v>Rolling Stdev (30 Minute)</c:v>
                  </c:pt>
                  <c:pt idx="960">
                    <c:v>Rolling Stdev (30 Minute)</c:v>
                  </c:pt>
                  <c:pt idx="961">
                    <c:v>Rolling Stdev (30 Minute)</c:v>
                  </c:pt>
                  <c:pt idx="962">
                    <c:v>Rolling Stdev (30 Minute)</c:v>
                  </c:pt>
                  <c:pt idx="963">
                    <c:v>Rolling Stdev (30 Minute)</c:v>
                  </c:pt>
                  <c:pt idx="964">
                    <c:v>Rolling Stdev (30 Minute)</c:v>
                  </c:pt>
                  <c:pt idx="965">
                    <c:v>Rolling Stdev (30 Minute)</c:v>
                  </c:pt>
                  <c:pt idx="966">
                    <c:v>Rolling Stdev (30 Minute)</c:v>
                  </c:pt>
                  <c:pt idx="967">
                    <c:v>Rolling Stdev (30 Minute)</c:v>
                  </c:pt>
                  <c:pt idx="968">
                    <c:v>Rolling Stdev (30 Minute)</c:v>
                  </c:pt>
                  <c:pt idx="969">
                    <c:v>Rolling Stdev (30 Minute)</c:v>
                  </c:pt>
                  <c:pt idx="970">
                    <c:v>Rolling Stdev (30 Minute)</c:v>
                  </c:pt>
                  <c:pt idx="971">
                    <c:v>Rolling Stdev (30 Minute)</c:v>
                  </c:pt>
                  <c:pt idx="972">
                    <c:v>Rolling Stdev (30 Minute)</c:v>
                  </c:pt>
                  <c:pt idx="973">
                    <c:v>Rolling Stdev (30 Minute)</c:v>
                  </c:pt>
                  <c:pt idx="974">
                    <c:v>Rolling Stdev (30 Minute)</c:v>
                  </c:pt>
                  <c:pt idx="975">
                    <c:v>Rolling Stdev (30 Minute)</c:v>
                  </c:pt>
                  <c:pt idx="976">
                    <c:v>Rolling Stdev (30 Minute)</c:v>
                  </c:pt>
                  <c:pt idx="977">
                    <c:v>Rolling Stdev (30 Minute)</c:v>
                  </c:pt>
                  <c:pt idx="978">
                    <c:v>Rolling Stdev (30 Minute)</c:v>
                  </c:pt>
                  <c:pt idx="979">
                    <c:v>Rolling Stdev (30 Minute)</c:v>
                  </c:pt>
                  <c:pt idx="980">
                    <c:v>Rolling Stdev (30 Minute)</c:v>
                  </c:pt>
                  <c:pt idx="981">
                    <c:v>Rolling Stdev (30 Minute)</c:v>
                  </c:pt>
                  <c:pt idx="982">
                    <c:v>Rolling Stdev (30 Minute)</c:v>
                  </c:pt>
                  <c:pt idx="983">
                    <c:v>Rolling Stdev (30 Minute)</c:v>
                  </c:pt>
                  <c:pt idx="984">
                    <c:v>Rolling Stdev (30 Minute)</c:v>
                  </c:pt>
                  <c:pt idx="985">
                    <c:v>Rolling Stdev (30 Minute)</c:v>
                  </c:pt>
                  <c:pt idx="986">
                    <c:v>Rolling Stdev (30 Minute)</c:v>
                  </c:pt>
                  <c:pt idx="987">
                    <c:v>Rolling Stdev (30 Minute)</c:v>
                  </c:pt>
                  <c:pt idx="988">
                    <c:v>Rolling Stdev (30 Minute)</c:v>
                  </c:pt>
                  <c:pt idx="989">
                    <c:v>Rolling Stdev (30 Minute)</c:v>
                  </c:pt>
                  <c:pt idx="990">
                    <c:v>Rolling Stdev (30 Minute)</c:v>
                  </c:pt>
                  <c:pt idx="991">
                    <c:v>Rolling Stdev (30 Minute)</c:v>
                  </c:pt>
                  <c:pt idx="992">
                    <c:v>Rolling Stdev (30 Minute)</c:v>
                  </c:pt>
                  <c:pt idx="993">
                    <c:v>Rolling Stdev (30 Minute)</c:v>
                  </c:pt>
                  <c:pt idx="994">
                    <c:v>Rolling Stdev (30 Minute)</c:v>
                  </c:pt>
                  <c:pt idx="995">
                    <c:v>Rolling Stdev (30 Minute)</c:v>
                  </c:pt>
                  <c:pt idx="996">
                    <c:v>Rolling Stdev (30 Minute)</c:v>
                  </c:pt>
                  <c:pt idx="997">
                    <c:v>Rolling Stdev (30 Minute)</c:v>
                  </c:pt>
                  <c:pt idx="998">
                    <c:v>Rolling Stdev (30 Minute)</c:v>
                  </c:pt>
                  <c:pt idx="999">
                    <c:v>Rolling Stdev (30 Minute)</c:v>
                  </c:pt>
                  <c:pt idx="1000">
                    <c:v>Rolling Stdev (30 Minute)</c:v>
                  </c:pt>
                  <c:pt idx="1001">
                    <c:v>Rolling Stdev (30 Minute)</c:v>
                  </c:pt>
                  <c:pt idx="1002">
                    <c:v>Rolling Stdev (30 Minute)</c:v>
                  </c:pt>
                  <c:pt idx="1003">
                    <c:v>Rolling Stdev (30 Minute)</c:v>
                  </c:pt>
                  <c:pt idx="1004">
                    <c:v>Rolling Stdev (30 Minute)</c:v>
                  </c:pt>
                  <c:pt idx="1005">
                    <c:v>Rolling Stdev (30 Minute)</c:v>
                  </c:pt>
                  <c:pt idx="1006">
                    <c:v>Rolling Stdev (30 Minute)</c:v>
                  </c:pt>
                  <c:pt idx="1007">
                    <c:v>Rolling Stdev (30 Minute)</c:v>
                  </c:pt>
                  <c:pt idx="1008">
                    <c:v>Rolling Stdev (30 Minute)</c:v>
                  </c:pt>
                  <c:pt idx="1009">
                    <c:v>Rolling Stdev (30 Minute)</c:v>
                  </c:pt>
                  <c:pt idx="1010">
                    <c:v>Rolling Stdev (30 Minute)</c:v>
                  </c:pt>
                  <c:pt idx="1011">
                    <c:v>Rolling Stdev (30 Minute)</c:v>
                  </c:pt>
                  <c:pt idx="1012">
                    <c:v>Rolling Stdev (30 Minute)</c:v>
                  </c:pt>
                  <c:pt idx="1013">
                    <c:v>Rolling Stdev (30 Minute)</c:v>
                  </c:pt>
                  <c:pt idx="1014">
                    <c:v>Rolling Stdev (30 Minute)</c:v>
                  </c:pt>
                  <c:pt idx="1015">
                    <c:v>Rolling Stdev (30 Minute)</c:v>
                  </c:pt>
                  <c:pt idx="1016">
                    <c:v>Rolling Stdev (30 Minute)</c:v>
                  </c:pt>
                  <c:pt idx="1017">
                    <c:v>Rolling Stdev (30 Minute)</c:v>
                  </c:pt>
                  <c:pt idx="1018">
                    <c:v>Rolling Stdev (30 Minute)</c:v>
                  </c:pt>
                  <c:pt idx="1019">
                    <c:v>Rolling Stdev (30 Minute)</c:v>
                  </c:pt>
                  <c:pt idx="1020">
                    <c:v>Rolling Stdev (30 Minute)</c:v>
                  </c:pt>
                  <c:pt idx="1021">
                    <c:v>Rolling Stdev (30 Minute)</c:v>
                  </c:pt>
                  <c:pt idx="1022">
                    <c:v>Rolling Stdev (30 Minute)</c:v>
                  </c:pt>
                  <c:pt idx="1023">
                    <c:v>Rolling Stdev (30 Minute)</c:v>
                  </c:pt>
                  <c:pt idx="1024">
                    <c:v>Rolling Stdev (30 Minute)</c:v>
                  </c:pt>
                  <c:pt idx="1025">
                    <c:v>Rolling Stdev (30 Minute)</c:v>
                  </c:pt>
                  <c:pt idx="1026">
                    <c:v>Rolling Stdev (30 Minute)</c:v>
                  </c:pt>
                  <c:pt idx="1027">
                    <c:v>Rolling Stdev (30 Minute)</c:v>
                  </c:pt>
                  <c:pt idx="1028">
                    <c:v>Rolling Stdev (30 Minute)</c:v>
                  </c:pt>
                  <c:pt idx="1029">
                    <c:v>Rolling Stdev (30 Minute)</c:v>
                  </c:pt>
                  <c:pt idx="1030">
                    <c:v>Rolling Stdev (30 Minute)</c:v>
                  </c:pt>
                  <c:pt idx="1031">
                    <c:v>Rolling Stdev (30 Minute)</c:v>
                  </c:pt>
                  <c:pt idx="1032">
                    <c:v>Rolling Stdev (30 Minute)</c:v>
                  </c:pt>
                  <c:pt idx="1033">
                    <c:v>Rolling Stdev (30 Minute)</c:v>
                  </c:pt>
                  <c:pt idx="1034">
                    <c:v>Rolling Stdev (30 Minute)</c:v>
                  </c:pt>
                  <c:pt idx="1035">
                    <c:v>Rolling Stdev (30 Minute)</c:v>
                  </c:pt>
                  <c:pt idx="1036">
                    <c:v>Rolling Stdev (30 Minute)</c:v>
                  </c:pt>
                  <c:pt idx="1037">
                    <c:v>Rolling Stdev (30 Minute)</c:v>
                  </c:pt>
                  <c:pt idx="1038">
                    <c:v>Rolling Stdev (30 Minute)</c:v>
                  </c:pt>
                  <c:pt idx="1039">
                    <c:v>Rolling Stdev (30 Minute)</c:v>
                  </c:pt>
                  <c:pt idx="1040">
                    <c:v>Rolling Stdev (30 Minute)</c:v>
                  </c:pt>
                  <c:pt idx="1041">
                    <c:v>Rolling Stdev (30 Minute)</c:v>
                  </c:pt>
                  <c:pt idx="1042">
                    <c:v>Rolling Stdev (30 Minute)</c:v>
                  </c:pt>
                  <c:pt idx="1043">
                    <c:v>Rolling Stdev (30 Minute)</c:v>
                  </c:pt>
                  <c:pt idx="1044">
                    <c:v>Rolling Stdev (30 Minute)</c:v>
                  </c:pt>
                  <c:pt idx="1045">
                    <c:v>Rolling Stdev (30 Minute)</c:v>
                  </c:pt>
                  <c:pt idx="1046">
                    <c:v>Rolling Stdev (30 Minute)</c:v>
                  </c:pt>
                  <c:pt idx="1047">
                    <c:v>Rolling Stdev (30 Minute)</c:v>
                  </c:pt>
                  <c:pt idx="1048">
                    <c:v>Rolling Stdev (30 Minute)</c:v>
                  </c:pt>
                  <c:pt idx="1049">
                    <c:v>Rolling Stdev (30 Minute)</c:v>
                  </c:pt>
                  <c:pt idx="1050">
                    <c:v>Rolling Stdev (30 Minute)</c:v>
                  </c:pt>
                  <c:pt idx="1051">
                    <c:v>Rolling Stdev (30 Minute)</c:v>
                  </c:pt>
                  <c:pt idx="1052">
                    <c:v>Rolling Stdev (30 Minute)</c:v>
                  </c:pt>
                  <c:pt idx="1053">
                    <c:v>Rolling Stdev (30 Minute)</c:v>
                  </c:pt>
                  <c:pt idx="1054">
                    <c:v>Rolling Stdev (30 Minute)</c:v>
                  </c:pt>
                  <c:pt idx="1055">
                    <c:v>Rolling Stdev (30 Minute)</c:v>
                  </c:pt>
                  <c:pt idx="1056">
                    <c:v>Rolling Stdev (30 Minute)</c:v>
                  </c:pt>
                  <c:pt idx="1057">
                    <c:v>Rolling Stdev (30 Minute)</c:v>
                  </c:pt>
                  <c:pt idx="1058">
                    <c:v>Rolling Stdev (30 Minute)</c:v>
                  </c:pt>
                  <c:pt idx="1059">
                    <c:v>Rolling Stdev (30 Minute)</c:v>
                  </c:pt>
                  <c:pt idx="1060">
                    <c:v>Rolling Stdev (30 Minute)</c:v>
                  </c:pt>
                  <c:pt idx="1061">
                    <c:v>Rolling Stdev (30 Minute)</c:v>
                  </c:pt>
                  <c:pt idx="1062">
                    <c:v>Rolling Stdev (30 Minute)</c:v>
                  </c:pt>
                  <c:pt idx="1063">
                    <c:v>Rolling Stdev (30 Minute)</c:v>
                  </c:pt>
                  <c:pt idx="1064">
                    <c:v>Rolling Stdev (30 Minute)</c:v>
                  </c:pt>
                  <c:pt idx="1065">
                    <c:v>Rolling Stdev (30 Minute)</c:v>
                  </c:pt>
                  <c:pt idx="1066">
                    <c:v>Rolling Stdev (30 Minute)</c:v>
                  </c:pt>
                  <c:pt idx="1067">
                    <c:v>Rolling Stdev (30 Minute)</c:v>
                  </c:pt>
                  <c:pt idx="1068">
                    <c:v>Rolling Stdev (30 Minute)</c:v>
                  </c:pt>
                  <c:pt idx="1069">
                    <c:v>Rolling Stdev (30 Minute)</c:v>
                  </c:pt>
                  <c:pt idx="1070">
                    <c:v>Rolling Stdev (30 Minute)</c:v>
                  </c:pt>
                  <c:pt idx="1071">
                    <c:v>Rolling Stdev (30 Minute)</c:v>
                  </c:pt>
                  <c:pt idx="1072">
                    <c:v>Rolling Stdev (30 Minute)</c:v>
                  </c:pt>
                  <c:pt idx="1073">
                    <c:v>Rolling Stdev (30 Minute)</c:v>
                  </c:pt>
                  <c:pt idx="1074">
                    <c:v>Rolling Stdev (30 Minute)</c:v>
                  </c:pt>
                  <c:pt idx="1075">
                    <c:v>Rolling Stdev (30 Minute)</c:v>
                  </c:pt>
                  <c:pt idx="1076">
                    <c:v>Rolling Stdev (30 Minute)</c:v>
                  </c:pt>
                  <c:pt idx="1077">
                    <c:v>Rolling Stdev (30 Minute)</c:v>
                  </c:pt>
                  <c:pt idx="1078">
                    <c:v>Rolling Stdev (30 Minute)</c:v>
                  </c:pt>
                  <c:pt idx="1079">
                    <c:v>Rolling Stdev (30 Minute)</c:v>
                  </c:pt>
                  <c:pt idx="1080">
                    <c:v>Rolling Stdev (30 Minute)</c:v>
                  </c:pt>
                  <c:pt idx="1081">
                    <c:v>Rolling Stdev (30 Minute)</c:v>
                  </c:pt>
                  <c:pt idx="1082">
                    <c:v>Rolling Stdev (30 Minute)</c:v>
                  </c:pt>
                  <c:pt idx="1083">
                    <c:v>Rolling Stdev (30 Minute)</c:v>
                  </c:pt>
                  <c:pt idx="1084">
                    <c:v>Rolling Stdev (30 Minute)</c:v>
                  </c:pt>
                  <c:pt idx="1085">
                    <c:v>Rolling Stdev (30 Minute)</c:v>
                  </c:pt>
                  <c:pt idx="1086">
                    <c:v>Rolling Stdev (30 Minute)</c:v>
                  </c:pt>
                  <c:pt idx="1087">
                    <c:v>Rolling Stdev (30 Minute)</c:v>
                  </c:pt>
                  <c:pt idx="1088">
                    <c:v>Rolling Stdev (30 Minute)</c:v>
                  </c:pt>
                  <c:pt idx="1089">
                    <c:v>Rolling Stdev (30 Minute)</c:v>
                  </c:pt>
                  <c:pt idx="1090">
                    <c:v>Rolling Stdev (30 Minute)</c:v>
                  </c:pt>
                  <c:pt idx="1091">
                    <c:v>Rolling Stdev (30 Minute)</c:v>
                  </c:pt>
                  <c:pt idx="1092">
                    <c:v>Rolling Stdev (30 Minute)</c:v>
                  </c:pt>
                  <c:pt idx="1093">
                    <c:v>Rolling Stdev (30 Minute)</c:v>
                  </c:pt>
                  <c:pt idx="1094">
                    <c:v>Rolling Stdev (30 Minute)</c:v>
                  </c:pt>
                  <c:pt idx="1095">
                    <c:v>Rolling Stdev (30 Minute)</c:v>
                  </c:pt>
                  <c:pt idx="1096">
                    <c:v>Rolling Stdev (30 Minute)</c:v>
                  </c:pt>
                  <c:pt idx="1097">
                    <c:v>Rolling Stdev (30 Minute)</c:v>
                  </c:pt>
                  <c:pt idx="1098">
                    <c:v>Rolling Stdev (30 Minute)</c:v>
                  </c:pt>
                  <c:pt idx="1099">
                    <c:v>Rolling Stdev (30 Minute)</c:v>
                  </c:pt>
                  <c:pt idx="1100">
                    <c:v>Rolling Stdev (30 Minute)</c:v>
                  </c:pt>
                  <c:pt idx="1101">
                    <c:v>Rolling Stdev (30 Minute)</c:v>
                  </c:pt>
                  <c:pt idx="1102">
                    <c:v>Rolling Stdev (30 Minute)</c:v>
                  </c:pt>
                  <c:pt idx="1103">
                    <c:v>Rolling Stdev (30 Minute)</c:v>
                  </c:pt>
                  <c:pt idx="1104">
                    <c:v>Rolling Stdev (30 Minute)</c:v>
                  </c:pt>
                  <c:pt idx="1105">
                    <c:v>Rolling Stdev (30 Minute)</c:v>
                  </c:pt>
                  <c:pt idx="1106">
                    <c:v>Rolling Stdev (30 Minute)</c:v>
                  </c:pt>
                  <c:pt idx="1107">
                    <c:v>Rolling Stdev (30 Minute)</c:v>
                  </c:pt>
                  <c:pt idx="1108">
                    <c:v>Rolling Stdev (30 Minute)</c:v>
                  </c:pt>
                  <c:pt idx="1109">
                    <c:v>Rolling Stdev (30 Minute)</c:v>
                  </c:pt>
                  <c:pt idx="1110">
                    <c:v>Rolling Stdev (30 Minute)</c:v>
                  </c:pt>
                  <c:pt idx="1111">
                    <c:v>Rolling Stdev (30 Minute)</c:v>
                  </c:pt>
                  <c:pt idx="1112">
                    <c:v>Rolling Stdev (30 Minute)</c:v>
                  </c:pt>
                  <c:pt idx="1113">
                    <c:v>Rolling Stdev (30 Minute)</c:v>
                  </c:pt>
                  <c:pt idx="1114">
                    <c:v>Rolling Stdev (30 Minute)</c:v>
                  </c:pt>
                  <c:pt idx="1115">
                    <c:v>Rolling Stdev (30 Minute)</c:v>
                  </c:pt>
                  <c:pt idx="1116">
                    <c:v>Rolling Stdev (30 Minute)</c:v>
                  </c:pt>
                  <c:pt idx="1117">
                    <c:v>Rolling Stdev (30 Minute)</c:v>
                  </c:pt>
                  <c:pt idx="1118">
                    <c:v>Rolling Stdev (30 Minute)</c:v>
                  </c:pt>
                  <c:pt idx="1119">
                    <c:v>Rolling Stdev (30 Minute)</c:v>
                  </c:pt>
                  <c:pt idx="1120">
                    <c:v>Rolling Stdev (30 Minute)</c:v>
                  </c:pt>
                  <c:pt idx="1121">
                    <c:v>Rolling Stdev (30 Minute)</c:v>
                  </c:pt>
                  <c:pt idx="1122">
                    <c:v>Rolling Stdev (30 Minute)</c:v>
                  </c:pt>
                  <c:pt idx="1123">
                    <c:v>Rolling Stdev (30 Minute)</c:v>
                  </c:pt>
                  <c:pt idx="1124">
                    <c:v>Rolling Stdev (30 Minute)</c:v>
                  </c:pt>
                  <c:pt idx="1125">
                    <c:v>Rolling Stdev (30 Minute)</c:v>
                  </c:pt>
                  <c:pt idx="1126">
                    <c:v>Rolling Stdev (30 Minute)</c:v>
                  </c:pt>
                  <c:pt idx="1127">
                    <c:v>Rolling Stdev (30 Minute)</c:v>
                  </c:pt>
                  <c:pt idx="1128">
                    <c:v>Rolling Stdev (30 Minute)</c:v>
                  </c:pt>
                  <c:pt idx="1129">
                    <c:v>Rolling Stdev (30 Minute)</c:v>
                  </c:pt>
                  <c:pt idx="1130">
                    <c:v>Rolling Stdev (30 Minute)</c:v>
                  </c:pt>
                  <c:pt idx="1131">
                    <c:v>Rolling Stdev (30 Minute)</c:v>
                  </c:pt>
                  <c:pt idx="1132">
                    <c:v>Rolling Stdev (30 Minute)</c:v>
                  </c:pt>
                  <c:pt idx="1133">
                    <c:v>Rolling Stdev (30 Minute)</c:v>
                  </c:pt>
                  <c:pt idx="1134">
                    <c:v>Rolling Stdev (30 Minute)</c:v>
                  </c:pt>
                  <c:pt idx="1135">
                    <c:v>Rolling Stdev (30 Minute)</c:v>
                  </c:pt>
                  <c:pt idx="1136">
                    <c:v>Rolling Stdev (30 Minute)</c:v>
                  </c:pt>
                  <c:pt idx="1137">
                    <c:v>Rolling Stdev (30 Minute)</c:v>
                  </c:pt>
                  <c:pt idx="1138">
                    <c:v>Rolling Stdev (30 Minute)</c:v>
                  </c:pt>
                  <c:pt idx="1139">
                    <c:v>Rolling Stdev (30 Minute)</c:v>
                  </c:pt>
                  <c:pt idx="1140">
                    <c:v>Rolling Stdev (30 Minute)</c:v>
                  </c:pt>
                  <c:pt idx="1141">
                    <c:v>Rolling Stdev (30 Minute)</c:v>
                  </c:pt>
                  <c:pt idx="1142">
                    <c:v>Rolling Stdev (30 Minute)</c:v>
                  </c:pt>
                  <c:pt idx="1143">
                    <c:v>Rolling Stdev (30 Minute)</c:v>
                  </c:pt>
                  <c:pt idx="1144">
                    <c:v>Rolling Stdev (30 Minute)</c:v>
                  </c:pt>
                  <c:pt idx="1145">
                    <c:v>Rolling Stdev (30 Minute)</c:v>
                  </c:pt>
                  <c:pt idx="1146">
                    <c:v>Rolling Stdev (30 Minute)</c:v>
                  </c:pt>
                  <c:pt idx="1147">
                    <c:v>Rolling Stdev (30 Minute)</c:v>
                  </c:pt>
                  <c:pt idx="1148">
                    <c:v>Rolling Stdev (30 Minute)</c:v>
                  </c:pt>
                  <c:pt idx="1149">
                    <c:v>Rolling Stdev (30 Minute)</c:v>
                  </c:pt>
                  <c:pt idx="1150">
                    <c:v>Rolling Stdev (30 Minute)</c:v>
                  </c:pt>
                  <c:pt idx="1151">
                    <c:v>Rolling Stdev (30 Minute)</c:v>
                  </c:pt>
                  <c:pt idx="1152">
                    <c:v>Rolling Stdev (30 Minute)</c:v>
                  </c:pt>
                  <c:pt idx="1153">
                    <c:v>Rolling Stdev (30 Minute)</c:v>
                  </c:pt>
                  <c:pt idx="1154">
                    <c:v>Rolling Stdev (30 Minute)</c:v>
                  </c:pt>
                  <c:pt idx="1155">
                    <c:v>Rolling Stdev (30 Minute)</c:v>
                  </c:pt>
                  <c:pt idx="1156">
                    <c:v>Rolling Stdev (30 Minute)</c:v>
                  </c:pt>
                  <c:pt idx="1157">
                    <c:v>Rolling Stdev (30 Minute)</c:v>
                  </c:pt>
                  <c:pt idx="1158">
                    <c:v>Rolling Stdev (30 Minute)</c:v>
                  </c:pt>
                  <c:pt idx="1159">
                    <c:v>Rolling Stdev (30 Minute)</c:v>
                  </c:pt>
                  <c:pt idx="1160">
                    <c:v>Rolling Stdev (30 Minute)</c:v>
                  </c:pt>
                  <c:pt idx="1161">
                    <c:v>Rolling Stdev (30 Minute)</c:v>
                  </c:pt>
                  <c:pt idx="1162">
                    <c:v>Rolling Stdev (30 Minute)</c:v>
                  </c:pt>
                  <c:pt idx="1163">
                    <c:v>Rolling Stdev (30 Minute)</c:v>
                  </c:pt>
                  <c:pt idx="1164">
                    <c:v>Rolling Stdev (30 Minute)</c:v>
                  </c:pt>
                  <c:pt idx="1165">
                    <c:v>Rolling Stdev (30 Minute)</c:v>
                  </c:pt>
                  <c:pt idx="1166">
                    <c:v>Rolling Stdev (30 Minute)</c:v>
                  </c:pt>
                  <c:pt idx="1167">
                    <c:v>Rolling Stdev (30 Minute)</c:v>
                  </c:pt>
                  <c:pt idx="1168">
                    <c:v>Rolling Stdev (30 Minute)</c:v>
                  </c:pt>
                  <c:pt idx="1169">
                    <c:v>Rolling Stdev (30 Minute)</c:v>
                  </c:pt>
                  <c:pt idx="1170">
                    <c:v>Rolling Stdev (30 Minute)</c:v>
                  </c:pt>
                  <c:pt idx="1171">
                    <c:v>Rolling Stdev (30 Minute)</c:v>
                  </c:pt>
                  <c:pt idx="1172">
                    <c:v>Rolling Stdev (30 Minute)</c:v>
                  </c:pt>
                  <c:pt idx="1173">
                    <c:v>Rolling Stdev (30 Minute)</c:v>
                  </c:pt>
                  <c:pt idx="1174">
                    <c:v>Rolling Stdev (30 Minute)</c:v>
                  </c:pt>
                  <c:pt idx="1175">
                    <c:v>Rolling Stdev (30 Minute)</c:v>
                  </c:pt>
                  <c:pt idx="1176">
                    <c:v>Rolling Stdev (30 Minute)</c:v>
                  </c:pt>
                  <c:pt idx="1177">
                    <c:v>Rolling Stdev (30 Minute)</c:v>
                  </c:pt>
                  <c:pt idx="1178">
                    <c:v>Rolling Stdev (30 Minute)</c:v>
                  </c:pt>
                  <c:pt idx="1179">
                    <c:v>Rolling Stdev (30 Minute)</c:v>
                  </c:pt>
                  <c:pt idx="1180">
                    <c:v>Rolling Stdev (30 Minute)</c:v>
                  </c:pt>
                  <c:pt idx="1181">
                    <c:v>Rolling Stdev (30 Minute)</c:v>
                  </c:pt>
                  <c:pt idx="1182">
                    <c:v>Rolling Stdev (30 Minute)</c:v>
                  </c:pt>
                  <c:pt idx="1183">
                    <c:v>Rolling Stdev (30 Minute)</c:v>
                  </c:pt>
                  <c:pt idx="1184">
                    <c:v>Rolling Stdev (30 Minute)</c:v>
                  </c:pt>
                  <c:pt idx="1185">
                    <c:v>Rolling Stdev (30 Minute)</c:v>
                  </c:pt>
                  <c:pt idx="1186">
                    <c:v>Rolling Stdev (30 Minute)</c:v>
                  </c:pt>
                  <c:pt idx="1187">
                    <c:v>Rolling Stdev (30 Minute)</c:v>
                  </c:pt>
                  <c:pt idx="1188">
                    <c:v>Rolling Stdev (30 Minute)</c:v>
                  </c:pt>
                  <c:pt idx="1189">
                    <c:v>Rolling Stdev (30 Minute)</c:v>
                  </c:pt>
                  <c:pt idx="1190">
                    <c:v>Rolling Stdev (30 Minute)</c:v>
                  </c:pt>
                  <c:pt idx="1191">
                    <c:v>Rolling Stdev (30 Minute)</c:v>
                  </c:pt>
                  <c:pt idx="1192">
                    <c:v>Rolling Stdev (30 Minute)</c:v>
                  </c:pt>
                  <c:pt idx="1193">
                    <c:v>Rolling Stdev (30 Minute)</c:v>
                  </c:pt>
                  <c:pt idx="1194">
                    <c:v>Rolling Stdev (30 Minute)</c:v>
                  </c:pt>
                  <c:pt idx="1195">
                    <c:v>Rolling Stdev (30 Minute)</c:v>
                  </c:pt>
                  <c:pt idx="1196">
                    <c:v>Rolling Stdev (30 Minute)</c:v>
                  </c:pt>
                  <c:pt idx="1197">
                    <c:v>Rolling Stdev (30 Minute)</c:v>
                  </c:pt>
                  <c:pt idx="1198">
                    <c:v>Rolling Stdev (30 Minute)</c:v>
                  </c:pt>
                  <c:pt idx="1199">
                    <c:v>Rolling Stdev (30 Minute)</c:v>
                  </c:pt>
                  <c:pt idx="1200">
                    <c:v>Rolling Stdev (30 Minute)</c:v>
                  </c:pt>
                  <c:pt idx="1201">
                    <c:v>Rolling Stdev (30 Minute)</c:v>
                  </c:pt>
                  <c:pt idx="1202">
                    <c:v>Rolling Stdev (30 Minute)</c:v>
                  </c:pt>
                  <c:pt idx="1203">
                    <c:v>Rolling Stdev (30 Minute)</c:v>
                  </c:pt>
                  <c:pt idx="1204">
                    <c:v>Rolling Stdev (30 Minute)</c:v>
                  </c:pt>
                  <c:pt idx="1205">
                    <c:v>Rolling Stdev (30 Minute)</c:v>
                  </c:pt>
                  <c:pt idx="1206">
                    <c:v>Rolling Stdev (30 Minute)</c:v>
                  </c:pt>
                  <c:pt idx="1207">
                    <c:v>Rolling Stdev (30 Minute)</c:v>
                  </c:pt>
                  <c:pt idx="1208">
                    <c:v>Rolling Stdev (30 Minute)</c:v>
                  </c:pt>
                  <c:pt idx="1209">
                    <c:v>Rolling Stdev (30 Minute)</c:v>
                  </c:pt>
                  <c:pt idx="1210">
                    <c:v>Rolling Stdev (30 Minute)</c:v>
                  </c:pt>
                  <c:pt idx="1211">
                    <c:v>Rolling Stdev (30 Minute)</c:v>
                  </c:pt>
                  <c:pt idx="1212">
                    <c:v>Rolling Stdev (30 Minute)</c:v>
                  </c:pt>
                  <c:pt idx="1213">
                    <c:v>Rolling Stdev (30 Minute)</c:v>
                  </c:pt>
                  <c:pt idx="1214">
                    <c:v>Rolling Stdev (30 Minute)</c:v>
                  </c:pt>
                  <c:pt idx="1215">
                    <c:v>Rolling Stdev (30 Minute)</c:v>
                  </c:pt>
                  <c:pt idx="1216">
                    <c:v>Rolling Stdev (30 Minute)</c:v>
                  </c:pt>
                  <c:pt idx="1217">
                    <c:v>Rolling Stdev (30 Minute)</c:v>
                  </c:pt>
                  <c:pt idx="1218">
                    <c:v>Rolling Stdev (30 Minute)</c:v>
                  </c:pt>
                  <c:pt idx="1219">
                    <c:v>Rolling Stdev (30 Minute)</c:v>
                  </c:pt>
                  <c:pt idx="1220">
                    <c:v>Rolling Stdev (30 Minute)</c:v>
                  </c:pt>
                  <c:pt idx="1221">
                    <c:v>Rolling Stdev (30 Minute)</c:v>
                  </c:pt>
                  <c:pt idx="1222">
                    <c:v>Rolling Stdev (30 Minute)</c:v>
                  </c:pt>
                  <c:pt idx="1223">
                    <c:v>Rolling Stdev (30 Minute)</c:v>
                  </c:pt>
                  <c:pt idx="1224">
                    <c:v>Rolling Stdev (30 Minute)</c:v>
                  </c:pt>
                  <c:pt idx="1225">
                    <c:v>Rolling Stdev (30 Minute)</c:v>
                  </c:pt>
                  <c:pt idx="1226">
                    <c:v>Rolling Stdev (30 Minute)</c:v>
                  </c:pt>
                  <c:pt idx="1227">
                    <c:v>Rolling Stdev (30 Minute)</c:v>
                  </c:pt>
                  <c:pt idx="1228">
                    <c:v>Rolling Stdev (30 Minute)</c:v>
                  </c:pt>
                  <c:pt idx="1229">
                    <c:v>Rolling Stdev (30 Minute)</c:v>
                  </c:pt>
                  <c:pt idx="1230">
                    <c:v>Rolling Stdev (30 Minute)</c:v>
                  </c:pt>
                  <c:pt idx="1231">
                    <c:v>Rolling Stdev (30 Minute)</c:v>
                  </c:pt>
                  <c:pt idx="1232">
                    <c:v>Rolling Stdev (30 Minute)</c:v>
                  </c:pt>
                  <c:pt idx="1233">
                    <c:v>Rolling Stdev (30 Minute)</c:v>
                  </c:pt>
                  <c:pt idx="1234">
                    <c:v>Rolling Stdev (30 Minute)</c:v>
                  </c:pt>
                  <c:pt idx="1235">
                    <c:v>Rolling Stdev (30 Minute)</c:v>
                  </c:pt>
                  <c:pt idx="1236">
                    <c:v>Rolling Stdev (30 Minute)</c:v>
                  </c:pt>
                  <c:pt idx="1237">
                    <c:v>Rolling Stdev (30 Minute)</c:v>
                  </c:pt>
                  <c:pt idx="1238">
                    <c:v>Rolling Stdev (30 Minute)</c:v>
                  </c:pt>
                  <c:pt idx="1239">
                    <c:v>Rolling Stdev (30 Minute)</c:v>
                  </c:pt>
                  <c:pt idx="1240">
                    <c:v>Rolling Stdev (30 Minute)</c:v>
                  </c:pt>
                  <c:pt idx="1241">
                    <c:v>Rolling Stdev (30 Minute)</c:v>
                  </c:pt>
                  <c:pt idx="1242">
                    <c:v>Rolling Stdev (30 Minute)</c:v>
                  </c:pt>
                  <c:pt idx="1243">
                    <c:v>Rolling Stdev (30 Minute)</c:v>
                  </c:pt>
                  <c:pt idx="1244">
                    <c:v>Rolling Stdev (30 Minute)</c:v>
                  </c:pt>
                  <c:pt idx="1245">
                    <c:v>Rolling Stdev (30 Minute)</c:v>
                  </c:pt>
                  <c:pt idx="1246">
                    <c:v>Rolling Stdev (30 Minute)</c:v>
                  </c:pt>
                  <c:pt idx="1247">
                    <c:v>Rolling Stdev (30 Minute)</c:v>
                  </c:pt>
                  <c:pt idx="1248">
                    <c:v>Rolling Stdev (30 Minute)</c:v>
                  </c:pt>
                  <c:pt idx="1249">
                    <c:v>Rolling Stdev (30 Minute)</c:v>
                  </c:pt>
                  <c:pt idx="1250">
                    <c:v>Rolling Stdev (30 Minute)</c:v>
                  </c:pt>
                  <c:pt idx="1251">
                    <c:v>Rolling Stdev (30 Minute)</c:v>
                  </c:pt>
                  <c:pt idx="1252">
                    <c:v>Rolling Stdev (30 Minute)</c:v>
                  </c:pt>
                  <c:pt idx="1253">
                    <c:v>Rolling Stdev (30 Minute)</c:v>
                  </c:pt>
                  <c:pt idx="1254">
                    <c:v>Rolling Stdev (30 Minute)</c:v>
                  </c:pt>
                  <c:pt idx="1255">
                    <c:v>Rolling Stdev (30 Minute)</c:v>
                  </c:pt>
                  <c:pt idx="1256">
                    <c:v>Rolling Stdev (30 Minute)</c:v>
                  </c:pt>
                  <c:pt idx="1257">
                    <c:v>Rolling Stdev (30 Minute)</c:v>
                  </c:pt>
                  <c:pt idx="1258">
                    <c:v>Rolling Stdev (30 Minute)</c:v>
                  </c:pt>
                  <c:pt idx="1259">
                    <c:v>Rolling Stdev (30 Minute)</c:v>
                  </c:pt>
                  <c:pt idx="1260">
                    <c:v>Rolling Stdev (30 Minute)</c:v>
                  </c:pt>
                  <c:pt idx="1261">
                    <c:v>Rolling Stdev (30 Minute)</c:v>
                  </c:pt>
                  <c:pt idx="1262">
                    <c:v>Rolling Stdev (30 Minute)</c:v>
                  </c:pt>
                  <c:pt idx="1263">
                    <c:v>Rolling Stdev (30 Minute)</c:v>
                  </c:pt>
                  <c:pt idx="1264">
                    <c:v>Rolling Stdev (30 Minute)</c:v>
                  </c:pt>
                  <c:pt idx="1265">
                    <c:v>Rolling Stdev (30 Minute)</c:v>
                  </c:pt>
                  <c:pt idx="1266">
                    <c:v>Rolling Stdev (30 Minute)</c:v>
                  </c:pt>
                  <c:pt idx="1267">
                    <c:v>Rolling Stdev (30 Minute)</c:v>
                  </c:pt>
                  <c:pt idx="1268">
                    <c:v>Rolling Stdev (30 Minute)</c:v>
                  </c:pt>
                  <c:pt idx="1269">
                    <c:v>Rolling Stdev (30 Minute)</c:v>
                  </c:pt>
                  <c:pt idx="1270">
                    <c:v>Rolling Stdev (30 Minute)</c:v>
                  </c:pt>
                  <c:pt idx="1271">
                    <c:v>Rolling Stdev (30 Minute)</c:v>
                  </c:pt>
                  <c:pt idx="1272">
                    <c:v>Rolling Stdev (30 Minute)</c:v>
                  </c:pt>
                  <c:pt idx="1273">
                    <c:v>Rolling Stdev (30 Minute)</c:v>
                  </c:pt>
                  <c:pt idx="1274">
                    <c:v>Rolling Stdev (30 Minute)</c:v>
                  </c:pt>
                  <c:pt idx="1275">
                    <c:v>Rolling Stdev (30 Minute)</c:v>
                  </c:pt>
                  <c:pt idx="1276">
                    <c:v>Rolling Stdev (30 Minute)</c:v>
                  </c:pt>
                  <c:pt idx="1277">
                    <c:v>Rolling Stdev (30 Minute)</c:v>
                  </c:pt>
                  <c:pt idx="1278">
                    <c:v>Rolling Stdev (30 Minute)</c:v>
                  </c:pt>
                  <c:pt idx="1279">
                    <c:v>Rolling Stdev (30 Minute)</c:v>
                  </c:pt>
                  <c:pt idx="1280">
                    <c:v>Rolling Stdev (30 Minute)</c:v>
                  </c:pt>
                  <c:pt idx="1281">
                    <c:v>Rolling Stdev (30 Minute)</c:v>
                  </c:pt>
                  <c:pt idx="1282">
                    <c:v>Rolling Stdev (30 Minute)</c:v>
                  </c:pt>
                  <c:pt idx="1283">
                    <c:v>Rolling Stdev (30 Minute)</c:v>
                  </c:pt>
                  <c:pt idx="1284">
                    <c:v>Rolling Stdev (30 Minute)</c:v>
                  </c:pt>
                  <c:pt idx="1285">
                    <c:v>Rolling Stdev (30 Minute)</c:v>
                  </c:pt>
                  <c:pt idx="1286">
                    <c:v>Rolling Stdev (30 Minute)</c:v>
                  </c:pt>
                  <c:pt idx="1287">
                    <c:v>Rolling Stdev (30 Minute)</c:v>
                  </c:pt>
                  <c:pt idx="1288">
                    <c:v>Rolling Stdev (30 Minute)</c:v>
                  </c:pt>
                  <c:pt idx="1289">
                    <c:v>Rolling Stdev (30 Minute)</c:v>
                  </c:pt>
                  <c:pt idx="1290">
                    <c:v>Rolling Stdev (30 Minute)</c:v>
                  </c:pt>
                  <c:pt idx="1291">
                    <c:v>Rolling Stdev (30 Minute)</c:v>
                  </c:pt>
                  <c:pt idx="1292">
                    <c:v>Rolling Stdev (30 Minute)</c:v>
                  </c:pt>
                  <c:pt idx="1293">
                    <c:v>Rolling Stdev (30 Minute)</c:v>
                  </c:pt>
                  <c:pt idx="1294">
                    <c:v>Rolling Stdev (30 Minute)</c:v>
                  </c:pt>
                  <c:pt idx="1295">
                    <c:v>Rolling Stdev (30 Minute)</c:v>
                  </c:pt>
                  <c:pt idx="1296">
                    <c:v>Rolling Stdev (30 Minute)</c:v>
                  </c:pt>
                  <c:pt idx="1297">
                    <c:v>Rolling Stdev (30 Minute)</c:v>
                  </c:pt>
                  <c:pt idx="1298">
                    <c:v>Rolling Stdev (30 Minute)</c:v>
                  </c:pt>
                  <c:pt idx="1299">
                    <c:v>Rolling Stdev (30 Minute)</c:v>
                  </c:pt>
                  <c:pt idx="1300">
                    <c:v>Rolling Stdev (30 Minute)</c:v>
                  </c:pt>
                  <c:pt idx="1301">
                    <c:v>Rolling Stdev (30 Minute)</c:v>
                  </c:pt>
                  <c:pt idx="1302">
                    <c:v>Rolling Stdev (30 Minute)</c:v>
                  </c:pt>
                  <c:pt idx="1303">
                    <c:v>Rolling Stdev (30 Minute)</c:v>
                  </c:pt>
                  <c:pt idx="1304">
                    <c:v>Rolling Stdev (30 Minute)</c:v>
                  </c:pt>
                  <c:pt idx="1305">
                    <c:v>Rolling Stdev (30 Minute)</c:v>
                  </c:pt>
                  <c:pt idx="1306">
                    <c:v>Rolling Stdev (30 Minute)</c:v>
                  </c:pt>
                  <c:pt idx="1307">
                    <c:v>Rolling Stdev (30 Minute)</c:v>
                  </c:pt>
                  <c:pt idx="1308">
                    <c:v>Rolling Stdev (30 Minute)</c:v>
                  </c:pt>
                  <c:pt idx="1309">
                    <c:v>Rolling Stdev (30 Minute)</c:v>
                  </c:pt>
                  <c:pt idx="1310">
                    <c:v>Rolling Stdev (30 Minute)</c:v>
                  </c:pt>
                  <c:pt idx="1311">
                    <c:v>Rolling Stdev (30 Minute)</c:v>
                  </c:pt>
                  <c:pt idx="1312">
                    <c:v>Rolling Stdev (30 Minute)</c:v>
                  </c:pt>
                  <c:pt idx="1313">
                    <c:v>Rolling Stdev (30 Minute)</c:v>
                  </c:pt>
                  <c:pt idx="1314">
                    <c:v>Rolling Stdev (30 Minute)</c:v>
                  </c:pt>
                  <c:pt idx="1315">
                    <c:v>Rolling Stdev (30 Minute)</c:v>
                  </c:pt>
                  <c:pt idx="1316">
                    <c:v>Rolling Stdev (30 Minute)</c:v>
                  </c:pt>
                  <c:pt idx="1317">
                    <c:v>Rolling Stdev (30 Minute)</c:v>
                  </c:pt>
                  <c:pt idx="1318">
                    <c:v>Rolling Stdev (30 Minute)</c:v>
                  </c:pt>
                  <c:pt idx="1319">
                    <c:v>Rolling Stdev (30 Minute)</c:v>
                  </c:pt>
                  <c:pt idx="1320">
                    <c:v>Rolling Stdev (30 Minute)</c:v>
                  </c:pt>
                  <c:pt idx="1321">
                    <c:v>Rolling Stdev (30 Minute)</c:v>
                  </c:pt>
                  <c:pt idx="1322">
                    <c:v>Rolling Stdev (30 Minute)</c:v>
                  </c:pt>
                  <c:pt idx="1323">
                    <c:v>Rolling Stdev (30 Minute)</c:v>
                  </c:pt>
                  <c:pt idx="1324">
                    <c:v>Rolling Stdev (30 Minute)</c:v>
                  </c:pt>
                  <c:pt idx="1325">
                    <c:v>Rolling Stdev (30 Minute)</c:v>
                  </c:pt>
                  <c:pt idx="1326">
                    <c:v>Rolling Stdev (30 Minute)</c:v>
                  </c:pt>
                  <c:pt idx="1327">
                    <c:v>Rolling Stdev (30 Minute)</c:v>
                  </c:pt>
                  <c:pt idx="1328">
                    <c:v>Rolling Stdev (30 Minute)</c:v>
                  </c:pt>
                  <c:pt idx="1329">
                    <c:v>Rolling Stdev (30 Minute)</c:v>
                  </c:pt>
                  <c:pt idx="1330">
                    <c:v>Rolling Stdev (30 Minute)</c:v>
                  </c:pt>
                  <c:pt idx="1331">
                    <c:v>Rolling Stdev (30 Minute)</c:v>
                  </c:pt>
                  <c:pt idx="1332">
                    <c:v>Rolling Stdev (30 Minute)</c:v>
                  </c:pt>
                  <c:pt idx="1333">
                    <c:v>Rolling Stdev (30 Minute)</c:v>
                  </c:pt>
                  <c:pt idx="1334">
                    <c:v>Rolling Stdev (30 Minute)</c:v>
                  </c:pt>
                  <c:pt idx="1335">
                    <c:v>Rolling Stdev (30 Minute)</c:v>
                  </c:pt>
                  <c:pt idx="1336">
                    <c:v>Rolling Stdev (30 Minute)</c:v>
                  </c:pt>
                  <c:pt idx="1337">
                    <c:v>Rolling Stdev (30 Minute)</c:v>
                  </c:pt>
                  <c:pt idx="1338">
                    <c:v>Rolling Stdev (30 Minute)</c:v>
                  </c:pt>
                  <c:pt idx="1339">
                    <c:v>Rolling Stdev (30 Minute)</c:v>
                  </c:pt>
                  <c:pt idx="1340">
                    <c:v>Rolling Stdev (30 Minute)</c:v>
                  </c:pt>
                  <c:pt idx="1341">
                    <c:v>Rolling Stdev (30 Minute)</c:v>
                  </c:pt>
                  <c:pt idx="1342">
                    <c:v>Rolling Stdev (30 Minute)</c:v>
                  </c:pt>
                  <c:pt idx="1343">
                    <c:v>Rolling Stdev (30 Minute)</c:v>
                  </c:pt>
                  <c:pt idx="1344">
                    <c:v>Rolling Stdev (30 Minute)</c:v>
                  </c:pt>
                  <c:pt idx="1345">
                    <c:v>Rolling Stdev (30 Minute)</c:v>
                  </c:pt>
                  <c:pt idx="1346">
                    <c:v>Rolling Stdev (30 Minute)</c:v>
                  </c:pt>
                  <c:pt idx="1347">
                    <c:v>Rolling Stdev (30 Minute)</c:v>
                  </c:pt>
                  <c:pt idx="1348">
                    <c:v>Rolling Stdev (30 Minute)</c:v>
                  </c:pt>
                  <c:pt idx="1349">
                    <c:v>Rolling Stdev (30 Minute)</c:v>
                  </c:pt>
                  <c:pt idx="1350">
                    <c:v>Rolling Stdev (30 Minute)</c:v>
                  </c:pt>
                  <c:pt idx="1351">
                    <c:v>Rolling Stdev (30 Minute)</c:v>
                  </c:pt>
                  <c:pt idx="1352">
                    <c:v>Rolling Stdev (30 Minute)</c:v>
                  </c:pt>
                  <c:pt idx="1353">
                    <c:v>Rolling Stdev (30 Minute)</c:v>
                  </c:pt>
                  <c:pt idx="1354">
                    <c:v>Rolling Stdev (30 Minute)</c:v>
                  </c:pt>
                  <c:pt idx="1355">
                    <c:v>Rolling Stdev (30 Minute)</c:v>
                  </c:pt>
                  <c:pt idx="1356">
                    <c:v>Rolling Stdev (30 Minute)</c:v>
                  </c:pt>
                  <c:pt idx="1357">
                    <c:v>Rolling Stdev (30 Minute)</c:v>
                  </c:pt>
                  <c:pt idx="1358">
                    <c:v>Rolling Stdev (30 Minute)</c:v>
                  </c:pt>
                  <c:pt idx="1359">
                    <c:v>Rolling Stdev (30 Minute)</c:v>
                  </c:pt>
                  <c:pt idx="1360">
                    <c:v>Rolling Stdev (30 Minute)</c:v>
                  </c:pt>
                  <c:pt idx="1361">
                    <c:v>Rolling Stdev (30 Minute)</c:v>
                  </c:pt>
                  <c:pt idx="1362">
                    <c:v>Rolling Stdev (30 Minute)</c:v>
                  </c:pt>
                  <c:pt idx="1363">
                    <c:v>Rolling Stdev (30 Minute)</c:v>
                  </c:pt>
                  <c:pt idx="1364">
                    <c:v>Rolling Stdev (30 Minute)</c:v>
                  </c:pt>
                  <c:pt idx="1365">
                    <c:v>Rolling Stdev (30 Minute)</c:v>
                  </c:pt>
                  <c:pt idx="1366">
                    <c:v>Rolling Stdev (30 Minute)</c:v>
                  </c:pt>
                  <c:pt idx="1367">
                    <c:v>Rolling Stdev (30 Minute)</c:v>
                  </c:pt>
                  <c:pt idx="1368">
                    <c:v>Rolling Stdev (30 Minute)</c:v>
                  </c:pt>
                  <c:pt idx="1369">
                    <c:v>Rolling Stdev (30 Minute)</c:v>
                  </c:pt>
                  <c:pt idx="1370">
                    <c:v>Rolling Stdev (30 Minute)</c:v>
                  </c:pt>
                  <c:pt idx="1371">
                    <c:v>Rolling Stdev (30 Minute)</c:v>
                  </c:pt>
                  <c:pt idx="1372">
                    <c:v>Rolling Stdev (30 Minute)</c:v>
                  </c:pt>
                  <c:pt idx="1373">
                    <c:v>Rolling Stdev (30 Minute)</c:v>
                  </c:pt>
                  <c:pt idx="1374">
                    <c:v>Rolling Stdev (30 Minute)</c:v>
                  </c:pt>
                  <c:pt idx="1375">
                    <c:v>Rolling Stdev (30 Minute)</c:v>
                  </c:pt>
                  <c:pt idx="1376">
                    <c:v>Rolling Stdev (30 Minute)</c:v>
                  </c:pt>
                  <c:pt idx="1377">
                    <c:v>Rolling Stdev (30 Minute)</c:v>
                  </c:pt>
                  <c:pt idx="1378">
                    <c:v>Rolling Stdev (30 Minute)</c:v>
                  </c:pt>
                  <c:pt idx="1379">
                    <c:v>Rolling Stdev (30 Minute)</c:v>
                  </c:pt>
                  <c:pt idx="1380">
                    <c:v>Rolling Stdev (30 Minute)</c:v>
                  </c:pt>
                  <c:pt idx="1381">
                    <c:v>Rolling Stdev (30 Minute)</c:v>
                  </c:pt>
                  <c:pt idx="1382">
                    <c:v>Rolling Stdev (30 Minute)</c:v>
                  </c:pt>
                  <c:pt idx="1383">
                    <c:v>Rolling Stdev (30 Minute)</c:v>
                  </c:pt>
                  <c:pt idx="1384">
                    <c:v>Rolling Stdev (30 Minute)</c:v>
                  </c:pt>
                  <c:pt idx="1385">
                    <c:v>Rolling Stdev (30 Minute)</c:v>
                  </c:pt>
                  <c:pt idx="1386">
                    <c:v>Rolling Stdev (30 Minute)</c:v>
                  </c:pt>
                  <c:pt idx="1387">
                    <c:v>Rolling Stdev (30 Minute)</c:v>
                  </c:pt>
                  <c:pt idx="1388">
                    <c:v>Rolling Stdev (30 Minute)</c:v>
                  </c:pt>
                  <c:pt idx="1389">
                    <c:v>Rolling Stdev (30 Minute)</c:v>
                  </c:pt>
                  <c:pt idx="1390">
                    <c:v>Rolling Stdev (30 Minute)</c:v>
                  </c:pt>
                  <c:pt idx="1391">
                    <c:v>Rolling Stdev (30 Minute)</c:v>
                  </c:pt>
                  <c:pt idx="1392">
                    <c:v>Rolling Stdev (30 Minute)</c:v>
                  </c:pt>
                  <c:pt idx="1393">
                    <c:v>Rolling Stdev (30 Minute)</c:v>
                  </c:pt>
                  <c:pt idx="1394">
                    <c:v>Rolling Stdev (30 Minute)</c:v>
                  </c:pt>
                  <c:pt idx="1395">
                    <c:v>Rolling Stdev (30 Minute)</c:v>
                  </c:pt>
                  <c:pt idx="1396">
                    <c:v>Rolling Stdev (30 Minute)</c:v>
                  </c:pt>
                  <c:pt idx="1397">
                    <c:v>Rolling Stdev (30 Minute)</c:v>
                  </c:pt>
                  <c:pt idx="1398">
                    <c:v>Rolling Stdev (30 Minute)</c:v>
                  </c:pt>
                  <c:pt idx="1399">
                    <c:v>Rolling Stdev (30 Minute)</c:v>
                  </c:pt>
                  <c:pt idx="1400">
                    <c:v>Rolling Stdev (30 Minute)</c:v>
                  </c:pt>
                  <c:pt idx="1401">
                    <c:v>Rolling Stdev (30 Minute)</c:v>
                  </c:pt>
                  <c:pt idx="1402">
                    <c:v>Rolling Stdev (30 Minute)</c:v>
                  </c:pt>
                  <c:pt idx="1403">
                    <c:v>Rolling Stdev (30 Minute)</c:v>
                  </c:pt>
                  <c:pt idx="1404">
                    <c:v>Rolling Stdev (30 Minute)</c:v>
                  </c:pt>
                  <c:pt idx="1405">
                    <c:v>Rolling Stdev (30 Minute)</c:v>
                  </c:pt>
                  <c:pt idx="1406">
                    <c:v>Rolling Stdev (30 Minute)</c:v>
                  </c:pt>
                  <c:pt idx="1407">
                    <c:v>Rolling Stdev (30 Minute)</c:v>
                  </c:pt>
                  <c:pt idx="1408">
                    <c:v>Rolling Stdev (30 Minute)</c:v>
                  </c:pt>
                  <c:pt idx="1409">
                    <c:v>Rolling Stdev (30 Minute)</c:v>
                  </c:pt>
                  <c:pt idx="1410">
                    <c:v>Rolling Stdev (30 Minute)</c:v>
                  </c:pt>
                  <c:pt idx="1411">
                    <c:v>Rolling Stdev (30 Minute)</c:v>
                  </c:pt>
                  <c:pt idx="1412">
                    <c:v>Rolling Stdev (30 Minute)</c:v>
                  </c:pt>
                  <c:pt idx="1413">
                    <c:v>Rolling Stdev (30 Minute)</c:v>
                  </c:pt>
                  <c:pt idx="1414">
                    <c:v>Rolling Stdev (30 Minute)</c:v>
                  </c:pt>
                  <c:pt idx="1415">
                    <c:v>Rolling Stdev (30 Minute)</c:v>
                  </c:pt>
                  <c:pt idx="1416">
                    <c:v>Rolling Stdev (30 Minute)</c:v>
                  </c:pt>
                  <c:pt idx="1417">
                    <c:v>Rolling Stdev (30 Minute)</c:v>
                  </c:pt>
                  <c:pt idx="1418">
                    <c:v>Rolling Stdev (30 Minute)</c:v>
                  </c:pt>
                  <c:pt idx="1419">
                    <c:v>Rolling Stdev (30 Minute)</c:v>
                  </c:pt>
                  <c:pt idx="1420">
                    <c:v>Rolling Stdev (30 Minute)</c:v>
                  </c:pt>
                  <c:pt idx="1421">
                    <c:v>Rolling Stdev (30 Minute)</c:v>
                  </c:pt>
                  <c:pt idx="1422">
                    <c:v>Rolling Stdev (30 Minute)</c:v>
                  </c:pt>
                  <c:pt idx="1423">
                    <c:v>Rolling Stdev (30 Minute)</c:v>
                  </c:pt>
                  <c:pt idx="1424">
                    <c:v>Rolling Stdev (30 Minute)</c:v>
                  </c:pt>
                  <c:pt idx="1425">
                    <c:v>Rolling Stdev (30 Minute)</c:v>
                  </c:pt>
                  <c:pt idx="1426">
                    <c:v>Rolling Stdev (30 Minute)</c:v>
                  </c:pt>
                  <c:pt idx="1427">
                    <c:v>Rolling Stdev (30 Minute)</c:v>
                  </c:pt>
                  <c:pt idx="1428">
                    <c:v>Rolling Stdev (30 Minute)</c:v>
                  </c:pt>
                  <c:pt idx="1429">
                    <c:v>Rolling Stdev (30 Minute)</c:v>
                  </c:pt>
                  <c:pt idx="1430">
                    <c:v>Rolling Stdev (30 Minute)</c:v>
                  </c:pt>
                  <c:pt idx="1431">
                    <c:v>Rolling Stdev (30 Minute)</c:v>
                  </c:pt>
                  <c:pt idx="1432">
                    <c:v>Rolling Stdev (30 Minute)</c:v>
                  </c:pt>
                  <c:pt idx="1433">
                    <c:v>Rolling Stdev (30 Minute)</c:v>
                  </c:pt>
                  <c:pt idx="1434">
                    <c:v>Rolling Stdev (30 Minute)</c:v>
                  </c:pt>
                  <c:pt idx="1435">
                    <c:v>Rolling Stdev (30 Minute)</c:v>
                  </c:pt>
                  <c:pt idx="1436">
                    <c:v>Rolling Stdev (30 Minute)</c:v>
                  </c:pt>
                  <c:pt idx="1437">
                    <c:v>Rolling Stdev (30 Minute)</c:v>
                  </c:pt>
                  <c:pt idx="1438">
                    <c:v>Rolling Stdev (30 Minute)</c:v>
                  </c:pt>
                  <c:pt idx="1439">
                    <c:v>Rolling Stdev (30 Minute)</c:v>
                  </c:pt>
                  <c:pt idx="1440">
                    <c:v>Rolling Stdev (30 Minute)</c:v>
                  </c:pt>
                  <c:pt idx="1441">
                    <c:v>Rolling Stdev (30 Minute)</c:v>
                  </c:pt>
                  <c:pt idx="1442">
                    <c:v>Rolling Stdev (30 Minute)</c:v>
                  </c:pt>
                  <c:pt idx="1443">
                    <c:v>Rolling Stdev (30 Minute)</c:v>
                  </c:pt>
                  <c:pt idx="1444">
                    <c:v>Rolling Stdev (30 Minute)</c:v>
                  </c:pt>
                  <c:pt idx="1445">
                    <c:v>Rolling Stdev (30 Minute)</c:v>
                  </c:pt>
                  <c:pt idx="1446">
                    <c:v>Rolling Stdev (30 Minute)</c:v>
                  </c:pt>
                  <c:pt idx="1447">
                    <c:v>Rolling Stdev (30 Minute)</c:v>
                  </c:pt>
                  <c:pt idx="1448">
                    <c:v>Rolling Stdev (30 Minute)</c:v>
                  </c:pt>
                  <c:pt idx="1449">
                    <c:v>Rolling Stdev (30 Minute)</c:v>
                  </c:pt>
                  <c:pt idx="1450">
                    <c:v>Rolling Stdev (30 Minute)</c:v>
                  </c:pt>
                  <c:pt idx="1451">
                    <c:v>Rolling Stdev (30 Minute)</c:v>
                  </c:pt>
                  <c:pt idx="1452">
                    <c:v>Rolling Stdev (30 Minute)</c:v>
                  </c:pt>
                  <c:pt idx="1453">
                    <c:v>Rolling Stdev (30 Minute)</c:v>
                  </c:pt>
                  <c:pt idx="1454">
                    <c:v>Rolling Stdev (30 Minute)</c:v>
                  </c:pt>
                  <c:pt idx="1455">
                    <c:v>Rolling Stdev (30 Minute)</c:v>
                  </c:pt>
                  <c:pt idx="1456">
                    <c:v>Rolling Stdev (30 Minute)</c:v>
                  </c:pt>
                  <c:pt idx="1457">
                    <c:v>Rolling Stdev (30 Minute)</c:v>
                  </c:pt>
                  <c:pt idx="1458">
                    <c:v>Rolling Stdev (30 Minute)</c:v>
                  </c:pt>
                  <c:pt idx="1459">
                    <c:v>Rolling Stdev (30 Minute)</c:v>
                  </c:pt>
                  <c:pt idx="1460">
                    <c:v>Rolling Stdev (30 Minute)</c:v>
                  </c:pt>
                  <c:pt idx="1461">
                    <c:v>Rolling Stdev (30 Minute)</c:v>
                  </c:pt>
                  <c:pt idx="1462">
                    <c:v>Rolling Stdev (30 Minute)</c:v>
                  </c:pt>
                  <c:pt idx="1463">
                    <c:v>Rolling Stdev (30 Minute)</c:v>
                  </c:pt>
                  <c:pt idx="1464">
                    <c:v>Rolling Stdev (30 Minute)</c:v>
                  </c:pt>
                  <c:pt idx="1465">
                    <c:v>Rolling Stdev (30 Minute)</c:v>
                  </c:pt>
                  <c:pt idx="1466">
                    <c:v>Rolling Stdev (30 Minute)</c:v>
                  </c:pt>
                  <c:pt idx="1467">
                    <c:v>Rolling Stdev (30 Minute)</c:v>
                  </c:pt>
                  <c:pt idx="1468">
                    <c:v>Rolling Stdev (30 Minute)</c:v>
                  </c:pt>
                  <c:pt idx="1469">
                    <c:v>Rolling Stdev (30 Minute)</c:v>
                  </c:pt>
                  <c:pt idx="1470">
                    <c:v>Rolling Stdev (30 Minute)</c:v>
                  </c:pt>
                  <c:pt idx="1471">
                    <c:v>Rolling Stdev (30 Minute)</c:v>
                  </c:pt>
                  <c:pt idx="1472">
                    <c:v>Rolling Stdev (30 Minute)</c:v>
                  </c:pt>
                  <c:pt idx="1473">
                    <c:v>Rolling Stdev (30 Minute)</c:v>
                  </c:pt>
                  <c:pt idx="1474">
                    <c:v>Rolling Stdev (30 Minute)</c:v>
                  </c:pt>
                  <c:pt idx="1475">
                    <c:v>Rolling Stdev (30 Minute)</c:v>
                  </c:pt>
                  <c:pt idx="1476">
                    <c:v>Rolling Stdev (30 Minute)</c:v>
                  </c:pt>
                  <c:pt idx="1477">
                    <c:v>Rolling Stdev (30 Minute)</c:v>
                  </c:pt>
                  <c:pt idx="1478">
                    <c:v>Rolling Stdev (30 Minute)</c:v>
                  </c:pt>
                  <c:pt idx="1479">
                    <c:v>Rolling Stdev (30 Minute)</c:v>
                  </c:pt>
                  <c:pt idx="1480">
                    <c:v>Rolling Stdev (30 Minute)</c:v>
                  </c:pt>
                  <c:pt idx="1481">
                    <c:v>Rolling Stdev (30 Minute)</c:v>
                  </c:pt>
                  <c:pt idx="1482">
                    <c:v>Rolling Stdev (30 Minute)</c:v>
                  </c:pt>
                  <c:pt idx="1483">
                    <c:v>Rolling Stdev (30 Minute)</c:v>
                  </c:pt>
                  <c:pt idx="1484">
                    <c:v>Rolling Stdev (30 Minute)</c:v>
                  </c:pt>
                  <c:pt idx="1485">
                    <c:v>Rolling Stdev (30 Minute)</c:v>
                  </c:pt>
                  <c:pt idx="1486">
                    <c:v>Rolling Stdev (30 Minute)</c:v>
                  </c:pt>
                  <c:pt idx="1487">
                    <c:v>Rolling Stdev (30 Minute)</c:v>
                  </c:pt>
                  <c:pt idx="1488">
                    <c:v>Rolling Stdev (30 Minute)</c:v>
                  </c:pt>
                  <c:pt idx="1489">
                    <c:v>Rolling Stdev (30 Minute)</c:v>
                  </c:pt>
                  <c:pt idx="1490">
                    <c:v>Rolling Stdev (30 Minute)</c:v>
                  </c:pt>
                  <c:pt idx="1491">
                    <c:v>Rolling Stdev (30 Minute)</c:v>
                  </c:pt>
                  <c:pt idx="1492">
                    <c:v>Rolling Stdev (30 Minute)</c:v>
                  </c:pt>
                  <c:pt idx="1493">
                    <c:v>Rolling Stdev (30 Minute)</c:v>
                  </c:pt>
                  <c:pt idx="1494">
                    <c:v>Rolling Stdev (30 Minute)</c:v>
                  </c:pt>
                  <c:pt idx="1495">
                    <c:v>Rolling Stdev (30 Minute)</c:v>
                  </c:pt>
                  <c:pt idx="1496">
                    <c:v>Rolling Stdev (30 Minute)</c:v>
                  </c:pt>
                  <c:pt idx="1497">
                    <c:v>Rolling Stdev (30 Minute)</c:v>
                  </c:pt>
                  <c:pt idx="1498">
                    <c:v>Rolling Stdev (30 Minute)</c:v>
                  </c:pt>
                  <c:pt idx="1499">
                    <c:v>Rolling Stdev (30 Minute)</c:v>
                  </c:pt>
                  <c:pt idx="1500">
                    <c:v>Rolling Stdev (30 Minute)</c:v>
                  </c:pt>
                  <c:pt idx="1501">
                    <c:v>Rolling Stdev (30 Minute)</c:v>
                  </c:pt>
                  <c:pt idx="1502">
                    <c:v>Rolling Stdev (30 Minute)</c:v>
                  </c:pt>
                  <c:pt idx="1503">
                    <c:v>Rolling Stdev (30 Minute)</c:v>
                  </c:pt>
                  <c:pt idx="1504">
                    <c:v>Rolling Stdev (30 Minute)</c:v>
                  </c:pt>
                  <c:pt idx="1505">
                    <c:v>Rolling Stdev (30 Minute)</c:v>
                  </c:pt>
                  <c:pt idx="1506">
                    <c:v>Rolling Stdev (30 Minute)</c:v>
                  </c:pt>
                  <c:pt idx="1507">
                    <c:v>Rolling Stdev (30 Minute)</c:v>
                  </c:pt>
                  <c:pt idx="1508">
                    <c:v>Rolling Stdev (30 Minute)</c:v>
                  </c:pt>
                  <c:pt idx="1509">
                    <c:v>Rolling Stdev (30 Minute)</c:v>
                  </c:pt>
                  <c:pt idx="1510">
                    <c:v>Rolling Stdev (30 Minute)</c:v>
                  </c:pt>
                  <c:pt idx="1511">
                    <c:v>Rolling Stdev (30 Minute)</c:v>
                  </c:pt>
                  <c:pt idx="1512">
                    <c:v>Rolling Stdev (30 Minute)</c:v>
                  </c:pt>
                  <c:pt idx="1513">
                    <c:v>Rolling Stdev (30 Minute)</c:v>
                  </c:pt>
                  <c:pt idx="1514">
                    <c:v>Rolling Stdev (30 Minute)</c:v>
                  </c:pt>
                  <c:pt idx="1515">
                    <c:v>Rolling Stdev (30 Minute)</c:v>
                  </c:pt>
                  <c:pt idx="1516">
                    <c:v>Rolling Stdev (30 Minute)</c:v>
                  </c:pt>
                  <c:pt idx="1517">
                    <c:v>Rolling Stdev (30 Minute)</c:v>
                  </c:pt>
                  <c:pt idx="1518">
                    <c:v>Rolling Stdev (30 Minute)</c:v>
                  </c:pt>
                  <c:pt idx="1519">
                    <c:v>Rolling Stdev (30 Minute)</c:v>
                  </c:pt>
                  <c:pt idx="1520">
                    <c:v>Rolling Stdev (30 Minute)</c:v>
                  </c:pt>
                  <c:pt idx="1521">
                    <c:v>Rolling Stdev (30 Minute)</c:v>
                  </c:pt>
                  <c:pt idx="1522">
                    <c:v>Rolling Stdev (30 Minute)</c:v>
                  </c:pt>
                  <c:pt idx="1523">
                    <c:v>Rolling Stdev (30 Minute)</c:v>
                  </c:pt>
                  <c:pt idx="1524">
                    <c:v>Rolling Stdev (30 Minute)</c:v>
                  </c:pt>
                  <c:pt idx="1525">
                    <c:v>Rolling Stdev (30 Minute)</c:v>
                  </c:pt>
                  <c:pt idx="1526">
                    <c:v>Rolling Stdev (30 Minute)</c:v>
                  </c:pt>
                  <c:pt idx="1527">
                    <c:v>Rolling Stdev (30 Minute)</c:v>
                  </c:pt>
                  <c:pt idx="1528">
                    <c:v>Rolling Stdev (30 Minute)</c:v>
                  </c:pt>
                  <c:pt idx="1529">
                    <c:v>Rolling Stdev (30 Minute)</c:v>
                  </c:pt>
                  <c:pt idx="1530">
                    <c:v>Rolling Stdev (30 Minute)</c:v>
                  </c:pt>
                  <c:pt idx="1531">
                    <c:v>Rolling Stdev (30 Minute)</c:v>
                  </c:pt>
                  <c:pt idx="1532">
                    <c:v>Rolling Stdev (30 Minute)</c:v>
                  </c:pt>
                  <c:pt idx="1533">
                    <c:v>Rolling Stdev (30 Minute)</c:v>
                  </c:pt>
                  <c:pt idx="1534">
                    <c:v>Rolling Stdev (30 Minute)</c:v>
                  </c:pt>
                  <c:pt idx="1535">
                    <c:v>Rolling Stdev (30 Minute)</c:v>
                  </c:pt>
                  <c:pt idx="1536">
                    <c:v>Rolling Stdev (30 Minute)</c:v>
                  </c:pt>
                  <c:pt idx="1537">
                    <c:v>Rolling Stdev (30 Minute)</c:v>
                  </c:pt>
                  <c:pt idx="1538">
                    <c:v>Rolling Stdev (30 Minute)</c:v>
                  </c:pt>
                  <c:pt idx="1539">
                    <c:v>Rolling Stdev (30 Minute)</c:v>
                  </c:pt>
                  <c:pt idx="1540">
                    <c:v>Rolling Stdev (30 Minute)</c:v>
                  </c:pt>
                  <c:pt idx="1541">
                    <c:v>Rolling Stdev (30 Minute)</c:v>
                  </c:pt>
                  <c:pt idx="1542">
                    <c:v>Rolling Stdev (30 Minute)</c:v>
                  </c:pt>
                  <c:pt idx="1543">
                    <c:v>Rolling Stdev (30 Minute)</c:v>
                  </c:pt>
                  <c:pt idx="1544">
                    <c:v>Rolling Stdev (30 Minute)</c:v>
                  </c:pt>
                  <c:pt idx="1545">
                    <c:v>Rolling Stdev (30 Minute)</c:v>
                  </c:pt>
                  <c:pt idx="1546">
                    <c:v>Rolling Stdev (30 Minute)</c:v>
                  </c:pt>
                  <c:pt idx="1547">
                    <c:v>Rolling Stdev (30 Minute)</c:v>
                  </c:pt>
                  <c:pt idx="1548">
                    <c:v>Rolling Stdev (30 Minute)</c:v>
                  </c:pt>
                  <c:pt idx="1549">
                    <c:v>Rolling Stdev (30 Minute)</c:v>
                  </c:pt>
                  <c:pt idx="1550">
                    <c:v>Rolling Stdev (30 Minute)</c:v>
                  </c:pt>
                  <c:pt idx="1551">
                    <c:v>Rolling Stdev (30 Minute)</c:v>
                  </c:pt>
                  <c:pt idx="1552">
                    <c:v>Rolling Stdev (30 Minute)</c:v>
                  </c:pt>
                  <c:pt idx="1553">
                    <c:v>Rolling Stdev (30 Minute)</c:v>
                  </c:pt>
                  <c:pt idx="1554">
                    <c:v>Rolling Stdev (30 Minute)</c:v>
                  </c:pt>
                  <c:pt idx="1555">
                    <c:v>Rolling Stdev (30 Minute)</c:v>
                  </c:pt>
                  <c:pt idx="1556">
                    <c:v>Rolling Stdev (30 Minute)</c:v>
                  </c:pt>
                  <c:pt idx="1557">
                    <c:v>Rolling Stdev (30 Minute)</c:v>
                  </c:pt>
                  <c:pt idx="1558">
                    <c:v>Rolling Stdev (30 Minute)</c:v>
                  </c:pt>
                  <c:pt idx="1559">
                    <c:v>Rolling Stdev (30 Minute)</c:v>
                  </c:pt>
                  <c:pt idx="1560">
                    <c:v>Rolling Stdev (30 Minute)</c:v>
                  </c:pt>
                  <c:pt idx="1561">
                    <c:v>Rolling Stdev (30 Minute)</c:v>
                  </c:pt>
                  <c:pt idx="1562">
                    <c:v>Rolling Stdev (30 Minute)</c:v>
                  </c:pt>
                  <c:pt idx="1563">
                    <c:v>Rolling Stdev (30 Minute)</c:v>
                  </c:pt>
                  <c:pt idx="1564">
                    <c:v>Rolling Stdev (30 Minute)</c:v>
                  </c:pt>
                  <c:pt idx="1565">
                    <c:v>Rolling Stdev (30 Minute)</c:v>
                  </c:pt>
                  <c:pt idx="1566">
                    <c:v>Rolling Stdev (30 Minute)</c:v>
                  </c:pt>
                  <c:pt idx="1567">
                    <c:v>Rolling Stdev (30 Minute)</c:v>
                  </c:pt>
                  <c:pt idx="1568">
                    <c:v>Rolling Stdev (30 Minute)</c:v>
                  </c:pt>
                  <c:pt idx="1569">
                    <c:v>Rolling Stdev (30 Minute)</c:v>
                  </c:pt>
                  <c:pt idx="1570">
                    <c:v>Rolling Stdev (30 Minute)</c:v>
                  </c:pt>
                  <c:pt idx="1571">
                    <c:v>Rolling Stdev (30 Minute)</c:v>
                  </c:pt>
                  <c:pt idx="1572">
                    <c:v>Rolling Stdev (30 Minute)</c:v>
                  </c:pt>
                  <c:pt idx="1573">
                    <c:v>Rolling Stdev (30 Minute)</c:v>
                  </c:pt>
                  <c:pt idx="1574">
                    <c:v>Rolling Stdev (30 Minute)</c:v>
                  </c:pt>
                  <c:pt idx="1575">
                    <c:v>Rolling Stdev (30 Minute)</c:v>
                  </c:pt>
                  <c:pt idx="1576">
                    <c:v>Rolling Stdev (30 Minute)</c:v>
                  </c:pt>
                  <c:pt idx="1577">
                    <c:v>Rolling Stdev (30 Minute)</c:v>
                  </c:pt>
                  <c:pt idx="1578">
                    <c:v>Rolling Stdev (30 Minute)</c:v>
                  </c:pt>
                  <c:pt idx="1579">
                    <c:v>Rolling Stdev (30 Minute)</c:v>
                  </c:pt>
                  <c:pt idx="1580">
                    <c:v>Rolling Stdev (30 Minute)</c:v>
                  </c:pt>
                  <c:pt idx="1581">
                    <c:v>Rolling Stdev (30 Minute)</c:v>
                  </c:pt>
                  <c:pt idx="1582">
                    <c:v>Rolling Stdev (30 Minute)</c:v>
                  </c:pt>
                  <c:pt idx="1583">
                    <c:v>Rolling Stdev (30 Minute)</c:v>
                  </c:pt>
                  <c:pt idx="1584">
                    <c:v>Rolling Stdev (30 Minute)</c:v>
                  </c:pt>
                  <c:pt idx="1585">
                    <c:v>Rolling Stdev (30 Minute)</c:v>
                  </c:pt>
                  <c:pt idx="1586">
                    <c:v>Rolling Stdev (30 Minute)</c:v>
                  </c:pt>
                  <c:pt idx="1587">
                    <c:v>Rolling Stdev (30 Minute)</c:v>
                  </c:pt>
                  <c:pt idx="1588">
                    <c:v>Rolling Stdev (30 Minute)</c:v>
                  </c:pt>
                  <c:pt idx="1589">
                    <c:v>Rolling Stdev (30 Minute)</c:v>
                  </c:pt>
                  <c:pt idx="1590">
                    <c:v>Rolling Stdev (30 Minute)</c:v>
                  </c:pt>
                  <c:pt idx="1591">
                    <c:v>Rolling Stdev (30 Minute)</c:v>
                  </c:pt>
                  <c:pt idx="1592">
                    <c:v>Rolling Stdev (30 Minute)</c:v>
                  </c:pt>
                  <c:pt idx="1593">
                    <c:v>Rolling Stdev (30 Minute)</c:v>
                  </c:pt>
                  <c:pt idx="1594">
                    <c:v>Rolling Stdev (30 Minute)</c:v>
                  </c:pt>
                  <c:pt idx="1595">
                    <c:v>Rolling Stdev (30 Minute)</c:v>
                  </c:pt>
                  <c:pt idx="1596">
                    <c:v>Rolling Stdev (30 Minute)</c:v>
                  </c:pt>
                  <c:pt idx="1597">
                    <c:v>Rolling Stdev (30 Minute)</c:v>
                  </c:pt>
                  <c:pt idx="1598">
                    <c:v>Rolling Stdev (30 Minute)</c:v>
                  </c:pt>
                  <c:pt idx="1599">
                    <c:v>Rolling Stdev (30 Minute)</c:v>
                  </c:pt>
                  <c:pt idx="1600">
                    <c:v>Rolling Stdev (30 Minute)</c:v>
                  </c:pt>
                  <c:pt idx="1601">
                    <c:v>Rolling Stdev (30 Minute)</c:v>
                  </c:pt>
                  <c:pt idx="1602">
                    <c:v>Rolling Stdev (30 Minute)</c:v>
                  </c:pt>
                  <c:pt idx="1603">
                    <c:v>Rolling Stdev (30 Minute)</c:v>
                  </c:pt>
                  <c:pt idx="1604">
                    <c:v>Rolling Stdev (30 Minute)</c:v>
                  </c:pt>
                  <c:pt idx="1605">
                    <c:v>Rolling Stdev (30 Minute)</c:v>
                  </c:pt>
                  <c:pt idx="1606">
                    <c:v>Rolling Stdev (30 Minute)</c:v>
                  </c:pt>
                  <c:pt idx="1607">
                    <c:v>Rolling Stdev (30 Minute)</c:v>
                  </c:pt>
                  <c:pt idx="1608">
                    <c:v>Rolling Stdev (30 Minute)</c:v>
                  </c:pt>
                  <c:pt idx="1609">
                    <c:v>Rolling Stdev (30 Minute)</c:v>
                  </c:pt>
                  <c:pt idx="1610">
                    <c:v>Rolling Stdev (30 Minute)</c:v>
                  </c:pt>
                  <c:pt idx="1611">
                    <c:v>Rolling Stdev (30 Minute)</c:v>
                  </c:pt>
                  <c:pt idx="1612">
                    <c:v>Rolling Stdev (30 Minute)</c:v>
                  </c:pt>
                  <c:pt idx="1613">
                    <c:v>Rolling Stdev (30 Minute)</c:v>
                  </c:pt>
                  <c:pt idx="1614">
                    <c:v>Rolling Stdev (30 Minute)</c:v>
                  </c:pt>
                  <c:pt idx="1615">
                    <c:v>Rolling Stdev (30 Minute)</c:v>
                  </c:pt>
                  <c:pt idx="1616">
                    <c:v>Rolling Stdev (30 Minute)</c:v>
                  </c:pt>
                  <c:pt idx="1617">
                    <c:v>Rolling Stdev (30 Minute)</c:v>
                  </c:pt>
                  <c:pt idx="1618">
                    <c:v>Rolling Stdev (30 Minute)</c:v>
                  </c:pt>
                  <c:pt idx="1619">
                    <c:v>Rolling Stdev (30 Minute)</c:v>
                  </c:pt>
                  <c:pt idx="1620">
                    <c:v>Rolling Stdev (30 Minute)</c:v>
                  </c:pt>
                  <c:pt idx="1621">
                    <c:v>Rolling Stdev (30 Minute)</c:v>
                  </c:pt>
                  <c:pt idx="1622">
                    <c:v>Rolling Stdev (30 Minute)</c:v>
                  </c:pt>
                  <c:pt idx="1623">
                    <c:v>Rolling Stdev (30 Minute)</c:v>
                  </c:pt>
                  <c:pt idx="1624">
                    <c:v>Rolling Stdev (30 Minute)</c:v>
                  </c:pt>
                  <c:pt idx="1625">
                    <c:v>Rolling Stdev (30 Minute)</c:v>
                  </c:pt>
                  <c:pt idx="1626">
                    <c:v>Rolling Stdev (30 Minute)</c:v>
                  </c:pt>
                  <c:pt idx="1627">
                    <c:v>Rolling Stdev (30 Minute)</c:v>
                  </c:pt>
                  <c:pt idx="1628">
                    <c:v>Rolling Stdev (30 Minute)</c:v>
                  </c:pt>
                  <c:pt idx="1629">
                    <c:v>Rolling Stdev (30 Minute)</c:v>
                  </c:pt>
                  <c:pt idx="1630">
                    <c:v>Rolling Stdev (30 Minute)</c:v>
                  </c:pt>
                  <c:pt idx="1631">
                    <c:v>Rolling Stdev (30 Minute)</c:v>
                  </c:pt>
                  <c:pt idx="1632">
                    <c:v>Rolling Stdev (30 Minute)</c:v>
                  </c:pt>
                  <c:pt idx="1633">
                    <c:v>Rolling Stdev (30 Minute)</c:v>
                  </c:pt>
                  <c:pt idx="1634">
                    <c:v>Rolling Stdev (30 Minute)</c:v>
                  </c:pt>
                  <c:pt idx="1635">
                    <c:v>Rolling Stdev (30 Minute)</c:v>
                  </c:pt>
                  <c:pt idx="1636">
                    <c:v>Rolling Stdev (30 Minute)</c:v>
                  </c:pt>
                  <c:pt idx="1637">
                    <c:v>Rolling Stdev (30 Minute)</c:v>
                  </c:pt>
                  <c:pt idx="1638">
                    <c:v>Rolling Stdev (30 Minute)</c:v>
                  </c:pt>
                  <c:pt idx="1639">
                    <c:v>Rolling Stdev (30 Minute)</c:v>
                  </c:pt>
                  <c:pt idx="1640">
                    <c:v>Rolling Stdev (30 Minute)</c:v>
                  </c:pt>
                  <c:pt idx="1641">
                    <c:v>Rolling Stdev (30 Minute)</c:v>
                  </c:pt>
                  <c:pt idx="1642">
                    <c:v>Rolling Stdev (30 Minute)</c:v>
                  </c:pt>
                  <c:pt idx="1643">
                    <c:v>Rolling Stdev (30 Minute)</c:v>
                  </c:pt>
                  <c:pt idx="1644">
                    <c:v>Rolling Stdev (30 Minute)</c:v>
                  </c:pt>
                  <c:pt idx="1645">
                    <c:v>Rolling Stdev (30 Minute)</c:v>
                  </c:pt>
                  <c:pt idx="1646">
                    <c:v>Rolling Stdev (30 Minute)</c:v>
                  </c:pt>
                  <c:pt idx="1647">
                    <c:v>Rolling Stdev (30 Minute)</c:v>
                  </c:pt>
                  <c:pt idx="1648">
                    <c:v>Rolling Stdev (30 Minute)</c:v>
                  </c:pt>
                  <c:pt idx="1649">
                    <c:v>Rolling Stdev (30 Minute)</c:v>
                  </c:pt>
                  <c:pt idx="1650">
                    <c:v>Rolling Stdev (30 Minute)</c:v>
                  </c:pt>
                  <c:pt idx="1651">
                    <c:v>Rolling Stdev (30 Minute)</c:v>
                  </c:pt>
                  <c:pt idx="1652">
                    <c:v>Rolling Stdev (30 Minute)</c:v>
                  </c:pt>
                  <c:pt idx="1653">
                    <c:v>Rolling Stdev (30 Minute)</c:v>
                  </c:pt>
                  <c:pt idx="1654">
                    <c:v>Rolling Stdev (30 Minute)</c:v>
                  </c:pt>
                  <c:pt idx="1655">
                    <c:v>Rolling Stdev (30 Minute)</c:v>
                  </c:pt>
                  <c:pt idx="1656">
                    <c:v>Rolling Stdev (30 Minute)</c:v>
                  </c:pt>
                  <c:pt idx="1657">
                    <c:v>Rolling Stdev (30 Minute)</c:v>
                  </c:pt>
                  <c:pt idx="1658">
                    <c:v>Rolling Stdev (30 Minute)</c:v>
                  </c:pt>
                  <c:pt idx="1659">
                    <c:v>Rolling Stdev (30 Minute)</c:v>
                  </c:pt>
                  <c:pt idx="1660">
                    <c:v>Rolling Stdev (30 Minute)</c:v>
                  </c:pt>
                  <c:pt idx="1661">
                    <c:v>Rolling Stdev (30 Minute)</c:v>
                  </c:pt>
                  <c:pt idx="1662">
                    <c:v>Rolling Stdev (30 Minute)</c:v>
                  </c:pt>
                  <c:pt idx="1663">
                    <c:v>Rolling Stdev (30 Minute)</c:v>
                  </c:pt>
                  <c:pt idx="1664">
                    <c:v>Rolling Stdev (30 Minute)</c:v>
                  </c:pt>
                  <c:pt idx="1665">
                    <c:v>Rolling Stdev (30 Minute)</c:v>
                  </c:pt>
                  <c:pt idx="1666">
                    <c:v>Rolling Stdev (30 Minute)</c:v>
                  </c:pt>
                  <c:pt idx="1667">
                    <c:v>Rolling Stdev (30 Minute)</c:v>
                  </c:pt>
                  <c:pt idx="1668">
                    <c:v>Rolling Stdev (30 Minute)</c:v>
                  </c:pt>
                  <c:pt idx="1669">
                    <c:v>Rolling Stdev (30 Minute)</c:v>
                  </c:pt>
                  <c:pt idx="1670">
                    <c:v>Rolling Stdev (30 Minute)</c:v>
                  </c:pt>
                  <c:pt idx="1671">
                    <c:v>Rolling Stdev (30 Minute)</c:v>
                  </c:pt>
                  <c:pt idx="1672">
                    <c:v>Rolling Stdev (30 Minute)</c:v>
                  </c:pt>
                  <c:pt idx="1673">
                    <c:v>Rolling Stdev (30 Minute)</c:v>
                  </c:pt>
                  <c:pt idx="1674">
                    <c:v>Rolling Stdev (30 Minute)</c:v>
                  </c:pt>
                  <c:pt idx="1675">
                    <c:v>Rolling Stdev (30 Minute)</c:v>
                  </c:pt>
                  <c:pt idx="1676">
                    <c:v>Rolling Stdev (30 Minute)</c:v>
                  </c:pt>
                  <c:pt idx="1677">
                    <c:v>Rolling Stdev (30 Minute)</c:v>
                  </c:pt>
                  <c:pt idx="1678">
                    <c:v>Rolling Stdev (30 Minute)</c:v>
                  </c:pt>
                  <c:pt idx="1679">
                    <c:v>Rolling Stdev (30 Minute)</c:v>
                  </c:pt>
                  <c:pt idx="1680">
                    <c:v>Rolling Stdev (30 Minute)</c:v>
                  </c:pt>
                  <c:pt idx="1681">
                    <c:v>Rolling Stdev (30 Minute)</c:v>
                  </c:pt>
                  <c:pt idx="1682">
                    <c:v>Rolling Stdev (30 Minute)</c:v>
                  </c:pt>
                  <c:pt idx="1683">
                    <c:v>Rolling Stdev (30 Minute)</c:v>
                  </c:pt>
                  <c:pt idx="1684">
                    <c:v>Rolling Stdev (30 Minute)</c:v>
                  </c:pt>
                  <c:pt idx="1685">
                    <c:v>Rolling Stdev (30 Minute)</c:v>
                  </c:pt>
                  <c:pt idx="1686">
                    <c:v>Rolling Stdev (30 Minute)</c:v>
                  </c:pt>
                  <c:pt idx="1687">
                    <c:v>Rolling Stdev (30 Minute)</c:v>
                  </c:pt>
                  <c:pt idx="1688">
                    <c:v>Rolling Stdev (30 Minute)</c:v>
                  </c:pt>
                  <c:pt idx="1689">
                    <c:v>Rolling Stdev (30 Minute)</c:v>
                  </c:pt>
                  <c:pt idx="1690">
                    <c:v>Rolling Stdev (30 Minute)</c:v>
                  </c:pt>
                  <c:pt idx="1691">
                    <c:v>Rolling Stdev (30 Minute)</c:v>
                  </c:pt>
                  <c:pt idx="1692">
                    <c:v>Rolling Stdev (30 Minute)</c:v>
                  </c:pt>
                  <c:pt idx="1693">
                    <c:v>Rolling Stdev (30 Minute)</c:v>
                  </c:pt>
                  <c:pt idx="1694">
                    <c:v>Rolling Stdev (30 Minute)</c:v>
                  </c:pt>
                  <c:pt idx="1695">
                    <c:v>Rolling Stdev (30 Minute)</c:v>
                  </c:pt>
                  <c:pt idx="1696">
                    <c:v>Rolling Stdev (30 Minute)</c:v>
                  </c:pt>
                  <c:pt idx="1697">
                    <c:v>Rolling Stdev (30 Minute)</c:v>
                  </c:pt>
                  <c:pt idx="1698">
                    <c:v>Rolling Stdev (30 Minute)</c:v>
                  </c:pt>
                  <c:pt idx="1699">
                    <c:v>Rolling Stdev (30 Minute)</c:v>
                  </c:pt>
                  <c:pt idx="1700">
                    <c:v>Rolling Stdev (30 Minute)</c:v>
                  </c:pt>
                  <c:pt idx="1701">
                    <c:v>Rolling Stdev (30 Minute)</c:v>
                  </c:pt>
                  <c:pt idx="1702">
                    <c:v>Rolling Stdev (30 Minute)</c:v>
                  </c:pt>
                  <c:pt idx="1703">
                    <c:v>Rolling Stdev (30 Minute)</c:v>
                  </c:pt>
                  <c:pt idx="1704">
                    <c:v>Rolling Stdev (30 Minute)</c:v>
                  </c:pt>
                  <c:pt idx="1705">
                    <c:v>Rolling Stdev (30 Minute)</c:v>
                  </c:pt>
                  <c:pt idx="1706">
                    <c:v>Rolling Stdev (30 Minute)</c:v>
                  </c:pt>
                  <c:pt idx="1707">
                    <c:v>Rolling Stdev (30 Minute)</c:v>
                  </c:pt>
                  <c:pt idx="1708">
                    <c:v>Rolling Stdev (30 Minute)</c:v>
                  </c:pt>
                  <c:pt idx="1709">
                    <c:v>Rolling Stdev (30 Minute)</c:v>
                  </c:pt>
                  <c:pt idx="1710">
                    <c:v>Rolling Stdev (30 Minute)</c:v>
                  </c:pt>
                  <c:pt idx="1711">
                    <c:v>Rolling Stdev (30 Minute)</c:v>
                  </c:pt>
                  <c:pt idx="1712">
                    <c:v>Rolling Stdev (30 Minute)</c:v>
                  </c:pt>
                  <c:pt idx="1713">
                    <c:v>Rolling Stdev (30 Minute)</c:v>
                  </c:pt>
                  <c:pt idx="1714">
                    <c:v>Rolling Stdev (30 Minute)</c:v>
                  </c:pt>
                  <c:pt idx="1715">
                    <c:v>Rolling Stdev (30 Minute)</c:v>
                  </c:pt>
                  <c:pt idx="1716">
                    <c:v>Rolling Stdev (30 Minute)</c:v>
                  </c:pt>
                  <c:pt idx="1717">
                    <c:v>Rolling Stdev (30 Minute)</c:v>
                  </c:pt>
                  <c:pt idx="1718">
                    <c:v>Rolling Stdev (30 Minute)</c:v>
                  </c:pt>
                  <c:pt idx="1719">
                    <c:v>Rolling Stdev (30 Minute)</c:v>
                  </c:pt>
                  <c:pt idx="1720">
                    <c:v>Rolling Stdev (30 Minute)</c:v>
                  </c:pt>
                  <c:pt idx="1721">
                    <c:v>Rolling Stdev (30 Minute)</c:v>
                  </c:pt>
                  <c:pt idx="1722">
                    <c:v>Rolling Stdev (30 Minute)</c:v>
                  </c:pt>
                  <c:pt idx="1723">
                    <c:v>Rolling Stdev (30 Minute)</c:v>
                  </c:pt>
                  <c:pt idx="1724">
                    <c:v>Rolling Stdev (30 Minute)</c:v>
                  </c:pt>
                  <c:pt idx="1725">
                    <c:v>Rolling Stdev (30 Minute)</c:v>
                  </c:pt>
                  <c:pt idx="1726">
                    <c:v>Rolling Stdev (30 Minute)</c:v>
                  </c:pt>
                  <c:pt idx="1727">
                    <c:v>Rolling Stdev (30 Minute)</c:v>
                  </c:pt>
                  <c:pt idx="1728">
                    <c:v>Rolling Stdev (30 Minute)</c:v>
                  </c:pt>
                  <c:pt idx="1729">
                    <c:v>Rolling Stdev (30 Minute)</c:v>
                  </c:pt>
                  <c:pt idx="1730">
                    <c:v>Rolling Stdev (30 Minute)</c:v>
                  </c:pt>
                  <c:pt idx="1731">
                    <c:v>Rolling Stdev (30 Minute)</c:v>
                  </c:pt>
                  <c:pt idx="1732">
                    <c:v>Rolling Stdev (30 Minute)</c:v>
                  </c:pt>
                  <c:pt idx="1733">
                    <c:v>Rolling Stdev (30 Minute)</c:v>
                  </c:pt>
                  <c:pt idx="1734">
                    <c:v>Rolling Stdev (30 Minute)</c:v>
                  </c:pt>
                  <c:pt idx="1735">
                    <c:v>Rolling Stdev (30 Minute)</c:v>
                  </c:pt>
                  <c:pt idx="1736">
                    <c:v>Rolling Stdev (30 Minute)</c:v>
                  </c:pt>
                  <c:pt idx="1737">
                    <c:v>Rolling Stdev (30 Minute)</c:v>
                  </c:pt>
                  <c:pt idx="1738">
                    <c:v>Rolling Stdev (30 Minute)</c:v>
                  </c:pt>
                  <c:pt idx="1739">
                    <c:v>Rolling Stdev (30 Minute)</c:v>
                  </c:pt>
                  <c:pt idx="1740">
                    <c:v>Rolling Stdev (30 Minute)</c:v>
                  </c:pt>
                  <c:pt idx="1741">
                    <c:v>Rolling Stdev (30 Minute)</c:v>
                  </c:pt>
                  <c:pt idx="1742">
                    <c:v>Rolling Stdev (30 Minute)</c:v>
                  </c:pt>
                  <c:pt idx="1743">
                    <c:v>Rolling Stdev (30 Minute)</c:v>
                  </c:pt>
                  <c:pt idx="1744">
                    <c:v>Rolling Stdev (30 Minute)</c:v>
                  </c:pt>
                  <c:pt idx="1745">
                    <c:v>Rolling Stdev (30 Minute)</c:v>
                  </c:pt>
                  <c:pt idx="1746">
                    <c:v>Rolling Stdev (30 Minute)</c:v>
                  </c:pt>
                  <c:pt idx="1747">
                    <c:v>Rolling Stdev (30 Minute)</c:v>
                  </c:pt>
                  <c:pt idx="1748">
                    <c:v>Rolling Stdev (30 Minute)</c:v>
                  </c:pt>
                  <c:pt idx="1749">
                    <c:v>Rolling Stdev (30 Minute)</c:v>
                  </c:pt>
                  <c:pt idx="1750">
                    <c:v>Rolling Stdev (30 Minute)</c:v>
                  </c:pt>
                  <c:pt idx="1751">
                    <c:v>Rolling Stdev (30 Minute)</c:v>
                  </c:pt>
                  <c:pt idx="1752">
                    <c:v>Rolling Stdev (30 Minute)</c:v>
                  </c:pt>
                  <c:pt idx="1753">
                    <c:v>Rolling Stdev (30 Minute)</c:v>
                  </c:pt>
                  <c:pt idx="1754">
                    <c:v>Rolling Stdev (30 Minute)</c:v>
                  </c:pt>
                  <c:pt idx="1755">
                    <c:v>Rolling Stdev (30 Minute)</c:v>
                  </c:pt>
                  <c:pt idx="1756">
                    <c:v>Rolling Stdev (30 Minute)</c:v>
                  </c:pt>
                  <c:pt idx="1757">
                    <c:v>Rolling Stdev (30 Minute)</c:v>
                  </c:pt>
                  <c:pt idx="1758">
                    <c:v>Rolling Stdev (30 Minute)</c:v>
                  </c:pt>
                  <c:pt idx="1759">
                    <c:v>Rolling Stdev (30 Minute)</c:v>
                  </c:pt>
                  <c:pt idx="1760">
                    <c:v>Rolling Stdev (30 Minute)</c:v>
                  </c:pt>
                  <c:pt idx="1761">
                    <c:v>Rolling Stdev (30 Minute)</c:v>
                  </c:pt>
                  <c:pt idx="1762">
                    <c:v>Rolling Stdev (30 Minute)</c:v>
                  </c:pt>
                  <c:pt idx="1763">
                    <c:v>Rolling Stdev (30 Minute)</c:v>
                  </c:pt>
                  <c:pt idx="1764">
                    <c:v>Rolling Stdev (30 Minute)</c:v>
                  </c:pt>
                  <c:pt idx="1765">
                    <c:v>Rolling Stdev (30 Minute)</c:v>
                  </c:pt>
                  <c:pt idx="1766">
                    <c:v>Rolling Stdev (30 Minute)</c:v>
                  </c:pt>
                  <c:pt idx="1767">
                    <c:v>Rolling Stdev (30 Minute)</c:v>
                  </c:pt>
                  <c:pt idx="1768">
                    <c:v>Rolling Stdev (30 Minute)</c:v>
                  </c:pt>
                  <c:pt idx="1769">
                    <c:v>Rolling Stdev (30 Minute)</c:v>
                  </c:pt>
                  <c:pt idx="1770">
                    <c:v>Rolling Stdev (30 Minute)</c:v>
                  </c:pt>
                  <c:pt idx="1771">
                    <c:v>Rolling Stdev (30 Minute)</c:v>
                  </c:pt>
                  <c:pt idx="1772">
                    <c:v>Rolling Stdev (30 Minute)</c:v>
                  </c:pt>
                  <c:pt idx="1773">
                    <c:v>Rolling Stdev (30 Minute)</c:v>
                  </c:pt>
                  <c:pt idx="1774">
                    <c:v>Rolling Stdev (30 Minute)</c:v>
                  </c:pt>
                  <c:pt idx="1775">
                    <c:v>Rolling Stdev (30 Minute)</c:v>
                  </c:pt>
                  <c:pt idx="1776">
                    <c:v>Rolling Stdev (30 Minute)</c:v>
                  </c:pt>
                  <c:pt idx="1777">
                    <c:v>Rolling Stdev (30 Minute)</c:v>
                  </c:pt>
                  <c:pt idx="1778">
                    <c:v>Rolling Stdev (30 Minute)</c:v>
                  </c:pt>
                  <c:pt idx="1779">
                    <c:v>Rolling Stdev (30 Minute)</c:v>
                  </c:pt>
                  <c:pt idx="1780">
                    <c:v>Rolling Stdev (30 Minute)</c:v>
                  </c:pt>
                  <c:pt idx="1781">
                    <c:v>Rolling Stdev (30 Minute)</c:v>
                  </c:pt>
                  <c:pt idx="1782">
                    <c:v>Rolling Stdev (30 Minute)</c:v>
                  </c:pt>
                  <c:pt idx="1783">
                    <c:v>Rolling Stdev (30 Minute)</c:v>
                  </c:pt>
                  <c:pt idx="1784">
                    <c:v>Rolling Stdev (30 Minute)</c:v>
                  </c:pt>
                  <c:pt idx="1785">
                    <c:v>Rolling Stdev (30 Minute)</c:v>
                  </c:pt>
                  <c:pt idx="1786">
                    <c:v>Rolling Stdev (30 Minute)</c:v>
                  </c:pt>
                  <c:pt idx="1787">
                    <c:v>Rolling Stdev (30 Minute)</c:v>
                  </c:pt>
                  <c:pt idx="1788">
                    <c:v>Rolling Stdev (30 Minute)</c:v>
                  </c:pt>
                  <c:pt idx="1789">
                    <c:v>Rolling Stdev (30 Minute)</c:v>
                  </c:pt>
                  <c:pt idx="1790">
                    <c:v>Rolling Stdev (30 Minute)</c:v>
                  </c:pt>
                  <c:pt idx="1791">
                    <c:v>Rolling Stdev (30 Minute)</c:v>
                  </c:pt>
                  <c:pt idx="1792">
                    <c:v>Rolling Stdev (30 Minute)</c:v>
                  </c:pt>
                  <c:pt idx="1793">
                    <c:v>Rolling Stdev (30 Minute)</c:v>
                  </c:pt>
                  <c:pt idx="1794">
                    <c:v>Rolling Stdev (30 Minute)</c:v>
                  </c:pt>
                  <c:pt idx="1795">
                    <c:v>Rolling Stdev (30 Minute)</c:v>
                  </c:pt>
                  <c:pt idx="1796">
                    <c:v>Rolling Stdev (30 Minute)</c:v>
                  </c:pt>
                  <c:pt idx="1797">
                    <c:v>Rolling Stdev (30 Minute)</c:v>
                  </c:pt>
                  <c:pt idx="1798">
                    <c:v>Rolling Stdev (30 Minute)</c:v>
                  </c:pt>
                  <c:pt idx="1799">
                    <c:v>Rolling Stdev (30 Minute)</c:v>
                  </c:pt>
                  <c:pt idx="1800">
                    <c:v>Rolling Stdev (30 Minute)</c:v>
                  </c:pt>
                  <c:pt idx="1801">
                    <c:v>Rolling Stdev (30 Minute)</c:v>
                  </c:pt>
                  <c:pt idx="1802">
                    <c:v>Rolling Stdev (30 Minute)</c:v>
                  </c:pt>
                  <c:pt idx="1803">
                    <c:v>Rolling Stdev (30 Minute)</c:v>
                  </c:pt>
                  <c:pt idx="1804">
                    <c:v>Rolling Stdev (30 Minute)</c:v>
                  </c:pt>
                  <c:pt idx="1805">
                    <c:v>Rolling Stdev (30 Minute)</c:v>
                  </c:pt>
                  <c:pt idx="1806">
                    <c:v>Rolling Stdev (30 Minute)</c:v>
                  </c:pt>
                  <c:pt idx="1807">
                    <c:v>Rolling Stdev (30 Minute)</c:v>
                  </c:pt>
                  <c:pt idx="1808">
                    <c:v>Rolling Stdev (30 Minute)</c:v>
                  </c:pt>
                  <c:pt idx="1809">
                    <c:v>Rolling Stdev (30 Minute)</c:v>
                  </c:pt>
                  <c:pt idx="1810">
                    <c:v>Rolling Stdev (30 Minute)</c:v>
                  </c:pt>
                  <c:pt idx="1811">
                    <c:v>Rolling Stdev (30 Minute)</c:v>
                  </c:pt>
                  <c:pt idx="1812">
                    <c:v>Rolling Stdev (30 Minute)</c:v>
                  </c:pt>
                  <c:pt idx="1813">
                    <c:v>Rolling Stdev (30 Minute)</c:v>
                  </c:pt>
                  <c:pt idx="1814">
                    <c:v>Rolling Stdev (30 Minute)</c:v>
                  </c:pt>
                  <c:pt idx="1815">
                    <c:v>Rolling Stdev (30 Minute)</c:v>
                  </c:pt>
                  <c:pt idx="1816">
                    <c:v>Rolling Stdev (30 Minute)</c:v>
                  </c:pt>
                  <c:pt idx="1817">
                    <c:v>Rolling Stdev (30 Minute)</c:v>
                  </c:pt>
                  <c:pt idx="1818">
                    <c:v>Rolling Stdev (30 Minute)</c:v>
                  </c:pt>
                  <c:pt idx="1819">
                    <c:v>Rolling Stdev (30 Minute)</c:v>
                  </c:pt>
                  <c:pt idx="1820">
                    <c:v>Rolling Stdev (30 Minute)</c:v>
                  </c:pt>
                  <c:pt idx="1821">
                    <c:v>Rolling Stdev (30 Minute)</c:v>
                  </c:pt>
                  <c:pt idx="1822">
                    <c:v>Rolling Stdev (30 Minute)</c:v>
                  </c:pt>
                  <c:pt idx="1823">
                    <c:v>Rolling Stdev (30 Minute)</c:v>
                  </c:pt>
                  <c:pt idx="1824">
                    <c:v>Rolling Stdev (30 Minute)</c:v>
                  </c:pt>
                  <c:pt idx="1825">
                    <c:v>Rolling Stdev (30 Minute)</c:v>
                  </c:pt>
                  <c:pt idx="1826">
                    <c:v>Rolling Stdev (30 Minute)</c:v>
                  </c:pt>
                  <c:pt idx="1827">
                    <c:v>Rolling Stdev (30 Minute)</c:v>
                  </c:pt>
                  <c:pt idx="1828">
                    <c:v>Rolling Stdev (30 Minute)</c:v>
                  </c:pt>
                  <c:pt idx="1829">
                    <c:v>Rolling Stdev (30 Minute)</c:v>
                  </c:pt>
                  <c:pt idx="1830">
                    <c:v>Rolling Stdev (30 Minute)</c:v>
                  </c:pt>
                  <c:pt idx="1831">
                    <c:v>Rolling Stdev (30 Minute)</c:v>
                  </c:pt>
                  <c:pt idx="1832">
                    <c:v>Rolling Stdev (30 Minute)</c:v>
                  </c:pt>
                  <c:pt idx="1833">
                    <c:v>Rolling Stdev (30 Minute)</c:v>
                  </c:pt>
                  <c:pt idx="1834">
                    <c:v>Rolling Stdev (30 Minute)</c:v>
                  </c:pt>
                  <c:pt idx="1835">
                    <c:v>Rolling Stdev (30 Minute)</c:v>
                  </c:pt>
                  <c:pt idx="1836">
                    <c:v>Rolling Stdev (30 Minute)</c:v>
                  </c:pt>
                  <c:pt idx="1837">
                    <c:v>Rolling Stdev (30 Minute)</c:v>
                  </c:pt>
                  <c:pt idx="1838">
                    <c:v>Rolling Stdev (30 Minute)</c:v>
                  </c:pt>
                  <c:pt idx="1839">
                    <c:v>Rolling Stdev (30 Minute)</c:v>
                  </c:pt>
                  <c:pt idx="1840">
                    <c:v>Rolling Stdev (30 Minute)</c:v>
                  </c:pt>
                  <c:pt idx="1841">
                    <c:v>Rolling Stdev (30 Minute)</c:v>
                  </c:pt>
                  <c:pt idx="1842">
                    <c:v>Rolling Stdev (30 Minute)</c:v>
                  </c:pt>
                  <c:pt idx="1843">
                    <c:v>Rolling Stdev (30 Minute)</c:v>
                  </c:pt>
                  <c:pt idx="1844">
                    <c:v>Rolling Stdev (30 Minute)</c:v>
                  </c:pt>
                  <c:pt idx="1845">
                    <c:v>Rolling Stdev (30 Minute)</c:v>
                  </c:pt>
                  <c:pt idx="1846">
                    <c:v>Rolling Stdev (30 Minute)</c:v>
                  </c:pt>
                  <c:pt idx="1847">
                    <c:v>Rolling Stdev (30 Minute)</c:v>
                  </c:pt>
                  <c:pt idx="1848">
                    <c:v>Rolling Stdev (30 Minute)</c:v>
                  </c:pt>
                  <c:pt idx="1849">
                    <c:v>Rolling Stdev (30 Minute)</c:v>
                  </c:pt>
                  <c:pt idx="1850">
                    <c:v>Rolling Stdev (30 Minute)</c:v>
                  </c:pt>
                  <c:pt idx="1851">
                    <c:v>Rolling Stdev (30 Minute)</c:v>
                  </c:pt>
                  <c:pt idx="1852">
                    <c:v>Rolling Stdev (30 Minute)</c:v>
                  </c:pt>
                  <c:pt idx="1853">
                    <c:v>Rolling Stdev (30 Minute)</c:v>
                  </c:pt>
                  <c:pt idx="1854">
                    <c:v>Rolling Stdev (30 Minute)</c:v>
                  </c:pt>
                  <c:pt idx="1855">
                    <c:v>Rolling Stdev (30 Minute)</c:v>
                  </c:pt>
                  <c:pt idx="1856">
                    <c:v>Rolling Stdev (30 Minute)</c:v>
                  </c:pt>
                  <c:pt idx="1857">
                    <c:v>Rolling Stdev (30 Minute)</c:v>
                  </c:pt>
                  <c:pt idx="1858">
                    <c:v>Rolling Stdev (30 Minute)</c:v>
                  </c:pt>
                  <c:pt idx="1859">
                    <c:v>Rolling Stdev (30 Minute)</c:v>
                  </c:pt>
                  <c:pt idx="1860">
                    <c:v>Rolling Stdev (30 Minute)</c:v>
                  </c:pt>
                  <c:pt idx="1861">
                    <c:v>Rolling Stdev (30 Minute)</c:v>
                  </c:pt>
                  <c:pt idx="1862">
                    <c:v>Rolling Stdev (30 Minute)</c:v>
                  </c:pt>
                  <c:pt idx="1863">
                    <c:v>Rolling Stdev (30 Minute)</c:v>
                  </c:pt>
                  <c:pt idx="1864">
                    <c:v>Rolling Stdev (30 Minute)</c:v>
                  </c:pt>
                  <c:pt idx="1865">
                    <c:v>Rolling Stdev (30 Minute)</c:v>
                  </c:pt>
                  <c:pt idx="1866">
                    <c:v>Rolling Stdev (30 Minute)</c:v>
                  </c:pt>
                  <c:pt idx="1867">
                    <c:v>Rolling Stdev (30 Minute)</c:v>
                  </c:pt>
                  <c:pt idx="1868">
                    <c:v>Rolling Stdev (30 Minute)</c:v>
                  </c:pt>
                  <c:pt idx="1869">
                    <c:v>Rolling Stdev (30 Minute)</c:v>
                  </c:pt>
                  <c:pt idx="1870">
                    <c:v>Rolling Stdev (30 Minute)</c:v>
                  </c:pt>
                  <c:pt idx="1871">
                    <c:v>Rolling Stdev (30 Minute)</c:v>
                  </c:pt>
                  <c:pt idx="1872">
                    <c:v>Rolling Stdev (30 Minute)</c:v>
                  </c:pt>
                  <c:pt idx="1873">
                    <c:v>Rolling Stdev (30 Minute)</c:v>
                  </c:pt>
                  <c:pt idx="1874">
                    <c:v>Rolling Stdev (30 Minute)</c:v>
                  </c:pt>
                  <c:pt idx="1875">
                    <c:v>Rolling Stdev (30 Minute)</c:v>
                  </c:pt>
                  <c:pt idx="1876">
                    <c:v>Rolling Stdev (30 Minute)</c:v>
                  </c:pt>
                  <c:pt idx="1877">
                    <c:v>Rolling Stdev (30 Minute)</c:v>
                  </c:pt>
                  <c:pt idx="1878">
                    <c:v>Rolling Stdev (30 Minute)</c:v>
                  </c:pt>
                  <c:pt idx="1879">
                    <c:v>Rolling Stdev (30 Minute)</c:v>
                  </c:pt>
                  <c:pt idx="1880">
                    <c:v>Rolling Stdev (30 Minute)</c:v>
                  </c:pt>
                  <c:pt idx="1881">
                    <c:v>Rolling Stdev (30 Minute)</c:v>
                  </c:pt>
                  <c:pt idx="1882">
                    <c:v>Rolling Stdev (30 Minute)</c:v>
                  </c:pt>
                  <c:pt idx="1883">
                    <c:v>Rolling Stdev (30 Minute)</c:v>
                  </c:pt>
                  <c:pt idx="1884">
                    <c:v>Rolling Stdev (30 Minute)</c:v>
                  </c:pt>
                  <c:pt idx="1885">
                    <c:v>Rolling Stdev (30 Minute)</c:v>
                  </c:pt>
                  <c:pt idx="1886">
                    <c:v>Rolling Stdev (30 Minute)</c:v>
                  </c:pt>
                  <c:pt idx="1887">
                    <c:v>Rolling Stdev (30 Minute)</c:v>
                  </c:pt>
                  <c:pt idx="1888">
                    <c:v>Rolling Stdev (30 Minute)</c:v>
                  </c:pt>
                  <c:pt idx="1889">
                    <c:v>Rolling Stdev (30 Minute)</c:v>
                  </c:pt>
                  <c:pt idx="1890">
                    <c:v>Rolling Stdev (30 Minute)</c:v>
                  </c:pt>
                  <c:pt idx="1891">
                    <c:v>Rolling Stdev (30 Minute)</c:v>
                  </c:pt>
                  <c:pt idx="1892">
                    <c:v>Rolling Stdev (30 Minute)</c:v>
                  </c:pt>
                  <c:pt idx="1893">
                    <c:v>Rolling Stdev (30 Minute)</c:v>
                  </c:pt>
                  <c:pt idx="1894">
                    <c:v>Rolling Stdev (30 Minute)</c:v>
                  </c:pt>
                  <c:pt idx="1895">
                    <c:v>Rolling Stdev (30 Minute)</c:v>
                  </c:pt>
                  <c:pt idx="1896">
                    <c:v>Rolling Stdev (30 Minute)</c:v>
                  </c:pt>
                  <c:pt idx="1897">
                    <c:v>Rolling Stdev (30 Minute)</c:v>
                  </c:pt>
                  <c:pt idx="1898">
                    <c:v>Rolling Stdev (30 Minute)</c:v>
                  </c:pt>
                  <c:pt idx="1899">
                    <c:v>Rolling Stdev (30 Minute)</c:v>
                  </c:pt>
                  <c:pt idx="1900">
                    <c:v>Rolling Stdev (30 Minute)</c:v>
                  </c:pt>
                  <c:pt idx="1901">
                    <c:v>Rolling Stdev (30 Minute)</c:v>
                  </c:pt>
                  <c:pt idx="1902">
                    <c:v>Rolling Stdev (30 Minute)</c:v>
                  </c:pt>
                  <c:pt idx="1903">
                    <c:v>Rolling Stdev (30 Minute)</c:v>
                  </c:pt>
                  <c:pt idx="1904">
                    <c:v>Rolling Stdev (30 Minute)</c:v>
                  </c:pt>
                  <c:pt idx="1905">
                    <c:v>Rolling Stdev (30 Minute)</c:v>
                  </c:pt>
                  <c:pt idx="1906">
                    <c:v>Rolling Stdev (30 Minute)</c:v>
                  </c:pt>
                  <c:pt idx="1907">
                    <c:v>Rolling Stdev (30 Minute)</c:v>
                  </c:pt>
                  <c:pt idx="1908">
                    <c:v>Rolling Stdev (30 Minute)</c:v>
                  </c:pt>
                  <c:pt idx="1909">
                    <c:v>Rolling Stdev (30 Minute)</c:v>
                  </c:pt>
                  <c:pt idx="1910">
                    <c:v>Rolling Stdev (30 Minute)</c:v>
                  </c:pt>
                  <c:pt idx="1911">
                    <c:v>Rolling Stdev (30 Minute)</c:v>
                  </c:pt>
                  <c:pt idx="1912">
                    <c:v>Rolling Stdev (30 Minute)</c:v>
                  </c:pt>
                  <c:pt idx="1913">
                    <c:v>Rolling Stdev (30 Minute)</c:v>
                  </c:pt>
                  <c:pt idx="1914">
                    <c:v>Rolling Stdev (30 Minute)</c:v>
                  </c:pt>
                  <c:pt idx="1915">
                    <c:v>Rolling Stdev (30 Minute)</c:v>
                  </c:pt>
                  <c:pt idx="1916">
                    <c:v>Rolling Stdev (30 Minute)</c:v>
                  </c:pt>
                  <c:pt idx="1917">
                    <c:v>Rolling Stdev (30 Minute)</c:v>
                  </c:pt>
                  <c:pt idx="1918">
                    <c:v>Rolling Stdev (30 Minute)</c:v>
                  </c:pt>
                  <c:pt idx="1919">
                    <c:v>Rolling Stdev (30 Minute)</c:v>
                  </c:pt>
                  <c:pt idx="1920">
                    <c:v>Rolling Stdev (30 Minute)</c:v>
                  </c:pt>
                  <c:pt idx="1921">
                    <c:v>Rolling Stdev (30 Minute)</c:v>
                  </c:pt>
                  <c:pt idx="1922">
                    <c:v>Rolling Stdev (30 Minute)</c:v>
                  </c:pt>
                  <c:pt idx="1923">
                    <c:v>Rolling Stdev (30 Minute)</c:v>
                  </c:pt>
                  <c:pt idx="1924">
                    <c:v>Rolling Stdev (30 Minute)</c:v>
                  </c:pt>
                  <c:pt idx="1925">
                    <c:v>Rolling Stdev (30 Minute)</c:v>
                  </c:pt>
                  <c:pt idx="1926">
                    <c:v>Rolling Stdev (30 Minute)</c:v>
                  </c:pt>
                  <c:pt idx="1927">
                    <c:v>Rolling Stdev (30 Minute)</c:v>
                  </c:pt>
                  <c:pt idx="1928">
                    <c:v>Rolling Stdev (30 Minute)</c:v>
                  </c:pt>
                  <c:pt idx="1929">
                    <c:v>Rolling Stdev (30 Minute)</c:v>
                  </c:pt>
                  <c:pt idx="1930">
                    <c:v>Rolling Stdev (30 Minute)</c:v>
                  </c:pt>
                  <c:pt idx="1931">
                    <c:v>Rolling Stdev (30 Minute)</c:v>
                  </c:pt>
                  <c:pt idx="1932">
                    <c:v>Rolling Stdev (30 Minute)</c:v>
                  </c:pt>
                  <c:pt idx="1933">
                    <c:v>Rolling Stdev (30 Minute)</c:v>
                  </c:pt>
                  <c:pt idx="1934">
                    <c:v>Rolling Stdev (30 Minute)</c:v>
                  </c:pt>
                  <c:pt idx="1935">
                    <c:v>Rolling Stdev (30 Minute)</c:v>
                  </c:pt>
                  <c:pt idx="1936">
                    <c:v>Rolling Stdev (30 Minute)</c:v>
                  </c:pt>
                  <c:pt idx="1937">
                    <c:v>Rolling Stdev (30 Minute)</c:v>
                  </c:pt>
                  <c:pt idx="1938">
                    <c:v>Rolling Stdev (30 Minute)</c:v>
                  </c:pt>
                  <c:pt idx="1939">
                    <c:v>Rolling Stdev (30 Minute)</c:v>
                  </c:pt>
                  <c:pt idx="1940">
                    <c:v>Rolling Stdev (30 Minute)</c:v>
                  </c:pt>
                  <c:pt idx="1941">
                    <c:v>Rolling Stdev (30 Minute)</c:v>
                  </c:pt>
                  <c:pt idx="1942">
                    <c:v>Rolling Stdev (30 Minute)</c:v>
                  </c:pt>
                  <c:pt idx="1943">
                    <c:v>Rolling Stdev (30 Minute)</c:v>
                  </c:pt>
                  <c:pt idx="1944">
                    <c:v>Rolling Stdev (30 Minute)</c:v>
                  </c:pt>
                  <c:pt idx="1945">
                    <c:v>Rolling Stdev (30 Minute)</c:v>
                  </c:pt>
                  <c:pt idx="1946">
                    <c:v>Rolling Stdev (30 Minute)</c:v>
                  </c:pt>
                  <c:pt idx="1947">
                    <c:v>Rolling Stdev (30 Minute)</c:v>
                  </c:pt>
                  <c:pt idx="1948">
                    <c:v>Rolling Stdev (30 Minute)</c:v>
                  </c:pt>
                  <c:pt idx="1949">
                    <c:v>Rolling Stdev (30 Minute)</c:v>
                  </c:pt>
                  <c:pt idx="1950">
                    <c:v>Rolling Stdev (30 Minute)</c:v>
                  </c:pt>
                  <c:pt idx="1951">
                    <c:v>Rolling Stdev (30 Minute)</c:v>
                  </c:pt>
                  <c:pt idx="1952">
                    <c:v>Rolling Stdev (30 Minute)</c:v>
                  </c:pt>
                  <c:pt idx="1953">
                    <c:v>Rolling Stdev (30 Minute)</c:v>
                  </c:pt>
                  <c:pt idx="1954">
                    <c:v>Rolling Stdev (30 Minute)</c:v>
                  </c:pt>
                  <c:pt idx="1955">
                    <c:v>Rolling Stdev (30 Minute)</c:v>
                  </c:pt>
                  <c:pt idx="1956">
                    <c:v>Rolling Stdev (30 Minute)</c:v>
                  </c:pt>
                  <c:pt idx="1957">
                    <c:v>Rolling Stdev (30 Minute)</c:v>
                  </c:pt>
                  <c:pt idx="1958">
                    <c:v>Rolling Stdev (30 Minute)</c:v>
                  </c:pt>
                  <c:pt idx="1959">
                    <c:v>Rolling Stdev (30 Minute)</c:v>
                  </c:pt>
                  <c:pt idx="1960">
                    <c:v>Rolling Stdev (30 Minute)</c:v>
                  </c:pt>
                  <c:pt idx="1961">
                    <c:v>Rolling Stdev (30 Minute)</c:v>
                  </c:pt>
                  <c:pt idx="1962">
                    <c:v>Rolling Stdev (30 Minute)</c:v>
                  </c:pt>
                  <c:pt idx="1963">
                    <c:v>Rolling Stdev (30 Minute)</c:v>
                  </c:pt>
                  <c:pt idx="1964">
                    <c:v>Rolling Stdev (30 Minute)</c:v>
                  </c:pt>
                  <c:pt idx="1965">
                    <c:v>Rolling Stdev (30 Minute)</c:v>
                  </c:pt>
                  <c:pt idx="1966">
                    <c:v>Rolling Stdev (30 Minute)</c:v>
                  </c:pt>
                  <c:pt idx="1967">
                    <c:v>Rolling Stdev (30 Minute)</c:v>
                  </c:pt>
                  <c:pt idx="1968">
                    <c:v>Rolling Stdev (30 Minute)</c:v>
                  </c:pt>
                  <c:pt idx="1969">
                    <c:v>Rolling Stdev (30 Minute)</c:v>
                  </c:pt>
                  <c:pt idx="1970">
                    <c:v>Rolling Stdev (30 Minute)</c:v>
                  </c:pt>
                  <c:pt idx="1971">
                    <c:v>Rolling Stdev (30 Minute)</c:v>
                  </c:pt>
                  <c:pt idx="1972">
                    <c:v>Rolling Stdev (30 Minute)</c:v>
                  </c:pt>
                  <c:pt idx="1973">
                    <c:v>Rolling Stdev (30 Minute)</c:v>
                  </c:pt>
                  <c:pt idx="1974">
                    <c:v>Rolling Stdev (30 Minute)</c:v>
                  </c:pt>
                  <c:pt idx="1975">
                    <c:v>Rolling Stdev (30 Minute)</c:v>
                  </c:pt>
                  <c:pt idx="1976">
                    <c:v>Rolling Stdev (30 Minute)</c:v>
                  </c:pt>
                  <c:pt idx="1977">
                    <c:v>Rolling Stdev (30 Minute)</c:v>
                  </c:pt>
                  <c:pt idx="1978">
                    <c:v>Rolling Stdev (30 Minute)</c:v>
                  </c:pt>
                  <c:pt idx="1979">
                    <c:v>Rolling Stdev (30 Minute)</c:v>
                  </c:pt>
                  <c:pt idx="1980">
                    <c:v>Rolling Stdev (30 Minute)</c:v>
                  </c:pt>
                  <c:pt idx="1981">
                    <c:v>Rolling Stdev (30 Minute)</c:v>
                  </c:pt>
                  <c:pt idx="1982">
                    <c:v>Rolling Stdev (30 Minute)</c:v>
                  </c:pt>
                  <c:pt idx="1983">
                    <c:v>Rolling Stdev (30 Minute)</c:v>
                  </c:pt>
                  <c:pt idx="1984">
                    <c:v>Rolling Stdev (30 Minute)</c:v>
                  </c:pt>
                  <c:pt idx="1985">
                    <c:v>Rolling Stdev (30 Minute)</c:v>
                  </c:pt>
                  <c:pt idx="1986">
                    <c:v>Rolling Stdev (30 Minute)</c:v>
                  </c:pt>
                  <c:pt idx="1987">
                    <c:v>Rolling Stdev (30 Minute)</c:v>
                  </c:pt>
                  <c:pt idx="1988">
                    <c:v>Rolling Stdev (30 Minute)</c:v>
                  </c:pt>
                  <c:pt idx="1989">
                    <c:v>Rolling Stdev (30 Minute)</c:v>
                  </c:pt>
                  <c:pt idx="1990">
                    <c:v>Rolling Stdev (30 Minute)</c:v>
                  </c:pt>
                  <c:pt idx="1991">
                    <c:v>Rolling Stdev (30 Minute)</c:v>
                  </c:pt>
                  <c:pt idx="1992">
                    <c:v>Rolling Stdev (30 Minute)</c:v>
                  </c:pt>
                  <c:pt idx="1993">
                    <c:v>Rolling Stdev (30 Minute)</c:v>
                  </c:pt>
                  <c:pt idx="1994">
                    <c:v>Rolling Stdev (30 Minute)</c:v>
                  </c:pt>
                  <c:pt idx="1995">
                    <c:v>Rolling Stdev (30 Minute)</c:v>
                  </c:pt>
                  <c:pt idx="1996">
                    <c:v>Rolling Stdev (30 Minute)</c:v>
                  </c:pt>
                  <c:pt idx="1997">
                    <c:v>Rolling Stdev (30 Minute)</c:v>
                  </c:pt>
                  <c:pt idx="1998">
                    <c:v>Rolling Stdev (30 Minute)</c:v>
                  </c:pt>
                  <c:pt idx="1999">
                    <c:v>Rolling Stdev (30 Minute)</c:v>
                  </c:pt>
                  <c:pt idx="2000">
                    <c:v>Rolling Stdev (30 Minute)</c:v>
                  </c:pt>
                  <c:pt idx="2001">
                    <c:v>Rolling Stdev (30 Minute)</c:v>
                  </c:pt>
                  <c:pt idx="2002">
                    <c:v>Rolling Stdev (30 Minute)</c:v>
                  </c:pt>
                  <c:pt idx="2003">
                    <c:v>Rolling Stdev (30 Minute)</c:v>
                  </c:pt>
                  <c:pt idx="2004">
                    <c:v>Rolling Stdev (30 Minute)</c:v>
                  </c:pt>
                  <c:pt idx="2005">
                    <c:v>Rolling Stdev (30 Minute)</c:v>
                  </c:pt>
                  <c:pt idx="2006">
                    <c:v>Rolling Stdev (30 Minute)</c:v>
                  </c:pt>
                  <c:pt idx="2007">
                    <c:v>Rolling Stdev (30 Minute)</c:v>
                  </c:pt>
                  <c:pt idx="2008">
                    <c:v>Rolling Stdev (30 Minute)</c:v>
                  </c:pt>
                  <c:pt idx="2009">
                    <c:v>Rolling Stdev (30 Minute)</c:v>
                  </c:pt>
                  <c:pt idx="2010">
                    <c:v>Rolling Stdev (30 Minute)</c:v>
                  </c:pt>
                  <c:pt idx="2011">
                    <c:v>Rolling Stdev (30 Minute)</c:v>
                  </c:pt>
                  <c:pt idx="2012">
                    <c:v>Rolling Stdev (30 Minute)</c:v>
                  </c:pt>
                  <c:pt idx="2013">
                    <c:v>Rolling Stdev (30 Minute)</c:v>
                  </c:pt>
                  <c:pt idx="2014">
                    <c:v>Rolling Stdev (30 Minute)</c:v>
                  </c:pt>
                  <c:pt idx="2015">
                    <c:v>Rolling Stdev (30 Minute)</c:v>
                  </c:pt>
                  <c:pt idx="2016">
                    <c:v>Rolling Stdev (30 Minute)</c:v>
                  </c:pt>
                  <c:pt idx="2017">
                    <c:v>Rolling Stdev (30 Minute)</c:v>
                  </c:pt>
                  <c:pt idx="2018">
                    <c:v>Rolling Stdev (30 Minute)</c:v>
                  </c:pt>
                  <c:pt idx="2019">
                    <c:v>Rolling Stdev (30 Minute)</c:v>
                  </c:pt>
                  <c:pt idx="2020">
                    <c:v>Rolling Stdev (30 Minute)</c:v>
                  </c:pt>
                  <c:pt idx="2021">
                    <c:v>Rolling Stdev (30 Minute)</c:v>
                  </c:pt>
                  <c:pt idx="2022">
                    <c:v>Rolling Stdev (30 Minute)</c:v>
                  </c:pt>
                  <c:pt idx="2023">
                    <c:v>Rolling Stdev (30 Minute)</c:v>
                  </c:pt>
                  <c:pt idx="2024">
                    <c:v>Rolling Stdev (30 Minute)</c:v>
                  </c:pt>
                  <c:pt idx="2025">
                    <c:v>Rolling Stdev (30 Minute)</c:v>
                  </c:pt>
                  <c:pt idx="2026">
                    <c:v>Rolling Stdev (30 Minute)</c:v>
                  </c:pt>
                  <c:pt idx="2027">
                    <c:v>Rolling Stdev (30 Minute)</c:v>
                  </c:pt>
                  <c:pt idx="2028">
                    <c:v>Rolling Stdev (30 Minute)</c:v>
                  </c:pt>
                  <c:pt idx="2029">
                    <c:v>Rolling Stdev (30 Minute)</c:v>
                  </c:pt>
                  <c:pt idx="2030">
                    <c:v>Rolling Stdev (30 Minute)</c:v>
                  </c:pt>
                  <c:pt idx="2031">
                    <c:v>Rolling Stdev (30 Minute)</c:v>
                  </c:pt>
                  <c:pt idx="2032">
                    <c:v>Rolling Stdev (30 Minute)</c:v>
                  </c:pt>
                  <c:pt idx="2033">
                    <c:v>Rolling Stdev (30 Minute)</c:v>
                  </c:pt>
                  <c:pt idx="2034">
                    <c:v>Rolling Stdev (30 Minute)</c:v>
                  </c:pt>
                  <c:pt idx="2035">
                    <c:v>Rolling Stdev (30 Minute)</c:v>
                  </c:pt>
                  <c:pt idx="2036">
                    <c:v>Rolling Stdev (30 Minute)</c:v>
                  </c:pt>
                  <c:pt idx="2037">
                    <c:v>Rolling Stdev (30 Minute)</c:v>
                  </c:pt>
                  <c:pt idx="2038">
                    <c:v>Rolling Stdev (30 Minute)</c:v>
                  </c:pt>
                  <c:pt idx="2039">
                    <c:v>Rolling Stdev (30 Minute)</c:v>
                  </c:pt>
                  <c:pt idx="2040">
                    <c:v>Rolling Stdev (30 Minute)</c:v>
                  </c:pt>
                  <c:pt idx="2041">
                    <c:v>Rolling Stdev (30 Minute)</c:v>
                  </c:pt>
                  <c:pt idx="2042">
                    <c:v>Rolling Stdev (30 Minute)</c:v>
                  </c:pt>
                  <c:pt idx="2043">
                    <c:v>Rolling Stdev (30 Minute)</c:v>
                  </c:pt>
                  <c:pt idx="2044">
                    <c:v>Rolling Stdev (30 Minute)</c:v>
                  </c:pt>
                  <c:pt idx="2045">
                    <c:v>Rolling Stdev (30 Minute)</c:v>
                  </c:pt>
                  <c:pt idx="2046">
                    <c:v>Rolling Stdev (30 Minute)</c:v>
                  </c:pt>
                  <c:pt idx="2047">
                    <c:v>Rolling Stdev (30 Minute)</c:v>
                  </c:pt>
                  <c:pt idx="2048">
                    <c:v>Rolling Stdev (30 Minute)</c:v>
                  </c:pt>
                  <c:pt idx="2049">
                    <c:v>Rolling Stdev (30 Minute)</c:v>
                  </c:pt>
                  <c:pt idx="2050">
                    <c:v>Rolling Stdev (30 Minute)</c:v>
                  </c:pt>
                  <c:pt idx="2051">
                    <c:v>Rolling Stdev (30 Minute)</c:v>
                  </c:pt>
                  <c:pt idx="2052">
                    <c:v>Rolling Stdev (30 Minute)</c:v>
                  </c:pt>
                  <c:pt idx="2053">
                    <c:v>Rolling Stdev (30 Minute)</c:v>
                  </c:pt>
                  <c:pt idx="2054">
                    <c:v>Rolling Stdev (30 Minute)</c:v>
                  </c:pt>
                  <c:pt idx="2055">
                    <c:v>Rolling Stdev (30 Minute)</c:v>
                  </c:pt>
                  <c:pt idx="2056">
                    <c:v>Rolling Stdev (30 Minute)</c:v>
                  </c:pt>
                  <c:pt idx="2057">
                    <c:v>Rolling Stdev (30 Minute)</c:v>
                  </c:pt>
                  <c:pt idx="2058">
                    <c:v>Rolling Stdev (30 Minute)</c:v>
                  </c:pt>
                  <c:pt idx="2059">
                    <c:v>Rolling Stdev (30 Minute)</c:v>
                  </c:pt>
                  <c:pt idx="2060">
                    <c:v>Rolling Stdev (30 Minute)</c:v>
                  </c:pt>
                  <c:pt idx="2061">
                    <c:v>Rolling Stdev (30 Minute)</c:v>
                  </c:pt>
                  <c:pt idx="2062">
                    <c:v>Rolling Stdev (30 Minute)</c:v>
                  </c:pt>
                  <c:pt idx="2063">
                    <c:v>Rolling Stdev (30 Minute)</c:v>
                  </c:pt>
                  <c:pt idx="2064">
                    <c:v>Rolling Stdev (30 Minute)</c:v>
                  </c:pt>
                  <c:pt idx="2065">
                    <c:v>Rolling Stdev (30 Minute)</c:v>
                  </c:pt>
                  <c:pt idx="2066">
                    <c:v>Rolling Stdev (30 Minute)</c:v>
                  </c:pt>
                  <c:pt idx="2067">
                    <c:v>Rolling Stdev (30 Minute)</c:v>
                  </c:pt>
                  <c:pt idx="2068">
                    <c:v>Rolling Stdev (30 Minute)</c:v>
                  </c:pt>
                  <c:pt idx="2069">
                    <c:v>Rolling Stdev (30 Minute)</c:v>
                  </c:pt>
                  <c:pt idx="2070">
                    <c:v>Rolling Stdev (30 Minute)</c:v>
                  </c:pt>
                  <c:pt idx="2071">
                    <c:v>Rolling Stdev (30 Minute)</c:v>
                  </c:pt>
                  <c:pt idx="2072">
                    <c:v>Rolling Stdev (30 Minute)</c:v>
                  </c:pt>
                  <c:pt idx="2073">
                    <c:v>Rolling Stdev (30 Minute)</c:v>
                  </c:pt>
                  <c:pt idx="2074">
                    <c:v>Rolling Stdev (30 Minute)</c:v>
                  </c:pt>
                  <c:pt idx="2075">
                    <c:v>Rolling Stdev (30 Minute)</c:v>
                  </c:pt>
                  <c:pt idx="2076">
                    <c:v>Rolling Stdev (30 Minute)</c:v>
                  </c:pt>
                  <c:pt idx="2077">
                    <c:v>Rolling Stdev (30 Minute)</c:v>
                  </c:pt>
                  <c:pt idx="2078">
                    <c:v>Rolling Stdev (30 Minute)</c:v>
                  </c:pt>
                  <c:pt idx="2079">
                    <c:v>Rolling Stdev (30 Minute)</c:v>
                  </c:pt>
                  <c:pt idx="2080">
                    <c:v>Rolling Stdev (30 Minute)</c:v>
                  </c:pt>
                  <c:pt idx="2081">
                    <c:v>Rolling Stdev (30 Minute)</c:v>
                  </c:pt>
                  <c:pt idx="2082">
                    <c:v>Rolling Stdev (30 Minute)</c:v>
                  </c:pt>
                  <c:pt idx="2083">
                    <c:v>Rolling Stdev (30 Minute)</c:v>
                  </c:pt>
                  <c:pt idx="2084">
                    <c:v>Rolling Stdev (30 Minute)</c:v>
                  </c:pt>
                  <c:pt idx="2085">
                    <c:v>Rolling Stdev (30 Minute)</c:v>
                  </c:pt>
                  <c:pt idx="2086">
                    <c:v>Rolling Stdev (30 Minute)</c:v>
                  </c:pt>
                  <c:pt idx="2087">
                    <c:v>Rolling Stdev (30 Minute)</c:v>
                  </c:pt>
                  <c:pt idx="2088">
                    <c:v>Rolling Stdev (30 Minute)</c:v>
                  </c:pt>
                  <c:pt idx="2089">
                    <c:v>Rolling Stdev (30 Minute)</c:v>
                  </c:pt>
                  <c:pt idx="2090">
                    <c:v>Rolling Stdev (30 Minute)</c:v>
                  </c:pt>
                  <c:pt idx="2091">
                    <c:v>Rolling Stdev (30 Minute)</c:v>
                  </c:pt>
                  <c:pt idx="2092">
                    <c:v>Rolling Stdev (30 Minute)</c:v>
                  </c:pt>
                  <c:pt idx="2093">
                    <c:v>Rolling Stdev (30 Minute)</c:v>
                  </c:pt>
                  <c:pt idx="2094">
                    <c:v>Rolling Stdev (30 Minute)</c:v>
                  </c:pt>
                  <c:pt idx="2095">
                    <c:v>Rolling Stdev (30 Minute)</c:v>
                  </c:pt>
                  <c:pt idx="2096">
                    <c:v>Rolling Stdev (30 Minute)</c:v>
                  </c:pt>
                  <c:pt idx="2097">
                    <c:v>Rolling Stdev (30 Minute)</c:v>
                  </c:pt>
                  <c:pt idx="2098">
                    <c:v>Rolling Stdev (30 Minute)</c:v>
                  </c:pt>
                  <c:pt idx="2099">
                    <c:v>Rolling Stdev (30 Minute)</c:v>
                  </c:pt>
                  <c:pt idx="2100">
                    <c:v>Rolling Stdev (30 Minute)</c:v>
                  </c:pt>
                  <c:pt idx="2101">
                    <c:v>Rolling Stdev (30 Minute)</c:v>
                  </c:pt>
                  <c:pt idx="2102">
                    <c:v>Rolling Stdev (30 Minute)</c:v>
                  </c:pt>
                  <c:pt idx="2103">
                    <c:v>Rolling Stdev (30 Minute)</c:v>
                  </c:pt>
                  <c:pt idx="2104">
                    <c:v>Rolling Stdev (30 Minute)</c:v>
                  </c:pt>
                  <c:pt idx="2105">
                    <c:v>Rolling Stdev (30 Minute)</c:v>
                  </c:pt>
                  <c:pt idx="2106">
                    <c:v>Rolling Stdev (30 Minute)</c:v>
                  </c:pt>
                  <c:pt idx="2107">
                    <c:v>Rolling Stdev (30 Minute)</c:v>
                  </c:pt>
                  <c:pt idx="2108">
                    <c:v>Rolling Stdev (30 Minute)</c:v>
                  </c:pt>
                  <c:pt idx="2109">
                    <c:v>Rolling Stdev (30 Minute)</c:v>
                  </c:pt>
                  <c:pt idx="2110">
                    <c:v>Rolling Stdev (30 Minute)</c:v>
                  </c:pt>
                  <c:pt idx="2111">
                    <c:v>Rolling Stdev (30 Minute)</c:v>
                  </c:pt>
                  <c:pt idx="2112">
                    <c:v>Rolling Stdev (30 Minute)</c:v>
                  </c:pt>
                  <c:pt idx="2113">
                    <c:v>Rolling Stdev (30 Minute)</c:v>
                  </c:pt>
                  <c:pt idx="2114">
                    <c:v>Rolling Stdev (30 Minute)</c:v>
                  </c:pt>
                  <c:pt idx="2115">
                    <c:v>Rolling Stdev (30 Minute)</c:v>
                  </c:pt>
                  <c:pt idx="2116">
                    <c:v>Rolling Stdev (30 Minute)</c:v>
                  </c:pt>
                  <c:pt idx="2117">
                    <c:v>Rolling Stdev (30 Minute)</c:v>
                  </c:pt>
                  <c:pt idx="2118">
                    <c:v>Rolling Stdev (30 Minute)</c:v>
                  </c:pt>
                  <c:pt idx="2119">
                    <c:v>Rolling Stdev (30 Minute)</c:v>
                  </c:pt>
                  <c:pt idx="2120">
                    <c:v>Rolling Stdev (30 Minute)</c:v>
                  </c:pt>
                  <c:pt idx="2121">
                    <c:v>Rolling Stdev (30 Minute)</c:v>
                  </c:pt>
                  <c:pt idx="2122">
                    <c:v>Rolling Stdev (30 Minute)</c:v>
                  </c:pt>
                  <c:pt idx="2123">
                    <c:v>Rolling Stdev (30 Minute)</c:v>
                  </c:pt>
                  <c:pt idx="2124">
                    <c:v>Rolling Stdev (30 Minute)</c:v>
                  </c:pt>
                  <c:pt idx="2125">
                    <c:v>Rolling Stdev (30 Minute)</c:v>
                  </c:pt>
                  <c:pt idx="2126">
                    <c:v>Rolling Stdev (30 Minute)</c:v>
                  </c:pt>
                  <c:pt idx="2127">
                    <c:v>Rolling Stdev (30 Minute)</c:v>
                  </c:pt>
                  <c:pt idx="2128">
                    <c:v>Rolling Stdev (30 Minute)</c:v>
                  </c:pt>
                  <c:pt idx="2129">
                    <c:v>Rolling Stdev (30 Minute)</c:v>
                  </c:pt>
                  <c:pt idx="2130">
                    <c:v>Rolling Stdev (30 Minute)</c:v>
                  </c:pt>
                  <c:pt idx="2131">
                    <c:v>Rolling Stdev (30 Minute)</c:v>
                  </c:pt>
                  <c:pt idx="2132">
                    <c:v>Rolling Stdev (30 Minute)</c:v>
                  </c:pt>
                  <c:pt idx="2133">
                    <c:v>Rolling Stdev (30 Minute)</c:v>
                  </c:pt>
                  <c:pt idx="2134">
                    <c:v>Rolling Stdev (30 Minute)</c:v>
                  </c:pt>
                  <c:pt idx="2135">
                    <c:v>Rolling Stdev (30 Minute)</c:v>
                  </c:pt>
                  <c:pt idx="2136">
                    <c:v>Rolling Stdev (30 Minute)</c:v>
                  </c:pt>
                  <c:pt idx="2137">
                    <c:v>Rolling Stdev (30 Minute)</c:v>
                  </c:pt>
                  <c:pt idx="2138">
                    <c:v>Rolling Stdev (30 Minute)</c:v>
                  </c:pt>
                  <c:pt idx="2139">
                    <c:v>Rolling Stdev (30 Minute)</c:v>
                  </c:pt>
                  <c:pt idx="2140">
                    <c:v>Rolling Stdev (30 Minute)</c:v>
                  </c:pt>
                  <c:pt idx="2141">
                    <c:v>Rolling Stdev (30 Minute)</c:v>
                  </c:pt>
                  <c:pt idx="2142">
                    <c:v>Rolling Stdev (30 Minute)</c:v>
                  </c:pt>
                  <c:pt idx="2143">
                    <c:v>Rolling Stdev (30 Minute)</c:v>
                  </c:pt>
                  <c:pt idx="2144">
                    <c:v>Rolling Stdev (30 Minute)</c:v>
                  </c:pt>
                  <c:pt idx="2145">
                    <c:v>Rolling Stdev (30 Minute)</c:v>
                  </c:pt>
                  <c:pt idx="2146">
                    <c:v>Rolling Stdev (30 Minute)</c:v>
                  </c:pt>
                  <c:pt idx="2147">
                    <c:v>Rolling Stdev (30 Minute)</c:v>
                  </c:pt>
                  <c:pt idx="2148">
                    <c:v>Rolling Stdev (30 Minute)</c:v>
                  </c:pt>
                  <c:pt idx="2149">
                    <c:v>Rolling Stdev (30 Minute)</c:v>
                  </c:pt>
                  <c:pt idx="2150">
                    <c:v>Rolling Stdev (30 Minute)</c:v>
                  </c:pt>
                  <c:pt idx="2151">
                    <c:v>Rolling Stdev (30 Minute)</c:v>
                  </c:pt>
                  <c:pt idx="2152">
                    <c:v>Rolling Stdev (30 Minute)</c:v>
                  </c:pt>
                  <c:pt idx="2153">
                    <c:v>Rolling Stdev (30 Minute)</c:v>
                  </c:pt>
                  <c:pt idx="2154">
                    <c:v>Rolling Stdev (30 Minute)</c:v>
                  </c:pt>
                  <c:pt idx="2155">
                    <c:v>Rolling Stdev (30 Minute)</c:v>
                  </c:pt>
                  <c:pt idx="2156">
                    <c:v>Rolling Stdev (30 Minute)</c:v>
                  </c:pt>
                  <c:pt idx="2157">
                    <c:v>Rolling Stdev (30 Minute)</c:v>
                  </c:pt>
                  <c:pt idx="2158">
                    <c:v>Rolling Stdev (30 Minute)</c:v>
                  </c:pt>
                  <c:pt idx="2159">
                    <c:v>Rolling Stdev (30 Minute)</c:v>
                  </c:pt>
                  <c:pt idx="2160">
                    <c:v>Rolling Stdev (30 Minute)</c:v>
                  </c:pt>
                  <c:pt idx="2161">
                    <c:v>Rolling Stdev (30 Minute)</c:v>
                  </c:pt>
                  <c:pt idx="2162">
                    <c:v>Rolling Stdev (30 Minute)</c:v>
                  </c:pt>
                  <c:pt idx="2163">
                    <c:v>Rolling Stdev (30 Minute)</c:v>
                  </c:pt>
                  <c:pt idx="2164">
                    <c:v>Rolling Stdev (30 Minute)</c:v>
                  </c:pt>
                  <c:pt idx="2165">
                    <c:v>Rolling Stdev (30 Minute)</c:v>
                  </c:pt>
                  <c:pt idx="2166">
                    <c:v>Rolling Stdev (30 Minute)</c:v>
                  </c:pt>
                  <c:pt idx="2167">
                    <c:v>Rolling Stdev (30 Minute)</c:v>
                  </c:pt>
                  <c:pt idx="2168">
                    <c:v>Rolling Stdev (30 Minute)</c:v>
                  </c:pt>
                  <c:pt idx="2169">
                    <c:v>Rolling Stdev (30 Minute)</c:v>
                  </c:pt>
                  <c:pt idx="2170">
                    <c:v>Rolling Stdev (30 Minute)</c:v>
                  </c:pt>
                  <c:pt idx="2171">
                    <c:v>Rolling Stdev (30 Minute)</c:v>
                  </c:pt>
                  <c:pt idx="2172">
                    <c:v>Rolling Stdev (30 Minute)</c:v>
                  </c:pt>
                  <c:pt idx="2173">
                    <c:v>Rolling Stdev (30 Minute)</c:v>
                  </c:pt>
                  <c:pt idx="2174">
                    <c:v>Rolling Stdev (30 Minute)</c:v>
                  </c:pt>
                  <c:pt idx="2175">
                    <c:v>Rolling Stdev (30 Minute)</c:v>
                  </c:pt>
                  <c:pt idx="2176">
                    <c:v>Rolling Stdev (30 Minute)</c:v>
                  </c:pt>
                  <c:pt idx="2177">
                    <c:v>Rolling Stdev (30 Minute)</c:v>
                  </c:pt>
                  <c:pt idx="2178">
                    <c:v>Rolling Stdev (30 Minute)</c:v>
                  </c:pt>
                  <c:pt idx="2179">
                    <c:v>Rolling Stdev (30 Minute)</c:v>
                  </c:pt>
                  <c:pt idx="2180">
                    <c:v>Rolling Stdev (30 Minute)</c:v>
                  </c:pt>
                  <c:pt idx="2181">
                    <c:v>Rolling Stdev (30 Minute)</c:v>
                  </c:pt>
                  <c:pt idx="2182">
                    <c:v>Rolling Stdev (30 Minute)</c:v>
                  </c:pt>
                  <c:pt idx="2183">
                    <c:v>Rolling Stdev (30 Minute)</c:v>
                  </c:pt>
                  <c:pt idx="2184">
                    <c:v>Rolling Stdev (30 Minute)</c:v>
                  </c:pt>
                  <c:pt idx="2185">
                    <c:v>Rolling Stdev (30 Minute)</c:v>
                  </c:pt>
                  <c:pt idx="2186">
                    <c:v>Rolling Stdev (30 Minute)</c:v>
                  </c:pt>
                  <c:pt idx="2187">
                    <c:v>Rolling Stdev (30 Minute)</c:v>
                  </c:pt>
                  <c:pt idx="2188">
                    <c:v>Rolling Stdev (30 Minute)</c:v>
                  </c:pt>
                  <c:pt idx="2189">
                    <c:v>Rolling Stdev (30 Minute)</c:v>
                  </c:pt>
                  <c:pt idx="2190">
                    <c:v>Rolling Stdev (30 Minute)</c:v>
                  </c:pt>
                  <c:pt idx="2191">
                    <c:v>Rolling Stdev (30 Minute)</c:v>
                  </c:pt>
                  <c:pt idx="2192">
                    <c:v>Rolling Stdev (30 Minute)</c:v>
                  </c:pt>
                  <c:pt idx="2193">
                    <c:v>Rolling Stdev (30 Minute)</c:v>
                  </c:pt>
                  <c:pt idx="2194">
                    <c:v>Rolling Stdev (30 Minute)</c:v>
                  </c:pt>
                  <c:pt idx="2195">
                    <c:v>Rolling Stdev (30 Minute)</c:v>
                  </c:pt>
                  <c:pt idx="2196">
                    <c:v>Rolling Stdev (30 Minute)</c:v>
                  </c:pt>
                  <c:pt idx="2197">
                    <c:v>Rolling Stdev (30 Minute)</c:v>
                  </c:pt>
                  <c:pt idx="2198">
                    <c:v>Rolling Stdev (30 Minute)</c:v>
                  </c:pt>
                  <c:pt idx="2199">
                    <c:v>Rolling Stdev (30 Minute)</c:v>
                  </c:pt>
                  <c:pt idx="2200">
                    <c:v>Rolling Stdev (30 Minute)</c:v>
                  </c:pt>
                  <c:pt idx="2201">
                    <c:v>Rolling Stdev (30 Minute)</c:v>
                  </c:pt>
                  <c:pt idx="2202">
                    <c:v>Rolling Stdev (30 Minute)</c:v>
                  </c:pt>
                  <c:pt idx="2203">
                    <c:v>Rolling Stdev (30 Minute)</c:v>
                  </c:pt>
                  <c:pt idx="2204">
                    <c:v>Rolling Stdev (30 Minute)</c:v>
                  </c:pt>
                  <c:pt idx="2205">
                    <c:v>Rolling Stdev (30 Minute)</c:v>
                  </c:pt>
                  <c:pt idx="2206">
                    <c:v>Rolling Stdev (30 Minute)</c:v>
                  </c:pt>
                  <c:pt idx="2207">
                    <c:v>Rolling Stdev (30 Minute)</c:v>
                  </c:pt>
                  <c:pt idx="2208">
                    <c:v>Rolling Stdev (30 Minute)</c:v>
                  </c:pt>
                  <c:pt idx="2209">
                    <c:v>Rolling Stdev (30 Minute)</c:v>
                  </c:pt>
                  <c:pt idx="2210">
                    <c:v>Rolling Stdev (30 Minute)</c:v>
                  </c:pt>
                  <c:pt idx="2211">
                    <c:v>Rolling Stdev (30 Minute)</c:v>
                  </c:pt>
                  <c:pt idx="2212">
                    <c:v>Rolling Stdev (30 Minute)</c:v>
                  </c:pt>
                  <c:pt idx="2213">
                    <c:v>Rolling Stdev (30 Minute)</c:v>
                  </c:pt>
                  <c:pt idx="2214">
                    <c:v>Rolling Stdev (30 Minute)</c:v>
                  </c:pt>
                  <c:pt idx="2215">
                    <c:v>Rolling Stdev (30 Minute)</c:v>
                  </c:pt>
                  <c:pt idx="2216">
                    <c:v>Rolling Stdev (30 Minute)</c:v>
                  </c:pt>
                  <c:pt idx="2217">
                    <c:v>Rolling Stdev (30 Minute)</c:v>
                  </c:pt>
                  <c:pt idx="2218">
                    <c:v>Rolling Stdev (30 Minute)</c:v>
                  </c:pt>
                  <c:pt idx="2219">
                    <c:v>Rolling Stdev (30 Minute)</c:v>
                  </c:pt>
                  <c:pt idx="2220">
                    <c:v>Rolling Stdev (30 Minute)</c:v>
                  </c:pt>
                  <c:pt idx="2221">
                    <c:v>Rolling Stdev (30 Minute)</c:v>
                  </c:pt>
                  <c:pt idx="2222">
                    <c:v>Rolling Stdev (30 Minute)</c:v>
                  </c:pt>
                  <c:pt idx="2223">
                    <c:v>Rolling Stdev (30 Minute)</c:v>
                  </c:pt>
                  <c:pt idx="2224">
                    <c:v>Rolling Stdev (30 Minute)</c:v>
                  </c:pt>
                  <c:pt idx="2225">
                    <c:v>Rolling Stdev (30 Minute)</c:v>
                  </c:pt>
                  <c:pt idx="2226">
                    <c:v>Rolling Stdev (30 Minute)</c:v>
                  </c:pt>
                  <c:pt idx="2227">
                    <c:v>Rolling Stdev (30 Minute)</c:v>
                  </c:pt>
                  <c:pt idx="2228">
                    <c:v>Rolling Stdev (30 Minute)</c:v>
                  </c:pt>
                  <c:pt idx="2229">
                    <c:v>Rolling Stdev (30 Minute)</c:v>
                  </c:pt>
                  <c:pt idx="2230">
                    <c:v>Rolling Stdev (30 Minute)</c:v>
                  </c:pt>
                  <c:pt idx="2231">
                    <c:v>Rolling Stdev (30 Minute)</c:v>
                  </c:pt>
                  <c:pt idx="2232">
                    <c:v>Rolling Stdev (30 Minute)</c:v>
                  </c:pt>
                  <c:pt idx="2233">
                    <c:v>Rolling Stdev (30 Minute)</c:v>
                  </c:pt>
                  <c:pt idx="2234">
                    <c:v>Rolling Stdev (30 Minute)</c:v>
                  </c:pt>
                  <c:pt idx="2235">
                    <c:v>Rolling Stdev (30 Minute)</c:v>
                  </c:pt>
                  <c:pt idx="2236">
                    <c:v>Rolling Stdev (30 Minute)</c:v>
                  </c:pt>
                  <c:pt idx="2237">
                    <c:v>Rolling Stdev (30 Minute)</c:v>
                  </c:pt>
                  <c:pt idx="2238">
                    <c:v>Rolling Stdev (30 Minute)</c:v>
                  </c:pt>
                  <c:pt idx="2239">
                    <c:v>Rolling Stdev (30 Minute)</c:v>
                  </c:pt>
                  <c:pt idx="2240">
                    <c:v>Rolling Stdev (30 Minute)</c:v>
                  </c:pt>
                  <c:pt idx="2241">
                    <c:v>Rolling Stdev (30 Minute)</c:v>
                  </c:pt>
                  <c:pt idx="2242">
                    <c:v>Rolling Stdev (30 Minute)</c:v>
                  </c:pt>
                  <c:pt idx="2243">
                    <c:v>Rolling Stdev (30 Minute)</c:v>
                  </c:pt>
                  <c:pt idx="2244">
                    <c:v>Rolling Stdev (30 Minute)</c:v>
                  </c:pt>
                  <c:pt idx="2245">
                    <c:v>Rolling Stdev (30 Minute)</c:v>
                  </c:pt>
                  <c:pt idx="2246">
                    <c:v>Rolling Stdev (30 Minute)</c:v>
                  </c:pt>
                  <c:pt idx="2247">
                    <c:v>Rolling Stdev (30 Minute)</c:v>
                  </c:pt>
                  <c:pt idx="2248">
                    <c:v>Rolling Stdev (30 Minute)</c:v>
                  </c:pt>
                  <c:pt idx="2249">
                    <c:v>Rolling Stdev (30 Minute)</c:v>
                  </c:pt>
                  <c:pt idx="2250">
                    <c:v>Rolling Stdev (30 Minute)</c:v>
                  </c:pt>
                  <c:pt idx="2251">
                    <c:v>Rolling Stdev (30 Minute)</c:v>
                  </c:pt>
                  <c:pt idx="2252">
                    <c:v>Rolling Stdev (30 Minute)</c:v>
                  </c:pt>
                  <c:pt idx="2253">
                    <c:v>Rolling Stdev (30 Minute)</c:v>
                  </c:pt>
                  <c:pt idx="2254">
                    <c:v>Rolling Stdev (30 Minute)</c:v>
                  </c:pt>
                  <c:pt idx="2255">
                    <c:v>Rolling Stdev (30 Minute)</c:v>
                  </c:pt>
                  <c:pt idx="2256">
                    <c:v>Rolling Stdev (30 Minute)</c:v>
                  </c:pt>
                  <c:pt idx="2257">
                    <c:v>Rolling Stdev (30 Minute)</c:v>
                  </c:pt>
                  <c:pt idx="2258">
                    <c:v>Rolling Stdev (30 Minute)</c:v>
                  </c:pt>
                  <c:pt idx="2259">
                    <c:v>Rolling Stdev (30 Minute)</c:v>
                  </c:pt>
                  <c:pt idx="2260">
                    <c:v>Rolling Stdev (30 Minute)</c:v>
                  </c:pt>
                  <c:pt idx="2261">
                    <c:v>Rolling Stdev (30 Minute)</c:v>
                  </c:pt>
                  <c:pt idx="2262">
                    <c:v>Rolling Stdev (30 Minute)</c:v>
                  </c:pt>
                  <c:pt idx="2263">
                    <c:v>Rolling Stdev (30 Minute)</c:v>
                  </c:pt>
                  <c:pt idx="2264">
                    <c:v>Rolling Stdev (30 Minute)</c:v>
                  </c:pt>
                  <c:pt idx="2265">
                    <c:v>Rolling Stdev (30 Minute)</c:v>
                  </c:pt>
                  <c:pt idx="2266">
                    <c:v>Rolling Stdev (30 Minute)</c:v>
                  </c:pt>
                  <c:pt idx="2267">
                    <c:v>Rolling Stdev (30 Minute)</c:v>
                  </c:pt>
                  <c:pt idx="2268">
                    <c:v>Rolling Stdev (30 Minute)</c:v>
                  </c:pt>
                  <c:pt idx="2269">
                    <c:v>Rolling Stdev (30 Minute)</c:v>
                  </c:pt>
                  <c:pt idx="2270">
                    <c:v>Rolling Stdev (30 Minute)</c:v>
                  </c:pt>
                  <c:pt idx="2271">
                    <c:v>Rolling Stdev (30 Minute)</c:v>
                  </c:pt>
                  <c:pt idx="2272">
                    <c:v>Rolling Stdev (30 Minute)</c:v>
                  </c:pt>
                  <c:pt idx="2273">
                    <c:v>Rolling Stdev (30 Minute)</c:v>
                  </c:pt>
                  <c:pt idx="2274">
                    <c:v>Rolling Stdev (30 Minute)</c:v>
                  </c:pt>
                  <c:pt idx="2275">
                    <c:v>Rolling Stdev (30 Minute)</c:v>
                  </c:pt>
                  <c:pt idx="2276">
                    <c:v>Rolling Stdev (30 Minute)</c:v>
                  </c:pt>
                  <c:pt idx="2277">
                    <c:v>Rolling Stdev (30 Minute)</c:v>
                  </c:pt>
                  <c:pt idx="2278">
                    <c:v>Rolling Stdev (30 Minute)</c:v>
                  </c:pt>
                  <c:pt idx="2279">
                    <c:v>Rolling Stdev (30 Minute)</c:v>
                  </c:pt>
                  <c:pt idx="2280">
                    <c:v>Rolling Stdev (30 Minute)</c:v>
                  </c:pt>
                  <c:pt idx="2281">
                    <c:v>Rolling Stdev (30 Minute)</c:v>
                  </c:pt>
                  <c:pt idx="2282">
                    <c:v>Rolling Stdev (30 Minute)</c:v>
                  </c:pt>
                  <c:pt idx="2283">
                    <c:v>Rolling Stdev (30 Minute)</c:v>
                  </c:pt>
                  <c:pt idx="2284">
                    <c:v>Rolling Stdev (30 Minute)</c:v>
                  </c:pt>
                  <c:pt idx="2285">
                    <c:v>Rolling Stdev (30 Minute)</c:v>
                  </c:pt>
                  <c:pt idx="2286">
                    <c:v>Rolling Stdev (30 Minute)</c:v>
                  </c:pt>
                  <c:pt idx="2287">
                    <c:v>Rolling Stdev (30 Minute)</c:v>
                  </c:pt>
                  <c:pt idx="2288">
                    <c:v>Rolling Stdev (30 Minute)</c:v>
                  </c:pt>
                  <c:pt idx="2289">
                    <c:v>Rolling Stdev (30 Minute)</c:v>
                  </c:pt>
                  <c:pt idx="2290">
                    <c:v>Rolling Stdev (30 Minute)</c:v>
                  </c:pt>
                  <c:pt idx="2291">
                    <c:v>Rolling Stdev (30 Minute)</c:v>
                  </c:pt>
                  <c:pt idx="2292">
                    <c:v>Rolling Stdev (30 Minute)</c:v>
                  </c:pt>
                  <c:pt idx="2293">
                    <c:v>Rolling Stdev (30 Minute)</c:v>
                  </c:pt>
                  <c:pt idx="2294">
                    <c:v>Rolling Stdev (30 Minute)</c:v>
                  </c:pt>
                  <c:pt idx="2295">
                    <c:v>Rolling Stdev (30 Minute)</c:v>
                  </c:pt>
                  <c:pt idx="2296">
                    <c:v>Rolling Stdev (30 Minute)</c:v>
                  </c:pt>
                  <c:pt idx="2297">
                    <c:v>Rolling Stdev (30 Minute)</c:v>
                  </c:pt>
                  <c:pt idx="2298">
                    <c:v>Rolling Stdev (30 Minute)</c:v>
                  </c:pt>
                  <c:pt idx="2299">
                    <c:v>Rolling Stdev (30 Minute)</c:v>
                  </c:pt>
                  <c:pt idx="2300">
                    <c:v>Rolling Stdev (30 Minute)</c:v>
                  </c:pt>
                  <c:pt idx="2301">
                    <c:v>Rolling Stdev (30 Minute)</c:v>
                  </c:pt>
                  <c:pt idx="2302">
                    <c:v>Rolling Stdev (30 Minute)</c:v>
                  </c:pt>
                  <c:pt idx="2303">
                    <c:v>Rolling Stdev (30 Minute)</c:v>
                  </c:pt>
                  <c:pt idx="2304">
                    <c:v>Rolling Stdev (30 Minute)</c:v>
                  </c:pt>
                  <c:pt idx="2305">
                    <c:v>Rolling Stdev (30 Minute)</c:v>
                  </c:pt>
                  <c:pt idx="2306">
                    <c:v>Rolling Stdev (30 Minute)</c:v>
                  </c:pt>
                  <c:pt idx="2307">
                    <c:v>Rolling Stdev (30 Minute)</c:v>
                  </c:pt>
                  <c:pt idx="2308">
                    <c:v>Rolling Stdev (30 Minute)</c:v>
                  </c:pt>
                  <c:pt idx="2309">
                    <c:v>Rolling Stdev (30 Minute)</c:v>
                  </c:pt>
                  <c:pt idx="2310">
                    <c:v>Rolling Stdev (30 Minute)</c:v>
                  </c:pt>
                  <c:pt idx="2311">
                    <c:v>Rolling Stdev (30 Minute)</c:v>
                  </c:pt>
                  <c:pt idx="2312">
                    <c:v>Rolling Stdev (30 Minute)</c:v>
                  </c:pt>
                  <c:pt idx="2313">
                    <c:v>Rolling Stdev (30 Minute)</c:v>
                  </c:pt>
                  <c:pt idx="2314">
                    <c:v>Rolling Stdev (30 Minute)</c:v>
                  </c:pt>
                  <c:pt idx="2315">
                    <c:v>Rolling Stdev (30 Minute)</c:v>
                  </c:pt>
                  <c:pt idx="2316">
                    <c:v>Rolling Stdev (30 Minute)</c:v>
                  </c:pt>
                  <c:pt idx="2317">
                    <c:v>Rolling Stdev (30 Minute)</c:v>
                  </c:pt>
                  <c:pt idx="2318">
                    <c:v>Rolling Stdev (30 Minute)</c:v>
                  </c:pt>
                  <c:pt idx="2319">
                    <c:v>Rolling Stdev (30 Minute)</c:v>
                  </c:pt>
                  <c:pt idx="2320">
                    <c:v>Rolling Stdev (30 Minute)</c:v>
                  </c:pt>
                  <c:pt idx="2321">
                    <c:v>Rolling Stdev (30 Minute)</c:v>
                  </c:pt>
                  <c:pt idx="2322">
                    <c:v>Rolling Stdev (30 Minute)</c:v>
                  </c:pt>
                  <c:pt idx="2323">
                    <c:v>Rolling Stdev (30 Minute)</c:v>
                  </c:pt>
                  <c:pt idx="2324">
                    <c:v>Rolling Stdev (30 Minute)</c:v>
                  </c:pt>
                  <c:pt idx="2325">
                    <c:v>Rolling Stdev (30 Minute)</c:v>
                  </c:pt>
                  <c:pt idx="2326">
                    <c:v>Rolling Stdev (30 Minute)</c:v>
                  </c:pt>
                  <c:pt idx="2327">
                    <c:v>Rolling Stdev (30 Minute)</c:v>
                  </c:pt>
                  <c:pt idx="2328">
                    <c:v>Rolling Stdev (30 Minute)</c:v>
                  </c:pt>
                  <c:pt idx="2329">
                    <c:v>Rolling Stdev (30 Minute)</c:v>
                  </c:pt>
                  <c:pt idx="2330">
                    <c:v>Rolling Stdev (30 Minute)</c:v>
                  </c:pt>
                  <c:pt idx="2331">
                    <c:v>Rolling Stdev (30 Minute)</c:v>
                  </c:pt>
                  <c:pt idx="2332">
                    <c:v>Rolling Stdev (30 Minute)</c:v>
                  </c:pt>
                  <c:pt idx="2333">
                    <c:v>Rolling Stdev (30 Minute)</c:v>
                  </c:pt>
                  <c:pt idx="2334">
                    <c:v>Rolling Stdev (30 Minute)</c:v>
                  </c:pt>
                  <c:pt idx="2335">
                    <c:v>Rolling Stdev (30 Minute)</c:v>
                  </c:pt>
                  <c:pt idx="2336">
                    <c:v>Rolling Stdev (30 Minute)</c:v>
                  </c:pt>
                  <c:pt idx="2337">
                    <c:v>Rolling Stdev (30 Minute)</c:v>
                  </c:pt>
                  <c:pt idx="2338">
                    <c:v>Rolling Stdev (30 Minute)</c:v>
                  </c:pt>
                  <c:pt idx="2339">
                    <c:v>Rolling Stdev (30 Minute)</c:v>
                  </c:pt>
                  <c:pt idx="2340">
                    <c:v>Rolling Stdev (30 Minute)</c:v>
                  </c:pt>
                  <c:pt idx="2341">
                    <c:v>Rolling Stdev (30 Minute)</c:v>
                  </c:pt>
                  <c:pt idx="2342">
                    <c:v>Rolling Stdev (30 Minute)</c:v>
                  </c:pt>
                  <c:pt idx="2343">
                    <c:v>Rolling Stdev (30 Minute)</c:v>
                  </c:pt>
                  <c:pt idx="2344">
                    <c:v>Rolling Stdev (30 Minute)</c:v>
                  </c:pt>
                  <c:pt idx="2345">
                    <c:v>Rolling Stdev (30 Minute)</c:v>
                  </c:pt>
                  <c:pt idx="2346">
                    <c:v>Rolling Stdev (30 Minute)</c:v>
                  </c:pt>
                  <c:pt idx="2347">
                    <c:v>Rolling Stdev (30 Minute)</c:v>
                  </c:pt>
                  <c:pt idx="2348">
                    <c:v>Rolling Stdev (30 Minute)</c:v>
                  </c:pt>
                  <c:pt idx="2349">
                    <c:v>Rolling Stdev (30 Minute)</c:v>
                  </c:pt>
                  <c:pt idx="2350">
                    <c:v>Rolling Stdev (30 Minute)</c:v>
                  </c:pt>
                  <c:pt idx="2351">
                    <c:v>Rolling Stdev (30 Minute)</c:v>
                  </c:pt>
                  <c:pt idx="2352">
                    <c:v>Rolling Stdev (30 Minute)</c:v>
                  </c:pt>
                  <c:pt idx="2353">
                    <c:v>Rolling Stdev (30 Minute)</c:v>
                  </c:pt>
                  <c:pt idx="2354">
                    <c:v>Rolling Stdev (30 Minute)</c:v>
                  </c:pt>
                  <c:pt idx="2355">
                    <c:v>Rolling Stdev (30 Minute)</c:v>
                  </c:pt>
                  <c:pt idx="2356">
                    <c:v>Rolling Stdev (30 Minute)</c:v>
                  </c:pt>
                  <c:pt idx="2357">
                    <c:v>Rolling Stdev (30 Minute)</c:v>
                  </c:pt>
                  <c:pt idx="2358">
                    <c:v>Rolling Stdev (30 Minute)</c:v>
                  </c:pt>
                  <c:pt idx="2359">
                    <c:v>Rolling Stdev (30 Minute)</c:v>
                  </c:pt>
                  <c:pt idx="2360">
                    <c:v>Rolling Stdev (30 Minute)</c:v>
                  </c:pt>
                  <c:pt idx="2361">
                    <c:v>Rolling Stdev (30 Minute)</c:v>
                  </c:pt>
                  <c:pt idx="2362">
                    <c:v>Rolling Stdev (30 Minute)</c:v>
                  </c:pt>
                  <c:pt idx="2363">
                    <c:v>Rolling Stdev (30 Minute)</c:v>
                  </c:pt>
                  <c:pt idx="2364">
                    <c:v>Rolling Stdev (30 Minute)</c:v>
                  </c:pt>
                  <c:pt idx="2365">
                    <c:v>Rolling Stdev (30 Minute)</c:v>
                  </c:pt>
                  <c:pt idx="2366">
                    <c:v>Rolling Stdev (30 Minute)</c:v>
                  </c:pt>
                  <c:pt idx="2367">
                    <c:v>Rolling Stdev (30 Minute)</c:v>
                  </c:pt>
                  <c:pt idx="2368">
                    <c:v>Rolling Stdev (30 Minute)</c:v>
                  </c:pt>
                  <c:pt idx="2369">
                    <c:v>Rolling Stdev (30 Minute)</c:v>
                  </c:pt>
                  <c:pt idx="2370">
                    <c:v>Rolling Stdev (30 Minute)</c:v>
                  </c:pt>
                  <c:pt idx="2371">
                    <c:v>Rolling Stdev (30 Minute)</c:v>
                  </c:pt>
                  <c:pt idx="2372">
                    <c:v>Rolling Stdev (30 Minute)</c:v>
                  </c:pt>
                  <c:pt idx="2373">
                    <c:v>Rolling Stdev (30 Minute)</c:v>
                  </c:pt>
                  <c:pt idx="2374">
                    <c:v>Rolling Stdev (30 Minute)</c:v>
                  </c:pt>
                  <c:pt idx="2375">
                    <c:v>Rolling Stdev (30 Minute)</c:v>
                  </c:pt>
                  <c:pt idx="2376">
                    <c:v>Rolling Stdev (30 Minute)</c:v>
                  </c:pt>
                  <c:pt idx="2377">
                    <c:v>Rolling Stdev (30 Minute)</c:v>
                  </c:pt>
                  <c:pt idx="2378">
                    <c:v>Rolling Stdev (30 Minute)</c:v>
                  </c:pt>
                  <c:pt idx="2379">
                    <c:v>Rolling Stdev (30 Minute)</c:v>
                  </c:pt>
                  <c:pt idx="2380">
                    <c:v>Rolling Stdev (30 Minute)</c:v>
                  </c:pt>
                  <c:pt idx="2381">
                    <c:v>Rolling Stdev (30 Minute)</c:v>
                  </c:pt>
                  <c:pt idx="2382">
                    <c:v>Rolling Stdev (30 Minute)</c:v>
                  </c:pt>
                  <c:pt idx="2383">
                    <c:v>Rolling Stdev (30 Minute)</c:v>
                  </c:pt>
                  <c:pt idx="2384">
                    <c:v>Rolling Stdev (30 Minute)</c:v>
                  </c:pt>
                  <c:pt idx="2385">
                    <c:v>Rolling Stdev (30 Minute)</c:v>
                  </c:pt>
                  <c:pt idx="2386">
                    <c:v>Rolling Stdev (30 Minute)</c:v>
                  </c:pt>
                  <c:pt idx="2387">
                    <c:v>Rolling Stdev (30 Minute)</c:v>
                  </c:pt>
                  <c:pt idx="2388">
                    <c:v>Rolling Stdev (30 Minute)</c:v>
                  </c:pt>
                  <c:pt idx="2389">
                    <c:v>Rolling Stdev (30 Minute)</c:v>
                  </c:pt>
                  <c:pt idx="2390">
                    <c:v>Rolling Stdev (30 Minute)</c:v>
                  </c:pt>
                  <c:pt idx="2391">
                    <c:v>Rolling Stdev (30 Minute)</c:v>
                  </c:pt>
                  <c:pt idx="2392">
                    <c:v>Rolling Stdev (30 Minute)</c:v>
                  </c:pt>
                  <c:pt idx="2393">
                    <c:v>Rolling Stdev (30 Minute)</c:v>
                  </c:pt>
                  <c:pt idx="2394">
                    <c:v>Rolling Stdev (30 Minute)</c:v>
                  </c:pt>
                  <c:pt idx="2395">
                    <c:v>Rolling Stdev (30 Minute)</c:v>
                  </c:pt>
                  <c:pt idx="2396">
                    <c:v>Rolling Stdev (30 Minute)</c:v>
                  </c:pt>
                  <c:pt idx="2397">
                    <c:v>Rolling Stdev (30 Minute)</c:v>
                  </c:pt>
                  <c:pt idx="2398">
                    <c:v>Rolling Stdev (30 Minute)</c:v>
                  </c:pt>
                  <c:pt idx="2399">
                    <c:v>Rolling Stdev (30 Minute)</c:v>
                  </c:pt>
                  <c:pt idx="2400">
                    <c:v>Rolling Stdev (30 Minute)</c:v>
                  </c:pt>
                  <c:pt idx="2401">
                    <c:v>Rolling Stdev (30 Minute)</c:v>
                  </c:pt>
                  <c:pt idx="2402">
                    <c:v>Rolling Stdev (30 Minute)</c:v>
                  </c:pt>
                  <c:pt idx="2403">
                    <c:v>Rolling Stdev (30 Minute)</c:v>
                  </c:pt>
                  <c:pt idx="2404">
                    <c:v>Rolling Stdev (30 Minute)</c:v>
                  </c:pt>
                  <c:pt idx="2405">
                    <c:v>Rolling Stdev (30 Minute)</c:v>
                  </c:pt>
                  <c:pt idx="2406">
                    <c:v>Rolling Stdev (30 Minute)</c:v>
                  </c:pt>
                  <c:pt idx="2407">
                    <c:v>Rolling Stdev (30 Minute)</c:v>
                  </c:pt>
                  <c:pt idx="2408">
                    <c:v>Rolling Stdev (30 Minute)</c:v>
                  </c:pt>
                  <c:pt idx="2409">
                    <c:v>Rolling Stdev (30 Minute)</c:v>
                  </c:pt>
                  <c:pt idx="2410">
                    <c:v>Rolling Stdev (30 Minute)</c:v>
                  </c:pt>
                  <c:pt idx="2411">
                    <c:v>Rolling Stdev (30 Minute)</c:v>
                  </c:pt>
                  <c:pt idx="2412">
                    <c:v>Rolling Stdev (30 Minute)</c:v>
                  </c:pt>
                  <c:pt idx="2413">
                    <c:v>Rolling Stdev (30 Minute)</c:v>
                  </c:pt>
                  <c:pt idx="2414">
                    <c:v>Rolling Stdev (30 Minute)</c:v>
                  </c:pt>
                  <c:pt idx="2415">
                    <c:v>Rolling Stdev (30 Minute)</c:v>
                  </c:pt>
                  <c:pt idx="2416">
                    <c:v>Rolling Stdev (30 Minute)</c:v>
                  </c:pt>
                  <c:pt idx="2417">
                    <c:v>Rolling Stdev (30 Minute)</c:v>
                  </c:pt>
                  <c:pt idx="2418">
                    <c:v>Rolling Stdev (30 Minute)</c:v>
                  </c:pt>
                  <c:pt idx="2419">
                    <c:v>Rolling Stdev (30 Minute)</c:v>
                  </c:pt>
                  <c:pt idx="2420">
                    <c:v>Rolling Stdev (30 Minute)</c:v>
                  </c:pt>
                  <c:pt idx="2421">
                    <c:v>Rolling Stdev (30 Minute)</c:v>
                  </c:pt>
                  <c:pt idx="2422">
                    <c:v>Rolling Stdev (30 Minute)</c:v>
                  </c:pt>
                  <c:pt idx="2423">
                    <c:v>Rolling Stdev (30 Minute)</c:v>
                  </c:pt>
                  <c:pt idx="2424">
                    <c:v>Rolling Stdev (30 Minute)</c:v>
                  </c:pt>
                  <c:pt idx="2425">
                    <c:v>Rolling Stdev (30 Minute)</c:v>
                  </c:pt>
                  <c:pt idx="2426">
                    <c:v>Rolling Stdev (30 Minute)</c:v>
                  </c:pt>
                  <c:pt idx="2427">
                    <c:v>Rolling Stdev (30 Minute)</c:v>
                  </c:pt>
                  <c:pt idx="2428">
                    <c:v>Rolling Stdev (30 Minute)</c:v>
                  </c:pt>
                  <c:pt idx="2429">
                    <c:v>Rolling Stdev (30 Minute)</c:v>
                  </c:pt>
                  <c:pt idx="2430">
                    <c:v>Rolling Stdev (30 Minute)</c:v>
                  </c:pt>
                  <c:pt idx="2431">
                    <c:v>Rolling Stdev (30 Minute)</c:v>
                  </c:pt>
                  <c:pt idx="2432">
                    <c:v>Rolling Stdev (30 Minute)</c:v>
                  </c:pt>
                  <c:pt idx="2433">
                    <c:v>Rolling Stdev (30 Minute)</c:v>
                  </c:pt>
                  <c:pt idx="2434">
                    <c:v>Rolling Stdev (30 Minute)</c:v>
                  </c:pt>
                  <c:pt idx="2435">
                    <c:v>Rolling Stdev (30 Minute)</c:v>
                  </c:pt>
                  <c:pt idx="2436">
                    <c:v>Rolling Stdev (30 Minute)</c:v>
                  </c:pt>
                  <c:pt idx="2437">
                    <c:v>Rolling Stdev (30 Minute)</c:v>
                  </c:pt>
                  <c:pt idx="2438">
                    <c:v>Rolling Stdev (30 Minute)</c:v>
                  </c:pt>
                  <c:pt idx="2439">
                    <c:v>Rolling Stdev (30 Minute)</c:v>
                  </c:pt>
                  <c:pt idx="2440">
                    <c:v>Rolling Stdev (30 Minute)</c:v>
                  </c:pt>
                  <c:pt idx="2441">
                    <c:v>Rolling Stdev (30 Minute)</c:v>
                  </c:pt>
                  <c:pt idx="2442">
                    <c:v>Rolling Stdev (30 Minute)</c:v>
                  </c:pt>
                  <c:pt idx="2443">
                    <c:v>Rolling Stdev (30 Minute)</c:v>
                  </c:pt>
                  <c:pt idx="2444">
                    <c:v>Rolling Stdev (30 Minute)</c:v>
                  </c:pt>
                  <c:pt idx="2445">
                    <c:v>Rolling Stdev (30 Minute)</c:v>
                  </c:pt>
                  <c:pt idx="2446">
                    <c:v>Rolling Stdev (30 Minute)</c:v>
                  </c:pt>
                  <c:pt idx="2447">
                    <c:v>Rolling Stdev (30 Minute)</c:v>
                  </c:pt>
                  <c:pt idx="2448">
                    <c:v>Rolling Stdev (30 Minute)</c:v>
                  </c:pt>
                  <c:pt idx="2449">
                    <c:v>Rolling Stdev (30 Minute)</c:v>
                  </c:pt>
                  <c:pt idx="2450">
                    <c:v>Rolling Stdev (30 Minute)</c:v>
                  </c:pt>
                  <c:pt idx="2451">
                    <c:v>Rolling Stdev (30 Minute)</c:v>
                  </c:pt>
                </c:lvl>
              </c:multiLvlStrCache>
            </c:multiLvlStrRef>
          </c:cat>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6785-41B4-BCE1-ECD89FF12F5A}"/>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multiLvlStrRef>
              <c:f>'DRT Rolling Stdev'!$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Stdev (30 Minute)</c:v>
                  </c:pt>
                  <c:pt idx="1">
                    <c:v>Rolling Stdev (30 Minute)</c:v>
                  </c:pt>
                  <c:pt idx="2">
                    <c:v>Rolling Stdev (30 Minute)</c:v>
                  </c:pt>
                  <c:pt idx="3">
                    <c:v>Rolling Stdev (30 Minute)</c:v>
                  </c:pt>
                  <c:pt idx="4">
                    <c:v>Rolling Stdev (30 Minute)</c:v>
                  </c:pt>
                  <c:pt idx="5">
                    <c:v>Rolling Stdev (30 Minute)</c:v>
                  </c:pt>
                  <c:pt idx="6">
                    <c:v>Rolling Stdev (30 Minute)</c:v>
                  </c:pt>
                  <c:pt idx="7">
                    <c:v>Rolling Stdev (30 Minute)</c:v>
                  </c:pt>
                  <c:pt idx="8">
                    <c:v>Rolling Stdev (30 Minute)</c:v>
                  </c:pt>
                  <c:pt idx="9">
                    <c:v>Rolling Stdev (30 Minute)</c:v>
                  </c:pt>
                  <c:pt idx="10">
                    <c:v>Rolling Stdev (30 Minute)</c:v>
                  </c:pt>
                  <c:pt idx="11">
                    <c:v>Rolling Stdev (30 Minute)</c:v>
                  </c:pt>
                  <c:pt idx="12">
                    <c:v>Rolling Stdev (30 Minute)</c:v>
                  </c:pt>
                  <c:pt idx="13">
                    <c:v>Rolling Stdev (30 Minute)</c:v>
                  </c:pt>
                  <c:pt idx="14">
                    <c:v>Rolling Stdev (30 Minute)</c:v>
                  </c:pt>
                  <c:pt idx="15">
                    <c:v>Rolling Stdev (30 Minute)</c:v>
                  </c:pt>
                  <c:pt idx="16">
                    <c:v>Rolling Stdev (30 Minute)</c:v>
                  </c:pt>
                  <c:pt idx="17">
                    <c:v>Rolling Stdev (30 Minute)</c:v>
                  </c:pt>
                  <c:pt idx="18">
                    <c:v>Rolling Stdev (30 Minute)</c:v>
                  </c:pt>
                  <c:pt idx="19">
                    <c:v>Rolling Stdev (30 Minute)</c:v>
                  </c:pt>
                  <c:pt idx="20">
                    <c:v>Rolling Stdev (30 Minute)</c:v>
                  </c:pt>
                  <c:pt idx="21">
                    <c:v>Rolling Stdev (30 Minute)</c:v>
                  </c:pt>
                  <c:pt idx="22">
                    <c:v>Rolling Stdev (30 Minute)</c:v>
                  </c:pt>
                  <c:pt idx="23">
                    <c:v>Rolling Stdev (30 Minute)</c:v>
                  </c:pt>
                  <c:pt idx="24">
                    <c:v>Rolling Stdev (30 Minute)</c:v>
                  </c:pt>
                  <c:pt idx="25">
                    <c:v>Rolling Stdev (30 Minute)</c:v>
                  </c:pt>
                  <c:pt idx="26">
                    <c:v>Rolling Stdev (30 Minute)</c:v>
                  </c:pt>
                  <c:pt idx="27">
                    <c:v>Rolling Stdev (30 Minute)</c:v>
                  </c:pt>
                  <c:pt idx="28">
                    <c:v>Rolling Stdev (30 Minute)</c:v>
                  </c:pt>
                  <c:pt idx="29">
                    <c:v>Rolling Stdev (30 Minute)</c:v>
                  </c:pt>
                  <c:pt idx="30">
                    <c:v>Rolling Stdev (30 Minute)</c:v>
                  </c:pt>
                  <c:pt idx="31">
                    <c:v>Rolling Stdev (30 Minute)</c:v>
                  </c:pt>
                  <c:pt idx="32">
                    <c:v>Rolling Stdev (30 Minute)</c:v>
                  </c:pt>
                  <c:pt idx="33">
                    <c:v>Rolling Stdev (30 Minute)</c:v>
                  </c:pt>
                  <c:pt idx="34">
                    <c:v>Rolling Stdev (30 Minute)</c:v>
                  </c:pt>
                  <c:pt idx="35">
                    <c:v>Rolling Stdev (30 Minute)</c:v>
                  </c:pt>
                  <c:pt idx="36">
                    <c:v>Rolling Stdev (30 Minute)</c:v>
                  </c:pt>
                  <c:pt idx="37">
                    <c:v>Rolling Stdev (30 Minute)</c:v>
                  </c:pt>
                  <c:pt idx="38">
                    <c:v>Rolling Stdev (30 Minute)</c:v>
                  </c:pt>
                  <c:pt idx="39">
                    <c:v>Rolling Stdev (30 Minute)</c:v>
                  </c:pt>
                  <c:pt idx="40">
                    <c:v>Rolling Stdev (30 Minute)</c:v>
                  </c:pt>
                  <c:pt idx="41">
                    <c:v>Rolling Stdev (30 Minute)</c:v>
                  </c:pt>
                  <c:pt idx="42">
                    <c:v>Rolling Stdev (30 Minute)</c:v>
                  </c:pt>
                  <c:pt idx="43">
                    <c:v>Rolling Stdev (30 Minute)</c:v>
                  </c:pt>
                  <c:pt idx="44">
                    <c:v>Rolling Stdev (30 Minute)</c:v>
                  </c:pt>
                  <c:pt idx="45">
                    <c:v>Rolling Stdev (30 Minute)</c:v>
                  </c:pt>
                  <c:pt idx="46">
                    <c:v>Rolling Stdev (30 Minute)</c:v>
                  </c:pt>
                  <c:pt idx="47">
                    <c:v>Rolling Stdev (30 Minute)</c:v>
                  </c:pt>
                  <c:pt idx="48">
                    <c:v>Rolling Stdev (30 Minute)</c:v>
                  </c:pt>
                  <c:pt idx="49">
                    <c:v>Rolling Stdev (30 Minute)</c:v>
                  </c:pt>
                  <c:pt idx="50">
                    <c:v>Rolling Stdev (30 Minute)</c:v>
                  </c:pt>
                  <c:pt idx="51">
                    <c:v>Rolling Stdev (30 Minute)</c:v>
                  </c:pt>
                  <c:pt idx="52">
                    <c:v>Rolling Stdev (30 Minute)</c:v>
                  </c:pt>
                  <c:pt idx="53">
                    <c:v>Rolling Stdev (30 Minute)</c:v>
                  </c:pt>
                  <c:pt idx="54">
                    <c:v>Rolling Stdev (30 Minute)</c:v>
                  </c:pt>
                  <c:pt idx="55">
                    <c:v>Rolling Stdev (30 Minute)</c:v>
                  </c:pt>
                  <c:pt idx="56">
                    <c:v>Rolling Stdev (30 Minute)</c:v>
                  </c:pt>
                  <c:pt idx="57">
                    <c:v>Rolling Stdev (30 Minute)</c:v>
                  </c:pt>
                  <c:pt idx="58">
                    <c:v>Rolling Stdev (30 Minute)</c:v>
                  </c:pt>
                  <c:pt idx="59">
                    <c:v>Rolling Stdev (30 Minute)</c:v>
                  </c:pt>
                  <c:pt idx="60">
                    <c:v>Rolling Stdev (30 Minute)</c:v>
                  </c:pt>
                  <c:pt idx="61">
                    <c:v>Rolling Stdev (30 Minute)</c:v>
                  </c:pt>
                  <c:pt idx="62">
                    <c:v>Rolling Stdev (30 Minute)</c:v>
                  </c:pt>
                  <c:pt idx="63">
                    <c:v>Rolling Stdev (30 Minute)</c:v>
                  </c:pt>
                  <c:pt idx="64">
                    <c:v>Rolling Stdev (30 Minute)</c:v>
                  </c:pt>
                  <c:pt idx="65">
                    <c:v>Rolling Stdev (30 Minute)</c:v>
                  </c:pt>
                  <c:pt idx="66">
                    <c:v>Rolling Stdev (30 Minute)</c:v>
                  </c:pt>
                  <c:pt idx="67">
                    <c:v>Rolling Stdev (30 Minute)</c:v>
                  </c:pt>
                  <c:pt idx="68">
                    <c:v>Rolling Stdev (30 Minute)</c:v>
                  </c:pt>
                  <c:pt idx="69">
                    <c:v>Rolling Stdev (30 Minute)</c:v>
                  </c:pt>
                  <c:pt idx="70">
                    <c:v>Rolling Stdev (30 Minute)</c:v>
                  </c:pt>
                  <c:pt idx="71">
                    <c:v>Rolling Stdev (30 Minute)</c:v>
                  </c:pt>
                  <c:pt idx="72">
                    <c:v>Rolling Stdev (30 Minute)</c:v>
                  </c:pt>
                  <c:pt idx="73">
                    <c:v>Rolling Stdev (30 Minute)</c:v>
                  </c:pt>
                  <c:pt idx="74">
                    <c:v>Rolling Stdev (30 Minute)</c:v>
                  </c:pt>
                  <c:pt idx="75">
                    <c:v>Rolling Stdev (30 Minute)</c:v>
                  </c:pt>
                  <c:pt idx="76">
                    <c:v>Rolling Stdev (30 Minute)</c:v>
                  </c:pt>
                  <c:pt idx="77">
                    <c:v>Rolling Stdev (30 Minute)</c:v>
                  </c:pt>
                  <c:pt idx="78">
                    <c:v>Rolling Stdev (30 Minute)</c:v>
                  </c:pt>
                  <c:pt idx="79">
                    <c:v>Rolling Stdev (30 Minute)</c:v>
                  </c:pt>
                  <c:pt idx="80">
                    <c:v>Rolling Stdev (30 Minute)</c:v>
                  </c:pt>
                  <c:pt idx="81">
                    <c:v>Rolling Stdev (30 Minute)</c:v>
                  </c:pt>
                  <c:pt idx="82">
                    <c:v>Rolling Stdev (30 Minute)</c:v>
                  </c:pt>
                  <c:pt idx="83">
                    <c:v>Rolling Stdev (30 Minute)</c:v>
                  </c:pt>
                  <c:pt idx="84">
                    <c:v>Rolling Stdev (30 Minute)</c:v>
                  </c:pt>
                  <c:pt idx="85">
                    <c:v>Rolling Stdev (30 Minute)</c:v>
                  </c:pt>
                  <c:pt idx="86">
                    <c:v>Rolling Stdev (30 Minute)</c:v>
                  </c:pt>
                  <c:pt idx="87">
                    <c:v>Rolling Stdev (30 Minute)</c:v>
                  </c:pt>
                  <c:pt idx="88">
                    <c:v>Rolling Stdev (30 Minute)</c:v>
                  </c:pt>
                  <c:pt idx="89">
                    <c:v>Rolling Stdev (30 Minute)</c:v>
                  </c:pt>
                  <c:pt idx="90">
                    <c:v>Rolling Stdev (30 Minute)</c:v>
                  </c:pt>
                  <c:pt idx="91">
                    <c:v>Rolling Stdev (30 Minute)</c:v>
                  </c:pt>
                  <c:pt idx="92">
                    <c:v>Rolling Stdev (30 Minute)</c:v>
                  </c:pt>
                  <c:pt idx="93">
                    <c:v>Rolling Stdev (30 Minute)</c:v>
                  </c:pt>
                  <c:pt idx="94">
                    <c:v>Rolling Stdev (30 Minute)</c:v>
                  </c:pt>
                  <c:pt idx="95">
                    <c:v>Rolling Stdev (30 Minute)</c:v>
                  </c:pt>
                  <c:pt idx="96">
                    <c:v>Rolling Stdev (30 Minute)</c:v>
                  </c:pt>
                  <c:pt idx="97">
                    <c:v>Rolling Stdev (30 Minute)</c:v>
                  </c:pt>
                  <c:pt idx="98">
                    <c:v>Rolling Stdev (30 Minute)</c:v>
                  </c:pt>
                  <c:pt idx="99">
                    <c:v>Rolling Stdev (30 Minute)</c:v>
                  </c:pt>
                  <c:pt idx="100">
                    <c:v>Rolling Stdev (30 Minute)</c:v>
                  </c:pt>
                  <c:pt idx="101">
                    <c:v>Rolling Stdev (30 Minute)</c:v>
                  </c:pt>
                  <c:pt idx="102">
                    <c:v>Rolling Stdev (30 Minute)</c:v>
                  </c:pt>
                  <c:pt idx="103">
                    <c:v>Rolling Stdev (30 Minute)</c:v>
                  </c:pt>
                  <c:pt idx="104">
                    <c:v>Rolling Stdev (30 Minute)</c:v>
                  </c:pt>
                  <c:pt idx="105">
                    <c:v>Rolling Stdev (30 Minute)</c:v>
                  </c:pt>
                  <c:pt idx="106">
                    <c:v>Rolling Stdev (30 Minute)</c:v>
                  </c:pt>
                  <c:pt idx="107">
                    <c:v>Rolling Stdev (30 Minute)</c:v>
                  </c:pt>
                  <c:pt idx="108">
                    <c:v>Rolling Stdev (30 Minute)</c:v>
                  </c:pt>
                  <c:pt idx="109">
                    <c:v>Rolling Stdev (30 Minute)</c:v>
                  </c:pt>
                  <c:pt idx="110">
                    <c:v>Rolling Stdev (30 Minute)</c:v>
                  </c:pt>
                  <c:pt idx="111">
                    <c:v>Rolling Stdev (30 Minute)</c:v>
                  </c:pt>
                  <c:pt idx="112">
                    <c:v>Rolling Stdev (30 Minute)</c:v>
                  </c:pt>
                  <c:pt idx="113">
                    <c:v>Rolling Stdev (30 Minute)</c:v>
                  </c:pt>
                  <c:pt idx="114">
                    <c:v>Rolling Stdev (30 Minute)</c:v>
                  </c:pt>
                  <c:pt idx="115">
                    <c:v>Rolling Stdev (30 Minute)</c:v>
                  </c:pt>
                  <c:pt idx="116">
                    <c:v>Rolling Stdev (30 Minute)</c:v>
                  </c:pt>
                  <c:pt idx="117">
                    <c:v>Rolling Stdev (30 Minute)</c:v>
                  </c:pt>
                  <c:pt idx="118">
                    <c:v>Rolling Stdev (30 Minute)</c:v>
                  </c:pt>
                  <c:pt idx="119">
                    <c:v>Rolling Stdev (30 Minute)</c:v>
                  </c:pt>
                  <c:pt idx="120">
                    <c:v>Rolling Stdev (30 Minute)</c:v>
                  </c:pt>
                  <c:pt idx="121">
                    <c:v>Rolling Stdev (30 Minute)</c:v>
                  </c:pt>
                  <c:pt idx="122">
                    <c:v>Rolling Stdev (30 Minute)</c:v>
                  </c:pt>
                  <c:pt idx="123">
                    <c:v>Rolling Stdev (30 Minute)</c:v>
                  </c:pt>
                  <c:pt idx="124">
                    <c:v>Rolling Stdev (30 Minute)</c:v>
                  </c:pt>
                  <c:pt idx="125">
                    <c:v>Rolling Stdev (30 Minute)</c:v>
                  </c:pt>
                  <c:pt idx="126">
                    <c:v>Rolling Stdev (30 Minute)</c:v>
                  </c:pt>
                  <c:pt idx="127">
                    <c:v>Rolling Stdev (30 Minute)</c:v>
                  </c:pt>
                  <c:pt idx="128">
                    <c:v>Rolling Stdev (30 Minute)</c:v>
                  </c:pt>
                  <c:pt idx="129">
                    <c:v>Rolling Stdev (30 Minute)</c:v>
                  </c:pt>
                  <c:pt idx="130">
                    <c:v>Rolling Stdev (30 Minute)</c:v>
                  </c:pt>
                  <c:pt idx="131">
                    <c:v>Rolling Stdev (30 Minute)</c:v>
                  </c:pt>
                  <c:pt idx="132">
                    <c:v>Rolling Stdev (30 Minute)</c:v>
                  </c:pt>
                  <c:pt idx="133">
                    <c:v>Rolling Stdev (30 Minute)</c:v>
                  </c:pt>
                  <c:pt idx="134">
                    <c:v>Rolling Stdev (30 Minute)</c:v>
                  </c:pt>
                  <c:pt idx="135">
                    <c:v>Rolling Stdev (30 Minute)</c:v>
                  </c:pt>
                  <c:pt idx="136">
                    <c:v>Rolling Stdev (30 Minute)</c:v>
                  </c:pt>
                  <c:pt idx="137">
                    <c:v>Rolling Stdev (30 Minute)</c:v>
                  </c:pt>
                  <c:pt idx="138">
                    <c:v>Rolling Stdev (30 Minute)</c:v>
                  </c:pt>
                  <c:pt idx="139">
                    <c:v>Rolling Stdev (30 Minute)</c:v>
                  </c:pt>
                  <c:pt idx="140">
                    <c:v>Rolling Stdev (30 Minute)</c:v>
                  </c:pt>
                  <c:pt idx="141">
                    <c:v>Rolling Stdev (30 Minute)</c:v>
                  </c:pt>
                  <c:pt idx="142">
                    <c:v>Rolling Stdev (30 Minute)</c:v>
                  </c:pt>
                  <c:pt idx="143">
                    <c:v>Rolling Stdev (30 Minute)</c:v>
                  </c:pt>
                  <c:pt idx="144">
                    <c:v>Rolling Stdev (30 Minute)</c:v>
                  </c:pt>
                  <c:pt idx="145">
                    <c:v>Rolling Stdev (30 Minute)</c:v>
                  </c:pt>
                  <c:pt idx="146">
                    <c:v>Rolling Stdev (30 Minute)</c:v>
                  </c:pt>
                  <c:pt idx="147">
                    <c:v>Rolling Stdev (30 Minute)</c:v>
                  </c:pt>
                  <c:pt idx="148">
                    <c:v>Rolling Stdev (30 Minute)</c:v>
                  </c:pt>
                  <c:pt idx="149">
                    <c:v>Rolling Stdev (30 Minute)</c:v>
                  </c:pt>
                  <c:pt idx="150">
                    <c:v>Rolling Stdev (30 Minute)</c:v>
                  </c:pt>
                  <c:pt idx="151">
                    <c:v>Rolling Stdev (30 Minute)</c:v>
                  </c:pt>
                  <c:pt idx="152">
                    <c:v>Rolling Stdev (30 Minute)</c:v>
                  </c:pt>
                  <c:pt idx="153">
                    <c:v>Rolling Stdev (30 Minute)</c:v>
                  </c:pt>
                  <c:pt idx="154">
                    <c:v>Rolling Stdev (30 Minute)</c:v>
                  </c:pt>
                  <c:pt idx="155">
                    <c:v>Rolling Stdev (30 Minute)</c:v>
                  </c:pt>
                  <c:pt idx="156">
                    <c:v>Rolling Stdev (30 Minute)</c:v>
                  </c:pt>
                  <c:pt idx="157">
                    <c:v>Rolling Stdev (30 Minute)</c:v>
                  </c:pt>
                  <c:pt idx="158">
                    <c:v>Rolling Stdev (30 Minute)</c:v>
                  </c:pt>
                  <c:pt idx="159">
                    <c:v>Rolling Stdev (30 Minute)</c:v>
                  </c:pt>
                  <c:pt idx="160">
                    <c:v>Rolling Stdev (30 Minute)</c:v>
                  </c:pt>
                  <c:pt idx="161">
                    <c:v>Rolling Stdev (30 Minute)</c:v>
                  </c:pt>
                  <c:pt idx="162">
                    <c:v>Rolling Stdev (30 Minute)</c:v>
                  </c:pt>
                  <c:pt idx="163">
                    <c:v>Rolling Stdev (30 Minute)</c:v>
                  </c:pt>
                  <c:pt idx="164">
                    <c:v>Rolling Stdev (30 Minute)</c:v>
                  </c:pt>
                  <c:pt idx="165">
                    <c:v>Rolling Stdev (30 Minute)</c:v>
                  </c:pt>
                  <c:pt idx="166">
                    <c:v>Rolling Stdev (30 Minute)</c:v>
                  </c:pt>
                  <c:pt idx="167">
                    <c:v>Rolling Stdev (30 Minute)</c:v>
                  </c:pt>
                  <c:pt idx="168">
                    <c:v>Rolling Stdev (30 Minute)</c:v>
                  </c:pt>
                  <c:pt idx="169">
                    <c:v>Rolling Stdev (30 Minute)</c:v>
                  </c:pt>
                  <c:pt idx="170">
                    <c:v>Rolling Stdev (30 Minute)</c:v>
                  </c:pt>
                  <c:pt idx="171">
                    <c:v>Rolling Stdev (30 Minute)</c:v>
                  </c:pt>
                  <c:pt idx="172">
                    <c:v>Rolling Stdev (30 Minute)</c:v>
                  </c:pt>
                  <c:pt idx="173">
                    <c:v>Rolling Stdev (30 Minute)</c:v>
                  </c:pt>
                  <c:pt idx="174">
                    <c:v>Rolling Stdev (30 Minute)</c:v>
                  </c:pt>
                  <c:pt idx="175">
                    <c:v>Rolling Stdev (30 Minute)</c:v>
                  </c:pt>
                  <c:pt idx="176">
                    <c:v>Rolling Stdev (30 Minute)</c:v>
                  </c:pt>
                  <c:pt idx="177">
                    <c:v>Rolling Stdev (30 Minute)</c:v>
                  </c:pt>
                  <c:pt idx="178">
                    <c:v>Rolling Stdev (30 Minute)</c:v>
                  </c:pt>
                  <c:pt idx="179">
                    <c:v>Rolling Stdev (30 Minute)</c:v>
                  </c:pt>
                  <c:pt idx="180">
                    <c:v>Rolling Stdev (30 Minute)</c:v>
                  </c:pt>
                  <c:pt idx="181">
                    <c:v>Rolling Stdev (30 Minute)</c:v>
                  </c:pt>
                  <c:pt idx="182">
                    <c:v>Rolling Stdev (30 Minute)</c:v>
                  </c:pt>
                  <c:pt idx="183">
                    <c:v>Rolling Stdev (30 Minute)</c:v>
                  </c:pt>
                  <c:pt idx="184">
                    <c:v>Rolling Stdev (30 Minute)</c:v>
                  </c:pt>
                  <c:pt idx="185">
                    <c:v>Rolling Stdev (30 Minute)</c:v>
                  </c:pt>
                  <c:pt idx="186">
                    <c:v>Rolling Stdev (30 Minute)</c:v>
                  </c:pt>
                  <c:pt idx="187">
                    <c:v>Rolling Stdev (30 Minute)</c:v>
                  </c:pt>
                  <c:pt idx="188">
                    <c:v>Rolling Stdev (30 Minute)</c:v>
                  </c:pt>
                  <c:pt idx="189">
                    <c:v>Rolling Stdev (30 Minute)</c:v>
                  </c:pt>
                  <c:pt idx="190">
                    <c:v>Rolling Stdev (30 Minute)</c:v>
                  </c:pt>
                  <c:pt idx="191">
                    <c:v>Rolling Stdev (30 Minute)</c:v>
                  </c:pt>
                  <c:pt idx="192">
                    <c:v>Rolling Stdev (30 Minute)</c:v>
                  </c:pt>
                  <c:pt idx="193">
                    <c:v>Rolling Stdev (30 Minute)</c:v>
                  </c:pt>
                  <c:pt idx="194">
                    <c:v>Rolling Stdev (30 Minute)</c:v>
                  </c:pt>
                  <c:pt idx="195">
                    <c:v>Rolling Stdev (30 Minute)</c:v>
                  </c:pt>
                  <c:pt idx="196">
                    <c:v>Rolling Stdev (30 Minute)</c:v>
                  </c:pt>
                  <c:pt idx="197">
                    <c:v>Rolling Stdev (30 Minute)</c:v>
                  </c:pt>
                  <c:pt idx="198">
                    <c:v>Rolling Stdev (30 Minute)</c:v>
                  </c:pt>
                  <c:pt idx="199">
                    <c:v>Rolling Stdev (30 Minute)</c:v>
                  </c:pt>
                  <c:pt idx="200">
                    <c:v>Rolling Stdev (30 Minute)</c:v>
                  </c:pt>
                  <c:pt idx="201">
                    <c:v>Rolling Stdev (30 Minute)</c:v>
                  </c:pt>
                  <c:pt idx="202">
                    <c:v>Rolling Stdev (30 Minute)</c:v>
                  </c:pt>
                  <c:pt idx="203">
                    <c:v>Rolling Stdev (30 Minute)</c:v>
                  </c:pt>
                  <c:pt idx="204">
                    <c:v>Rolling Stdev (30 Minute)</c:v>
                  </c:pt>
                  <c:pt idx="205">
                    <c:v>Rolling Stdev (30 Minute)</c:v>
                  </c:pt>
                  <c:pt idx="206">
                    <c:v>Rolling Stdev (30 Minute)</c:v>
                  </c:pt>
                  <c:pt idx="207">
                    <c:v>Rolling Stdev (30 Minute)</c:v>
                  </c:pt>
                  <c:pt idx="208">
                    <c:v>Rolling Stdev (30 Minute)</c:v>
                  </c:pt>
                  <c:pt idx="209">
                    <c:v>Rolling Stdev (30 Minute)</c:v>
                  </c:pt>
                  <c:pt idx="210">
                    <c:v>Rolling Stdev (30 Minute)</c:v>
                  </c:pt>
                  <c:pt idx="211">
                    <c:v>Rolling Stdev (30 Minute)</c:v>
                  </c:pt>
                  <c:pt idx="212">
                    <c:v>Rolling Stdev (30 Minute)</c:v>
                  </c:pt>
                  <c:pt idx="213">
                    <c:v>Rolling Stdev (30 Minute)</c:v>
                  </c:pt>
                  <c:pt idx="214">
                    <c:v>Rolling Stdev (30 Minute)</c:v>
                  </c:pt>
                  <c:pt idx="215">
                    <c:v>Rolling Stdev (30 Minute)</c:v>
                  </c:pt>
                  <c:pt idx="216">
                    <c:v>Rolling Stdev (30 Minute)</c:v>
                  </c:pt>
                  <c:pt idx="217">
                    <c:v>Rolling Stdev (30 Minute)</c:v>
                  </c:pt>
                  <c:pt idx="218">
                    <c:v>Rolling Stdev (30 Minute)</c:v>
                  </c:pt>
                  <c:pt idx="219">
                    <c:v>Rolling Stdev (30 Minute)</c:v>
                  </c:pt>
                  <c:pt idx="220">
                    <c:v>Rolling Stdev (30 Minute)</c:v>
                  </c:pt>
                  <c:pt idx="221">
                    <c:v>Rolling Stdev (30 Minute)</c:v>
                  </c:pt>
                  <c:pt idx="222">
                    <c:v>Rolling Stdev (30 Minute)</c:v>
                  </c:pt>
                  <c:pt idx="223">
                    <c:v>Rolling Stdev (30 Minute)</c:v>
                  </c:pt>
                  <c:pt idx="224">
                    <c:v>Rolling Stdev (30 Minute)</c:v>
                  </c:pt>
                  <c:pt idx="225">
                    <c:v>Rolling Stdev (30 Minute)</c:v>
                  </c:pt>
                  <c:pt idx="226">
                    <c:v>Rolling Stdev (30 Minute)</c:v>
                  </c:pt>
                  <c:pt idx="227">
                    <c:v>Rolling Stdev (30 Minute)</c:v>
                  </c:pt>
                  <c:pt idx="228">
                    <c:v>Rolling Stdev (30 Minute)</c:v>
                  </c:pt>
                  <c:pt idx="229">
                    <c:v>Rolling Stdev (30 Minute)</c:v>
                  </c:pt>
                  <c:pt idx="230">
                    <c:v>Rolling Stdev (30 Minute)</c:v>
                  </c:pt>
                  <c:pt idx="231">
                    <c:v>Rolling Stdev (30 Minute)</c:v>
                  </c:pt>
                  <c:pt idx="232">
                    <c:v>Rolling Stdev (30 Minute)</c:v>
                  </c:pt>
                  <c:pt idx="233">
                    <c:v>Rolling Stdev (30 Minute)</c:v>
                  </c:pt>
                  <c:pt idx="234">
                    <c:v>Rolling Stdev (30 Minute)</c:v>
                  </c:pt>
                  <c:pt idx="235">
                    <c:v>Rolling Stdev (30 Minute)</c:v>
                  </c:pt>
                  <c:pt idx="236">
                    <c:v>Rolling Stdev (30 Minute)</c:v>
                  </c:pt>
                  <c:pt idx="237">
                    <c:v>Rolling Stdev (30 Minute)</c:v>
                  </c:pt>
                  <c:pt idx="238">
                    <c:v>Rolling Stdev (30 Minute)</c:v>
                  </c:pt>
                  <c:pt idx="239">
                    <c:v>Rolling Stdev (30 Minute)</c:v>
                  </c:pt>
                  <c:pt idx="240">
                    <c:v>Rolling Stdev (30 Minute)</c:v>
                  </c:pt>
                  <c:pt idx="241">
                    <c:v>Rolling Stdev (30 Minute)</c:v>
                  </c:pt>
                  <c:pt idx="242">
                    <c:v>Rolling Stdev (30 Minute)</c:v>
                  </c:pt>
                  <c:pt idx="243">
                    <c:v>Rolling Stdev (30 Minute)</c:v>
                  </c:pt>
                  <c:pt idx="244">
                    <c:v>Rolling Stdev (30 Minute)</c:v>
                  </c:pt>
                  <c:pt idx="245">
                    <c:v>Rolling Stdev (30 Minute)</c:v>
                  </c:pt>
                  <c:pt idx="246">
                    <c:v>Rolling Stdev (30 Minute)</c:v>
                  </c:pt>
                  <c:pt idx="247">
                    <c:v>Rolling Stdev (30 Minute)</c:v>
                  </c:pt>
                  <c:pt idx="248">
                    <c:v>Rolling Stdev (30 Minute)</c:v>
                  </c:pt>
                  <c:pt idx="249">
                    <c:v>Rolling Stdev (30 Minute)</c:v>
                  </c:pt>
                  <c:pt idx="250">
                    <c:v>Rolling Stdev (30 Minute)</c:v>
                  </c:pt>
                  <c:pt idx="251">
                    <c:v>Rolling Stdev (30 Minute)</c:v>
                  </c:pt>
                  <c:pt idx="252">
                    <c:v>Rolling Stdev (30 Minute)</c:v>
                  </c:pt>
                  <c:pt idx="253">
                    <c:v>Rolling Stdev (30 Minute)</c:v>
                  </c:pt>
                  <c:pt idx="254">
                    <c:v>Rolling Stdev (30 Minute)</c:v>
                  </c:pt>
                  <c:pt idx="255">
                    <c:v>Rolling Stdev (30 Minute)</c:v>
                  </c:pt>
                  <c:pt idx="256">
                    <c:v>Rolling Stdev (30 Minute)</c:v>
                  </c:pt>
                  <c:pt idx="257">
                    <c:v>Rolling Stdev (30 Minute)</c:v>
                  </c:pt>
                  <c:pt idx="258">
                    <c:v>Rolling Stdev (30 Minute)</c:v>
                  </c:pt>
                  <c:pt idx="259">
                    <c:v>Rolling Stdev (30 Minute)</c:v>
                  </c:pt>
                  <c:pt idx="260">
                    <c:v>Rolling Stdev (30 Minute)</c:v>
                  </c:pt>
                  <c:pt idx="261">
                    <c:v>Rolling Stdev (30 Minute)</c:v>
                  </c:pt>
                  <c:pt idx="262">
                    <c:v>Rolling Stdev (30 Minute)</c:v>
                  </c:pt>
                  <c:pt idx="263">
                    <c:v>Rolling Stdev (30 Minute)</c:v>
                  </c:pt>
                  <c:pt idx="264">
                    <c:v>Rolling Stdev (30 Minute)</c:v>
                  </c:pt>
                  <c:pt idx="265">
                    <c:v>Rolling Stdev (30 Minute)</c:v>
                  </c:pt>
                  <c:pt idx="266">
                    <c:v>Rolling Stdev (30 Minute)</c:v>
                  </c:pt>
                  <c:pt idx="267">
                    <c:v>Rolling Stdev (30 Minute)</c:v>
                  </c:pt>
                  <c:pt idx="268">
                    <c:v>Rolling Stdev (30 Minute)</c:v>
                  </c:pt>
                  <c:pt idx="269">
                    <c:v>Rolling Stdev (30 Minute)</c:v>
                  </c:pt>
                  <c:pt idx="270">
                    <c:v>Rolling Stdev (30 Minute)</c:v>
                  </c:pt>
                  <c:pt idx="271">
                    <c:v>Rolling Stdev (30 Minute)</c:v>
                  </c:pt>
                  <c:pt idx="272">
                    <c:v>Rolling Stdev (30 Minute)</c:v>
                  </c:pt>
                  <c:pt idx="273">
                    <c:v>Rolling Stdev (30 Minute)</c:v>
                  </c:pt>
                  <c:pt idx="274">
                    <c:v>Rolling Stdev (30 Minute)</c:v>
                  </c:pt>
                  <c:pt idx="275">
                    <c:v>Rolling Stdev (30 Minute)</c:v>
                  </c:pt>
                  <c:pt idx="276">
                    <c:v>Rolling Stdev (30 Minute)</c:v>
                  </c:pt>
                  <c:pt idx="277">
                    <c:v>Rolling Stdev (30 Minute)</c:v>
                  </c:pt>
                  <c:pt idx="278">
                    <c:v>Rolling Stdev (30 Minute)</c:v>
                  </c:pt>
                  <c:pt idx="279">
                    <c:v>Rolling Stdev (30 Minute)</c:v>
                  </c:pt>
                  <c:pt idx="280">
                    <c:v>Rolling Stdev (30 Minute)</c:v>
                  </c:pt>
                  <c:pt idx="281">
                    <c:v>Rolling Stdev (30 Minute)</c:v>
                  </c:pt>
                  <c:pt idx="282">
                    <c:v>Rolling Stdev (30 Minute)</c:v>
                  </c:pt>
                  <c:pt idx="283">
                    <c:v>Rolling Stdev (30 Minute)</c:v>
                  </c:pt>
                  <c:pt idx="284">
                    <c:v>Rolling Stdev (30 Minute)</c:v>
                  </c:pt>
                  <c:pt idx="285">
                    <c:v>Rolling Stdev (30 Minute)</c:v>
                  </c:pt>
                  <c:pt idx="286">
                    <c:v>Rolling Stdev (30 Minute)</c:v>
                  </c:pt>
                  <c:pt idx="287">
                    <c:v>Rolling Stdev (30 Minute)</c:v>
                  </c:pt>
                  <c:pt idx="288">
                    <c:v>Rolling Stdev (30 Minute)</c:v>
                  </c:pt>
                  <c:pt idx="289">
                    <c:v>Rolling Stdev (30 Minute)</c:v>
                  </c:pt>
                  <c:pt idx="290">
                    <c:v>Rolling Stdev (30 Minute)</c:v>
                  </c:pt>
                  <c:pt idx="291">
                    <c:v>Rolling Stdev (30 Minute)</c:v>
                  </c:pt>
                  <c:pt idx="292">
                    <c:v>Rolling Stdev (30 Minute)</c:v>
                  </c:pt>
                  <c:pt idx="293">
                    <c:v>Rolling Stdev (30 Minute)</c:v>
                  </c:pt>
                  <c:pt idx="294">
                    <c:v>Rolling Stdev (30 Minute)</c:v>
                  </c:pt>
                  <c:pt idx="295">
                    <c:v>Rolling Stdev (30 Minute)</c:v>
                  </c:pt>
                  <c:pt idx="296">
                    <c:v>Rolling Stdev (30 Minute)</c:v>
                  </c:pt>
                  <c:pt idx="297">
                    <c:v>Rolling Stdev (30 Minute)</c:v>
                  </c:pt>
                  <c:pt idx="298">
                    <c:v>Rolling Stdev (30 Minute)</c:v>
                  </c:pt>
                  <c:pt idx="299">
                    <c:v>Rolling Stdev (30 Minute)</c:v>
                  </c:pt>
                  <c:pt idx="300">
                    <c:v>Rolling Stdev (30 Minute)</c:v>
                  </c:pt>
                  <c:pt idx="301">
                    <c:v>Rolling Stdev (30 Minute)</c:v>
                  </c:pt>
                  <c:pt idx="302">
                    <c:v>Rolling Stdev (30 Minute)</c:v>
                  </c:pt>
                  <c:pt idx="303">
                    <c:v>Rolling Stdev (30 Minute)</c:v>
                  </c:pt>
                  <c:pt idx="304">
                    <c:v>Rolling Stdev (30 Minute)</c:v>
                  </c:pt>
                  <c:pt idx="305">
                    <c:v>Rolling Stdev (30 Minute)</c:v>
                  </c:pt>
                  <c:pt idx="306">
                    <c:v>Rolling Stdev (30 Minute)</c:v>
                  </c:pt>
                  <c:pt idx="307">
                    <c:v>Rolling Stdev (30 Minute)</c:v>
                  </c:pt>
                  <c:pt idx="308">
                    <c:v>Rolling Stdev (30 Minute)</c:v>
                  </c:pt>
                  <c:pt idx="309">
                    <c:v>Rolling Stdev (30 Minute)</c:v>
                  </c:pt>
                  <c:pt idx="310">
                    <c:v>Rolling Stdev (30 Minute)</c:v>
                  </c:pt>
                  <c:pt idx="311">
                    <c:v>Rolling Stdev (30 Minute)</c:v>
                  </c:pt>
                  <c:pt idx="312">
                    <c:v>Rolling Stdev (30 Minute)</c:v>
                  </c:pt>
                  <c:pt idx="313">
                    <c:v>Rolling Stdev (30 Minute)</c:v>
                  </c:pt>
                  <c:pt idx="314">
                    <c:v>Rolling Stdev (30 Minute)</c:v>
                  </c:pt>
                  <c:pt idx="315">
                    <c:v>Rolling Stdev (30 Minute)</c:v>
                  </c:pt>
                  <c:pt idx="316">
                    <c:v>Rolling Stdev (30 Minute)</c:v>
                  </c:pt>
                  <c:pt idx="317">
                    <c:v>Rolling Stdev (30 Minute)</c:v>
                  </c:pt>
                  <c:pt idx="318">
                    <c:v>Rolling Stdev (30 Minute)</c:v>
                  </c:pt>
                  <c:pt idx="319">
                    <c:v>Rolling Stdev (30 Minute)</c:v>
                  </c:pt>
                  <c:pt idx="320">
                    <c:v>Rolling Stdev (30 Minute)</c:v>
                  </c:pt>
                  <c:pt idx="321">
                    <c:v>Rolling Stdev (30 Minute)</c:v>
                  </c:pt>
                  <c:pt idx="322">
                    <c:v>Rolling Stdev (30 Minute)</c:v>
                  </c:pt>
                  <c:pt idx="323">
                    <c:v>Rolling Stdev (30 Minute)</c:v>
                  </c:pt>
                  <c:pt idx="324">
                    <c:v>Rolling Stdev (30 Minute)</c:v>
                  </c:pt>
                  <c:pt idx="325">
                    <c:v>Rolling Stdev (30 Minute)</c:v>
                  </c:pt>
                  <c:pt idx="326">
                    <c:v>Rolling Stdev (30 Minute)</c:v>
                  </c:pt>
                  <c:pt idx="327">
                    <c:v>Rolling Stdev (30 Minute)</c:v>
                  </c:pt>
                  <c:pt idx="328">
                    <c:v>Rolling Stdev (30 Minute)</c:v>
                  </c:pt>
                  <c:pt idx="329">
                    <c:v>Rolling Stdev (30 Minute)</c:v>
                  </c:pt>
                  <c:pt idx="330">
                    <c:v>Rolling Stdev (30 Minute)</c:v>
                  </c:pt>
                  <c:pt idx="331">
                    <c:v>Rolling Stdev (30 Minute)</c:v>
                  </c:pt>
                  <c:pt idx="332">
                    <c:v>Rolling Stdev (30 Minute)</c:v>
                  </c:pt>
                  <c:pt idx="333">
                    <c:v>Rolling Stdev (30 Minute)</c:v>
                  </c:pt>
                  <c:pt idx="334">
                    <c:v>Rolling Stdev (30 Minute)</c:v>
                  </c:pt>
                  <c:pt idx="335">
                    <c:v>Rolling Stdev (30 Minute)</c:v>
                  </c:pt>
                  <c:pt idx="336">
                    <c:v>Rolling Stdev (30 Minute)</c:v>
                  </c:pt>
                  <c:pt idx="337">
                    <c:v>Rolling Stdev (30 Minute)</c:v>
                  </c:pt>
                  <c:pt idx="338">
                    <c:v>Rolling Stdev (30 Minute)</c:v>
                  </c:pt>
                  <c:pt idx="339">
                    <c:v>Rolling Stdev (30 Minute)</c:v>
                  </c:pt>
                  <c:pt idx="340">
                    <c:v>Rolling Stdev (30 Minute)</c:v>
                  </c:pt>
                  <c:pt idx="341">
                    <c:v>Rolling Stdev (30 Minute)</c:v>
                  </c:pt>
                  <c:pt idx="342">
                    <c:v>Rolling Stdev (30 Minute)</c:v>
                  </c:pt>
                  <c:pt idx="343">
                    <c:v>Rolling Stdev (30 Minute)</c:v>
                  </c:pt>
                  <c:pt idx="344">
                    <c:v>Rolling Stdev (30 Minute)</c:v>
                  </c:pt>
                  <c:pt idx="345">
                    <c:v>Rolling Stdev (30 Minute)</c:v>
                  </c:pt>
                  <c:pt idx="346">
                    <c:v>Rolling Stdev (30 Minute)</c:v>
                  </c:pt>
                  <c:pt idx="347">
                    <c:v>Rolling Stdev (30 Minute)</c:v>
                  </c:pt>
                  <c:pt idx="348">
                    <c:v>Rolling Stdev (30 Minute)</c:v>
                  </c:pt>
                  <c:pt idx="349">
                    <c:v>Rolling Stdev (30 Minute)</c:v>
                  </c:pt>
                  <c:pt idx="350">
                    <c:v>Rolling Stdev (30 Minute)</c:v>
                  </c:pt>
                  <c:pt idx="351">
                    <c:v>Rolling Stdev (30 Minute)</c:v>
                  </c:pt>
                  <c:pt idx="352">
                    <c:v>Rolling Stdev (30 Minute)</c:v>
                  </c:pt>
                  <c:pt idx="353">
                    <c:v>Rolling Stdev (30 Minute)</c:v>
                  </c:pt>
                  <c:pt idx="354">
                    <c:v>Rolling Stdev (30 Minute)</c:v>
                  </c:pt>
                  <c:pt idx="355">
                    <c:v>Rolling Stdev (30 Minute)</c:v>
                  </c:pt>
                  <c:pt idx="356">
                    <c:v>Rolling Stdev (30 Minute)</c:v>
                  </c:pt>
                  <c:pt idx="357">
                    <c:v>Rolling Stdev (30 Minute)</c:v>
                  </c:pt>
                  <c:pt idx="358">
                    <c:v>Rolling Stdev (30 Minute)</c:v>
                  </c:pt>
                  <c:pt idx="359">
                    <c:v>Rolling Stdev (30 Minute)</c:v>
                  </c:pt>
                  <c:pt idx="360">
                    <c:v>Rolling Stdev (30 Minute)</c:v>
                  </c:pt>
                  <c:pt idx="361">
                    <c:v>Rolling Stdev (30 Minute)</c:v>
                  </c:pt>
                  <c:pt idx="362">
                    <c:v>Rolling Stdev (30 Minute)</c:v>
                  </c:pt>
                  <c:pt idx="363">
                    <c:v>Rolling Stdev (30 Minute)</c:v>
                  </c:pt>
                  <c:pt idx="364">
                    <c:v>Rolling Stdev (30 Minute)</c:v>
                  </c:pt>
                  <c:pt idx="365">
                    <c:v>Rolling Stdev (30 Minute)</c:v>
                  </c:pt>
                  <c:pt idx="366">
                    <c:v>Rolling Stdev (30 Minute)</c:v>
                  </c:pt>
                  <c:pt idx="367">
                    <c:v>Rolling Stdev (30 Minute)</c:v>
                  </c:pt>
                  <c:pt idx="368">
                    <c:v>Rolling Stdev (30 Minute)</c:v>
                  </c:pt>
                  <c:pt idx="369">
                    <c:v>Rolling Stdev (30 Minute)</c:v>
                  </c:pt>
                  <c:pt idx="370">
                    <c:v>Rolling Stdev (30 Minute)</c:v>
                  </c:pt>
                  <c:pt idx="371">
                    <c:v>Rolling Stdev (30 Minute)</c:v>
                  </c:pt>
                  <c:pt idx="372">
                    <c:v>Rolling Stdev (30 Minute)</c:v>
                  </c:pt>
                  <c:pt idx="373">
                    <c:v>Rolling Stdev (30 Minute)</c:v>
                  </c:pt>
                  <c:pt idx="374">
                    <c:v>Rolling Stdev (30 Minute)</c:v>
                  </c:pt>
                  <c:pt idx="375">
                    <c:v>Rolling Stdev (30 Minute)</c:v>
                  </c:pt>
                  <c:pt idx="376">
                    <c:v>Rolling Stdev (30 Minute)</c:v>
                  </c:pt>
                  <c:pt idx="377">
                    <c:v>Rolling Stdev (30 Minute)</c:v>
                  </c:pt>
                  <c:pt idx="378">
                    <c:v>Rolling Stdev (30 Minute)</c:v>
                  </c:pt>
                  <c:pt idx="379">
                    <c:v>Rolling Stdev (30 Minute)</c:v>
                  </c:pt>
                  <c:pt idx="380">
                    <c:v>Rolling Stdev (30 Minute)</c:v>
                  </c:pt>
                  <c:pt idx="381">
                    <c:v>Rolling Stdev (30 Minute)</c:v>
                  </c:pt>
                  <c:pt idx="382">
                    <c:v>Rolling Stdev (30 Minute)</c:v>
                  </c:pt>
                  <c:pt idx="383">
                    <c:v>Rolling Stdev (30 Minute)</c:v>
                  </c:pt>
                  <c:pt idx="384">
                    <c:v>Rolling Stdev (30 Minute)</c:v>
                  </c:pt>
                  <c:pt idx="385">
                    <c:v>Rolling Stdev (30 Minute)</c:v>
                  </c:pt>
                  <c:pt idx="386">
                    <c:v>Rolling Stdev (30 Minute)</c:v>
                  </c:pt>
                  <c:pt idx="387">
                    <c:v>Rolling Stdev (30 Minute)</c:v>
                  </c:pt>
                  <c:pt idx="388">
                    <c:v>Rolling Stdev (30 Minute)</c:v>
                  </c:pt>
                  <c:pt idx="389">
                    <c:v>Rolling Stdev (30 Minute)</c:v>
                  </c:pt>
                  <c:pt idx="390">
                    <c:v>Rolling Stdev (30 Minute)</c:v>
                  </c:pt>
                  <c:pt idx="391">
                    <c:v>Rolling Stdev (30 Minute)</c:v>
                  </c:pt>
                  <c:pt idx="392">
                    <c:v>Rolling Stdev (30 Minute)</c:v>
                  </c:pt>
                  <c:pt idx="393">
                    <c:v>Rolling Stdev (30 Minute)</c:v>
                  </c:pt>
                  <c:pt idx="394">
                    <c:v>Rolling Stdev (30 Minute)</c:v>
                  </c:pt>
                  <c:pt idx="395">
                    <c:v>Rolling Stdev (30 Minute)</c:v>
                  </c:pt>
                  <c:pt idx="396">
                    <c:v>Rolling Stdev (30 Minute)</c:v>
                  </c:pt>
                  <c:pt idx="397">
                    <c:v>Rolling Stdev (30 Minute)</c:v>
                  </c:pt>
                  <c:pt idx="398">
                    <c:v>Rolling Stdev (30 Minute)</c:v>
                  </c:pt>
                  <c:pt idx="399">
                    <c:v>Rolling Stdev (30 Minute)</c:v>
                  </c:pt>
                  <c:pt idx="400">
                    <c:v>Rolling Stdev (30 Minute)</c:v>
                  </c:pt>
                  <c:pt idx="401">
                    <c:v>Rolling Stdev (30 Minute)</c:v>
                  </c:pt>
                  <c:pt idx="402">
                    <c:v>Rolling Stdev (30 Minute)</c:v>
                  </c:pt>
                  <c:pt idx="403">
                    <c:v>Rolling Stdev (30 Minute)</c:v>
                  </c:pt>
                  <c:pt idx="404">
                    <c:v>Rolling Stdev (30 Minute)</c:v>
                  </c:pt>
                  <c:pt idx="405">
                    <c:v>Rolling Stdev (30 Minute)</c:v>
                  </c:pt>
                  <c:pt idx="406">
                    <c:v>Rolling Stdev (30 Minute)</c:v>
                  </c:pt>
                  <c:pt idx="407">
                    <c:v>Rolling Stdev (30 Minute)</c:v>
                  </c:pt>
                  <c:pt idx="408">
                    <c:v>Rolling Stdev (30 Minute)</c:v>
                  </c:pt>
                  <c:pt idx="409">
                    <c:v>Rolling Stdev (30 Minute)</c:v>
                  </c:pt>
                  <c:pt idx="410">
                    <c:v>Rolling Stdev (30 Minute)</c:v>
                  </c:pt>
                  <c:pt idx="411">
                    <c:v>Rolling Stdev (30 Minute)</c:v>
                  </c:pt>
                  <c:pt idx="412">
                    <c:v>Rolling Stdev (30 Minute)</c:v>
                  </c:pt>
                  <c:pt idx="413">
                    <c:v>Rolling Stdev (30 Minute)</c:v>
                  </c:pt>
                  <c:pt idx="414">
                    <c:v>Rolling Stdev (30 Minute)</c:v>
                  </c:pt>
                  <c:pt idx="415">
                    <c:v>Rolling Stdev (30 Minute)</c:v>
                  </c:pt>
                  <c:pt idx="416">
                    <c:v>Rolling Stdev (30 Minute)</c:v>
                  </c:pt>
                  <c:pt idx="417">
                    <c:v>Rolling Stdev (30 Minute)</c:v>
                  </c:pt>
                  <c:pt idx="418">
                    <c:v>Rolling Stdev (30 Minute)</c:v>
                  </c:pt>
                  <c:pt idx="419">
                    <c:v>Rolling Stdev (30 Minute)</c:v>
                  </c:pt>
                  <c:pt idx="420">
                    <c:v>Rolling Stdev (30 Minute)</c:v>
                  </c:pt>
                  <c:pt idx="421">
                    <c:v>Rolling Stdev (30 Minute)</c:v>
                  </c:pt>
                  <c:pt idx="422">
                    <c:v>Rolling Stdev (30 Minute)</c:v>
                  </c:pt>
                  <c:pt idx="423">
                    <c:v>Rolling Stdev (30 Minute)</c:v>
                  </c:pt>
                  <c:pt idx="424">
                    <c:v>Rolling Stdev (30 Minute)</c:v>
                  </c:pt>
                  <c:pt idx="425">
                    <c:v>Rolling Stdev (30 Minute)</c:v>
                  </c:pt>
                  <c:pt idx="426">
                    <c:v>Rolling Stdev (30 Minute)</c:v>
                  </c:pt>
                  <c:pt idx="427">
                    <c:v>Rolling Stdev (30 Minute)</c:v>
                  </c:pt>
                  <c:pt idx="428">
                    <c:v>Rolling Stdev (30 Minute)</c:v>
                  </c:pt>
                  <c:pt idx="429">
                    <c:v>Rolling Stdev (30 Minute)</c:v>
                  </c:pt>
                  <c:pt idx="430">
                    <c:v>Rolling Stdev (30 Minute)</c:v>
                  </c:pt>
                  <c:pt idx="431">
                    <c:v>Rolling Stdev (30 Minute)</c:v>
                  </c:pt>
                  <c:pt idx="432">
                    <c:v>Rolling Stdev (30 Minute)</c:v>
                  </c:pt>
                  <c:pt idx="433">
                    <c:v>Rolling Stdev (30 Minute)</c:v>
                  </c:pt>
                  <c:pt idx="434">
                    <c:v>Rolling Stdev (30 Minute)</c:v>
                  </c:pt>
                  <c:pt idx="435">
                    <c:v>Rolling Stdev (30 Minute)</c:v>
                  </c:pt>
                  <c:pt idx="436">
                    <c:v>Rolling Stdev (30 Minute)</c:v>
                  </c:pt>
                  <c:pt idx="437">
                    <c:v>Rolling Stdev (30 Minute)</c:v>
                  </c:pt>
                  <c:pt idx="438">
                    <c:v>Rolling Stdev (30 Minute)</c:v>
                  </c:pt>
                  <c:pt idx="439">
                    <c:v>Rolling Stdev (30 Minute)</c:v>
                  </c:pt>
                  <c:pt idx="440">
                    <c:v>Rolling Stdev (30 Minute)</c:v>
                  </c:pt>
                  <c:pt idx="441">
                    <c:v>Rolling Stdev (30 Minute)</c:v>
                  </c:pt>
                  <c:pt idx="442">
                    <c:v>Rolling Stdev (30 Minute)</c:v>
                  </c:pt>
                  <c:pt idx="443">
                    <c:v>Rolling Stdev (30 Minute)</c:v>
                  </c:pt>
                  <c:pt idx="444">
                    <c:v>Rolling Stdev (30 Minute)</c:v>
                  </c:pt>
                  <c:pt idx="445">
                    <c:v>Rolling Stdev (30 Minute)</c:v>
                  </c:pt>
                  <c:pt idx="446">
                    <c:v>Rolling Stdev (30 Minute)</c:v>
                  </c:pt>
                  <c:pt idx="447">
                    <c:v>Rolling Stdev (30 Minute)</c:v>
                  </c:pt>
                  <c:pt idx="448">
                    <c:v>Rolling Stdev (30 Minute)</c:v>
                  </c:pt>
                  <c:pt idx="449">
                    <c:v>Rolling Stdev (30 Minute)</c:v>
                  </c:pt>
                  <c:pt idx="450">
                    <c:v>Rolling Stdev (30 Minute)</c:v>
                  </c:pt>
                  <c:pt idx="451">
                    <c:v>Rolling Stdev (30 Minute)</c:v>
                  </c:pt>
                  <c:pt idx="452">
                    <c:v>Rolling Stdev (30 Minute)</c:v>
                  </c:pt>
                  <c:pt idx="453">
                    <c:v>Rolling Stdev (30 Minute)</c:v>
                  </c:pt>
                  <c:pt idx="454">
                    <c:v>Rolling Stdev (30 Minute)</c:v>
                  </c:pt>
                  <c:pt idx="455">
                    <c:v>Rolling Stdev (30 Minute)</c:v>
                  </c:pt>
                  <c:pt idx="456">
                    <c:v>Rolling Stdev (30 Minute)</c:v>
                  </c:pt>
                  <c:pt idx="457">
                    <c:v>Rolling Stdev (30 Minute)</c:v>
                  </c:pt>
                  <c:pt idx="458">
                    <c:v>Rolling Stdev (30 Minute)</c:v>
                  </c:pt>
                  <c:pt idx="459">
                    <c:v>Rolling Stdev (30 Minute)</c:v>
                  </c:pt>
                  <c:pt idx="460">
                    <c:v>Rolling Stdev (30 Minute)</c:v>
                  </c:pt>
                  <c:pt idx="461">
                    <c:v>Rolling Stdev (30 Minute)</c:v>
                  </c:pt>
                  <c:pt idx="462">
                    <c:v>Rolling Stdev (30 Minute)</c:v>
                  </c:pt>
                  <c:pt idx="463">
                    <c:v>Rolling Stdev (30 Minute)</c:v>
                  </c:pt>
                  <c:pt idx="464">
                    <c:v>Rolling Stdev (30 Minute)</c:v>
                  </c:pt>
                  <c:pt idx="465">
                    <c:v>Rolling Stdev (30 Minute)</c:v>
                  </c:pt>
                  <c:pt idx="466">
                    <c:v>Rolling Stdev (30 Minute)</c:v>
                  </c:pt>
                  <c:pt idx="467">
                    <c:v>Rolling Stdev (30 Minute)</c:v>
                  </c:pt>
                  <c:pt idx="468">
                    <c:v>Rolling Stdev (30 Minute)</c:v>
                  </c:pt>
                  <c:pt idx="469">
                    <c:v>Rolling Stdev (30 Minute)</c:v>
                  </c:pt>
                  <c:pt idx="470">
                    <c:v>Rolling Stdev (30 Minute)</c:v>
                  </c:pt>
                  <c:pt idx="471">
                    <c:v>Rolling Stdev (30 Minute)</c:v>
                  </c:pt>
                  <c:pt idx="472">
                    <c:v>Rolling Stdev (30 Minute)</c:v>
                  </c:pt>
                  <c:pt idx="473">
                    <c:v>Rolling Stdev (30 Minute)</c:v>
                  </c:pt>
                  <c:pt idx="474">
                    <c:v>Rolling Stdev (30 Minute)</c:v>
                  </c:pt>
                  <c:pt idx="475">
                    <c:v>Rolling Stdev (30 Minute)</c:v>
                  </c:pt>
                  <c:pt idx="476">
                    <c:v>Rolling Stdev (30 Minute)</c:v>
                  </c:pt>
                  <c:pt idx="477">
                    <c:v>Rolling Stdev (30 Minute)</c:v>
                  </c:pt>
                  <c:pt idx="478">
                    <c:v>Rolling Stdev (30 Minute)</c:v>
                  </c:pt>
                  <c:pt idx="479">
                    <c:v>Rolling Stdev (30 Minute)</c:v>
                  </c:pt>
                  <c:pt idx="480">
                    <c:v>Rolling Stdev (30 Minute)</c:v>
                  </c:pt>
                  <c:pt idx="481">
                    <c:v>Rolling Stdev (30 Minute)</c:v>
                  </c:pt>
                  <c:pt idx="482">
                    <c:v>Rolling Stdev (30 Minute)</c:v>
                  </c:pt>
                  <c:pt idx="483">
                    <c:v>Rolling Stdev (30 Minute)</c:v>
                  </c:pt>
                  <c:pt idx="484">
                    <c:v>Rolling Stdev (30 Minute)</c:v>
                  </c:pt>
                  <c:pt idx="485">
                    <c:v>Rolling Stdev (30 Minute)</c:v>
                  </c:pt>
                  <c:pt idx="486">
                    <c:v>Rolling Stdev (30 Minute)</c:v>
                  </c:pt>
                  <c:pt idx="487">
                    <c:v>Rolling Stdev (30 Minute)</c:v>
                  </c:pt>
                  <c:pt idx="488">
                    <c:v>Rolling Stdev (30 Minute)</c:v>
                  </c:pt>
                  <c:pt idx="489">
                    <c:v>Rolling Stdev (30 Minute)</c:v>
                  </c:pt>
                  <c:pt idx="490">
                    <c:v>Rolling Stdev (30 Minute)</c:v>
                  </c:pt>
                  <c:pt idx="491">
                    <c:v>Rolling Stdev (30 Minute)</c:v>
                  </c:pt>
                  <c:pt idx="492">
                    <c:v>Rolling Stdev (30 Minute)</c:v>
                  </c:pt>
                  <c:pt idx="493">
                    <c:v>Rolling Stdev (30 Minute)</c:v>
                  </c:pt>
                  <c:pt idx="494">
                    <c:v>Rolling Stdev (30 Minute)</c:v>
                  </c:pt>
                  <c:pt idx="495">
                    <c:v>Rolling Stdev (30 Minute)</c:v>
                  </c:pt>
                  <c:pt idx="496">
                    <c:v>Rolling Stdev (30 Minute)</c:v>
                  </c:pt>
                  <c:pt idx="497">
                    <c:v>Rolling Stdev (30 Minute)</c:v>
                  </c:pt>
                  <c:pt idx="498">
                    <c:v>Rolling Stdev (30 Minute)</c:v>
                  </c:pt>
                  <c:pt idx="499">
                    <c:v>Rolling Stdev (30 Minute)</c:v>
                  </c:pt>
                  <c:pt idx="500">
                    <c:v>Rolling Stdev (30 Minute)</c:v>
                  </c:pt>
                  <c:pt idx="501">
                    <c:v>Rolling Stdev (30 Minute)</c:v>
                  </c:pt>
                  <c:pt idx="502">
                    <c:v>Rolling Stdev (30 Minute)</c:v>
                  </c:pt>
                  <c:pt idx="503">
                    <c:v>Rolling Stdev (30 Minute)</c:v>
                  </c:pt>
                  <c:pt idx="504">
                    <c:v>Rolling Stdev (30 Minute)</c:v>
                  </c:pt>
                  <c:pt idx="505">
                    <c:v>Rolling Stdev (30 Minute)</c:v>
                  </c:pt>
                  <c:pt idx="506">
                    <c:v>Rolling Stdev (30 Minute)</c:v>
                  </c:pt>
                  <c:pt idx="507">
                    <c:v>Rolling Stdev (30 Minute)</c:v>
                  </c:pt>
                  <c:pt idx="508">
                    <c:v>Rolling Stdev (30 Minute)</c:v>
                  </c:pt>
                  <c:pt idx="509">
                    <c:v>Rolling Stdev (30 Minute)</c:v>
                  </c:pt>
                  <c:pt idx="510">
                    <c:v>Rolling Stdev (30 Minute)</c:v>
                  </c:pt>
                  <c:pt idx="511">
                    <c:v>Rolling Stdev (30 Minute)</c:v>
                  </c:pt>
                  <c:pt idx="512">
                    <c:v>Rolling Stdev (30 Minute)</c:v>
                  </c:pt>
                  <c:pt idx="513">
                    <c:v>Rolling Stdev (30 Minute)</c:v>
                  </c:pt>
                  <c:pt idx="514">
                    <c:v>Rolling Stdev (30 Minute)</c:v>
                  </c:pt>
                  <c:pt idx="515">
                    <c:v>Rolling Stdev (30 Minute)</c:v>
                  </c:pt>
                  <c:pt idx="516">
                    <c:v>Rolling Stdev (30 Minute)</c:v>
                  </c:pt>
                  <c:pt idx="517">
                    <c:v>Rolling Stdev (30 Minute)</c:v>
                  </c:pt>
                  <c:pt idx="518">
                    <c:v>Rolling Stdev (30 Minute)</c:v>
                  </c:pt>
                  <c:pt idx="519">
                    <c:v>Rolling Stdev (30 Minute)</c:v>
                  </c:pt>
                  <c:pt idx="520">
                    <c:v>Rolling Stdev (30 Minute)</c:v>
                  </c:pt>
                  <c:pt idx="521">
                    <c:v>Rolling Stdev (30 Minute)</c:v>
                  </c:pt>
                  <c:pt idx="522">
                    <c:v>Rolling Stdev (30 Minute)</c:v>
                  </c:pt>
                  <c:pt idx="523">
                    <c:v>Rolling Stdev (30 Minute)</c:v>
                  </c:pt>
                  <c:pt idx="524">
                    <c:v>Rolling Stdev (30 Minute)</c:v>
                  </c:pt>
                  <c:pt idx="525">
                    <c:v>Rolling Stdev (30 Minute)</c:v>
                  </c:pt>
                  <c:pt idx="526">
                    <c:v>Rolling Stdev (30 Minute)</c:v>
                  </c:pt>
                  <c:pt idx="527">
                    <c:v>Rolling Stdev (30 Minute)</c:v>
                  </c:pt>
                  <c:pt idx="528">
                    <c:v>Rolling Stdev (30 Minute)</c:v>
                  </c:pt>
                  <c:pt idx="529">
                    <c:v>Rolling Stdev (30 Minute)</c:v>
                  </c:pt>
                  <c:pt idx="530">
                    <c:v>Rolling Stdev (30 Minute)</c:v>
                  </c:pt>
                  <c:pt idx="531">
                    <c:v>Rolling Stdev (30 Minute)</c:v>
                  </c:pt>
                  <c:pt idx="532">
                    <c:v>Rolling Stdev (30 Minute)</c:v>
                  </c:pt>
                  <c:pt idx="533">
                    <c:v>Rolling Stdev (30 Minute)</c:v>
                  </c:pt>
                  <c:pt idx="534">
                    <c:v>Rolling Stdev (30 Minute)</c:v>
                  </c:pt>
                  <c:pt idx="535">
                    <c:v>Rolling Stdev (30 Minute)</c:v>
                  </c:pt>
                  <c:pt idx="536">
                    <c:v>Rolling Stdev (30 Minute)</c:v>
                  </c:pt>
                  <c:pt idx="537">
                    <c:v>Rolling Stdev (30 Minute)</c:v>
                  </c:pt>
                  <c:pt idx="538">
                    <c:v>Rolling Stdev (30 Minute)</c:v>
                  </c:pt>
                  <c:pt idx="539">
                    <c:v>Rolling Stdev (30 Minute)</c:v>
                  </c:pt>
                  <c:pt idx="540">
                    <c:v>Rolling Stdev (30 Minute)</c:v>
                  </c:pt>
                  <c:pt idx="541">
                    <c:v>Rolling Stdev (30 Minute)</c:v>
                  </c:pt>
                  <c:pt idx="542">
                    <c:v>Rolling Stdev (30 Minute)</c:v>
                  </c:pt>
                  <c:pt idx="543">
                    <c:v>Rolling Stdev (30 Minute)</c:v>
                  </c:pt>
                  <c:pt idx="544">
                    <c:v>Rolling Stdev (30 Minute)</c:v>
                  </c:pt>
                  <c:pt idx="545">
                    <c:v>Rolling Stdev (30 Minute)</c:v>
                  </c:pt>
                  <c:pt idx="546">
                    <c:v>Rolling Stdev (30 Minute)</c:v>
                  </c:pt>
                  <c:pt idx="547">
                    <c:v>Rolling Stdev (30 Minute)</c:v>
                  </c:pt>
                  <c:pt idx="548">
                    <c:v>Rolling Stdev (30 Minute)</c:v>
                  </c:pt>
                  <c:pt idx="549">
                    <c:v>Rolling Stdev (30 Minute)</c:v>
                  </c:pt>
                  <c:pt idx="550">
                    <c:v>Rolling Stdev (30 Minute)</c:v>
                  </c:pt>
                  <c:pt idx="551">
                    <c:v>Rolling Stdev (30 Minute)</c:v>
                  </c:pt>
                  <c:pt idx="552">
                    <c:v>Rolling Stdev (30 Minute)</c:v>
                  </c:pt>
                  <c:pt idx="553">
                    <c:v>Rolling Stdev (30 Minute)</c:v>
                  </c:pt>
                  <c:pt idx="554">
                    <c:v>Rolling Stdev (30 Minute)</c:v>
                  </c:pt>
                  <c:pt idx="555">
                    <c:v>Rolling Stdev (30 Minute)</c:v>
                  </c:pt>
                  <c:pt idx="556">
                    <c:v>Rolling Stdev (30 Minute)</c:v>
                  </c:pt>
                  <c:pt idx="557">
                    <c:v>Rolling Stdev (30 Minute)</c:v>
                  </c:pt>
                  <c:pt idx="558">
                    <c:v>Rolling Stdev (30 Minute)</c:v>
                  </c:pt>
                  <c:pt idx="559">
                    <c:v>Rolling Stdev (30 Minute)</c:v>
                  </c:pt>
                  <c:pt idx="560">
                    <c:v>Rolling Stdev (30 Minute)</c:v>
                  </c:pt>
                  <c:pt idx="561">
                    <c:v>Rolling Stdev (30 Minute)</c:v>
                  </c:pt>
                  <c:pt idx="562">
                    <c:v>Rolling Stdev (30 Minute)</c:v>
                  </c:pt>
                  <c:pt idx="563">
                    <c:v>Rolling Stdev (30 Minute)</c:v>
                  </c:pt>
                  <c:pt idx="564">
                    <c:v>Rolling Stdev (30 Minute)</c:v>
                  </c:pt>
                  <c:pt idx="565">
                    <c:v>Rolling Stdev (30 Minute)</c:v>
                  </c:pt>
                  <c:pt idx="566">
                    <c:v>Rolling Stdev (30 Minute)</c:v>
                  </c:pt>
                  <c:pt idx="567">
                    <c:v>Rolling Stdev (30 Minute)</c:v>
                  </c:pt>
                  <c:pt idx="568">
                    <c:v>Rolling Stdev (30 Minute)</c:v>
                  </c:pt>
                  <c:pt idx="569">
                    <c:v>Rolling Stdev (30 Minute)</c:v>
                  </c:pt>
                  <c:pt idx="570">
                    <c:v>Rolling Stdev (30 Minute)</c:v>
                  </c:pt>
                  <c:pt idx="571">
                    <c:v>Rolling Stdev (30 Minute)</c:v>
                  </c:pt>
                  <c:pt idx="572">
                    <c:v>Rolling Stdev (30 Minute)</c:v>
                  </c:pt>
                  <c:pt idx="573">
                    <c:v>Rolling Stdev (30 Minute)</c:v>
                  </c:pt>
                  <c:pt idx="574">
                    <c:v>Rolling Stdev (30 Minute)</c:v>
                  </c:pt>
                  <c:pt idx="575">
                    <c:v>Rolling Stdev (30 Minute)</c:v>
                  </c:pt>
                  <c:pt idx="576">
                    <c:v>Rolling Stdev (30 Minute)</c:v>
                  </c:pt>
                  <c:pt idx="577">
                    <c:v>Rolling Stdev (30 Minute)</c:v>
                  </c:pt>
                  <c:pt idx="578">
                    <c:v>Rolling Stdev (30 Minute)</c:v>
                  </c:pt>
                  <c:pt idx="579">
                    <c:v>Rolling Stdev (30 Minute)</c:v>
                  </c:pt>
                  <c:pt idx="580">
                    <c:v>Rolling Stdev (30 Minute)</c:v>
                  </c:pt>
                  <c:pt idx="581">
                    <c:v>Rolling Stdev (30 Minute)</c:v>
                  </c:pt>
                  <c:pt idx="582">
                    <c:v>Rolling Stdev (30 Minute)</c:v>
                  </c:pt>
                  <c:pt idx="583">
                    <c:v>Rolling Stdev (30 Minute)</c:v>
                  </c:pt>
                  <c:pt idx="584">
                    <c:v>Rolling Stdev (30 Minute)</c:v>
                  </c:pt>
                  <c:pt idx="585">
                    <c:v>Rolling Stdev (30 Minute)</c:v>
                  </c:pt>
                  <c:pt idx="586">
                    <c:v>Rolling Stdev (30 Minute)</c:v>
                  </c:pt>
                  <c:pt idx="587">
                    <c:v>Rolling Stdev (30 Minute)</c:v>
                  </c:pt>
                  <c:pt idx="588">
                    <c:v>Rolling Stdev (30 Minute)</c:v>
                  </c:pt>
                  <c:pt idx="589">
                    <c:v>Rolling Stdev (30 Minute)</c:v>
                  </c:pt>
                  <c:pt idx="590">
                    <c:v>Rolling Stdev (30 Minute)</c:v>
                  </c:pt>
                  <c:pt idx="591">
                    <c:v>Rolling Stdev (30 Minute)</c:v>
                  </c:pt>
                  <c:pt idx="592">
                    <c:v>Rolling Stdev (30 Minute)</c:v>
                  </c:pt>
                  <c:pt idx="593">
                    <c:v>Rolling Stdev (30 Minute)</c:v>
                  </c:pt>
                  <c:pt idx="594">
                    <c:v>Rolling Stdev (30 Minute)</c:v>
                  </c:pt>
                  <c:pt idx="595">
                    <c:v>Rolling Stdev (30 Minute)</c:v>
                  </c:pt>
                  <c:pt idx="596">
                    <c:v>Rolling Stdev (30 Minute)</c:v>
                  </c:pt>
                  <c:pt idx="597">
                    <c:v>Rolling Stdev (30 Minute)</c:v>
                  </c:pt>
                  <c:pt idx="598">
                    <c:v>Rolling Stdev (30 Minute)</c:v>
                  </c:pt>
                  <c:pt idx="599">
                    <c:v>Rolling Stdev (30 Minute)</c:v>
                  </c:pt>
                  <c:pt idx="600">
                    <c:v>Rolling Stdev (30 Minute)</c:v>
                  </c:pt>
                  <c:pt idx="601">
                    <c:v>Rolling Stdev (30 Minute)</c:v>
                  </c:pt>
                  <c:pt idx="602">
                    <c:v>Rolling Stdev (30 Minute)</c:v>
                  </c:pt>
                  <c:pt idx="603">
                    <c:v>Rolling Stdev (30 Minute)</c:v>
                  </c:pt>
                  <c:pt idx="604">
                    <c:v>Rolling Stdev (30 Minute)</c:v>
                  </c:pt>
                  <c:pt idx="605">
                    <c:v>Rolling Stdev (30 Minute)</c:v>
                  </c:pt>
                  <c:pt idx="606">
                    <c:v>Rolling Stdev (30 Minute)</c:v>
                  </c:pt>
                  <c:pt idx="607">
                    <c:v>Rolling Stdev (30 Minute)</c:v>
                  </c:pt>
                  <c:pt idx="608">
                    <c:v>Rolling Stdev (30 Minute)</c:v>
                  </c:pt>
                  <c:pt idx="609">
                    <c:v>Rolling Stdev (30 Minute)</c:v>
                  </c:pt>
                  <c:pt idx="610">
                    <c:v>Rolling Stdev (30 Minute)</c:v>
                  </c:pt>
                  <c:pt idx="611">
                    <c:v>Rolling Stdev (30 Minute)</c:v>
                  </c:pt>
                  <c:pt idx="612">
                    <c:v>Rolling Stdev (30 Minute)</c:v>
                  </c:pt>
                  <c:pt idx="613">
                    <c:v>Rolling Stdev (30 Minute)</c:v>
                  </c:pt>
                  <c:pt idx="614">
                    <c:v>Rolling Stdev (30 Minute)</c:v>
                  </c:pt>
                  <c:pt idx="615">
                    <c:v>Rolling Stdev (30 Minute)</c:v>
                  </c:pt>
                  <c:pt idx="616">
                    <c:v>Rolling Stdev (30 Minute)</c:v>
                  </c:pt>
                  <c:pt idx="617">
                    <c:v>Rolling Stdev (30 Minute)</c:v>
                  </c:pt>
                  <c:pt idx="618">
                    <c:v>Rolling Stdev (30 Minute)</c:v>
                  </c:pt>
                  <c:pt idx="619">
                    <c:v>Rolling Stdev (30 Minute)</c:v>
                  </c:pt>
                  <c:pt idx="620">
                    <c:v>Rolling Stdev (30 Minute)</c:v>
                  </c:pt>
                  <c:pt idx="621">
                    <c:v>Rolling Stdev (30 Minute)</c:v>
                  </c:pt>
                  <c:pt idx="622">
                    <c:v>Rolling Stdev (30 Minute)</c:v>
                  </c:pt>
                  <c:pt idx="623">
                    <c:v>Rolling Stdev (30 Minute)</c:v>
                  </c:pt>
                  <c:pt idx="624">
                    <c:v>Rolling Stdev (30 Minute)</c:v>
                  </c:pt>
                  <c:pt idx="625">
                    <c:v>Rolling Stdev (30 Minute)</c:v>
                  </c:pt>
                  <c:pt idx="626">
                    <c:v>Rolling Stdev (30 Minute)</c:v>
                  </c:pt>
                  <c:pt idx="627">
                    <c:v>Rolling Stdev (30 Minute)</c:v>
                  </c:pt>
                  <c:pt idx="628">
                    <c:v>Rolling Stdev (30 Minute)</c:v>
                  </c:pt>
                  <c:pt idx="629">
                    <c:v>Rolling Stdev (30 Minute)</c:v>
                  </c:pt>
                  <c:pt idx="630">
                    <c:v>Rolling Stdev (30 Minute)</c:v>
                  </c:pt>
                  <c:pt idx="631">
                    <c:v>Rolling Stdev (30 Minute)</c:v>
                  </c:pt>
                  <c:pt idx="632">
                    <c:v>Rolling Stdev (30 Minute)</c:v>
                  </c:pt>
                  <c:pt idx="633">
                    <c:v>Rolling Stdev (30 Minute)</c:v>
                  </c:pt>
                  <c:pt idx="634">
                    <c:v>Rolling Stdev (30 Minute)</c:v>
                  </c:pt>
                  <c:pt idx="635">
                    <c:v>Rolling Stdev (30 Minute)</c:v>
                  </c:pt>
                  <c:pt idx="636">
                    <c:v>Rolling Stdev (30 Minute)</c:v>
                  </c:pt>
                  <c:pt idx="637">
                    <c:v>Rolling Stdev (30 Minute)</c:v>
                  </c:pt>
                  <c:pt idx="638">
                    <c:v>Rolling Stdev (30 Minute)</c:v>
                  </c:pt>
                  <c:pt idx="639">
                    <c:v>Rolling Stdev (30 Minute)</c:v>
                  </c:pt>
                  <c:pt idx="640">
                    <c:v>Rolling Stdev (30 Minute)</c:v>
                  </c:pt>
                  <c:pt idx="641">
                    <c:v>Rolling Stdev (30 Minute)</c:v>
                  </c:pt>
                  <c:pt idx="642">
                    <c:v>Rolling Stdev (30 Minute)</c:v>
                  </c:pt>
                  <c:pt idx="643">
                    <c:v>Rolling Stdev (30 Minute)</c:v>
                  </c:pt>
                  <c:pt idx="644">
                    <c:v>Rolling Stdev (30 Minute)</c:v>
                  </c:pt>
                  <c:pt idx="645">
                    <c:v>Rolling Stdev (30 Minute)</c:v>
                  </c:pt>
                  <c:pt idx="646">
                    <c:v>Rolling Stdev (30 Minute)</c:v>
                  </c:pt>
                  <c:pt idx="647">
                    <c:v>Rolling Stdev (30 Minute)</c:v>
                  </c:pt>
                  <c:pt idx="648">
                    <c:v>Rolling Stdev (30 Minute)</c:v>
                  </c:pt>
                  <c:pt idx="649">
                    <c:v>Rolling Stdev (30 Minute)</c:v>
                  </c:pt>
                  <c:pt idx="650">
                    <c:v>Rolling Stdev (30 Minute)</c:v>
                  </c:pt>
                  <c:pt idx="651">
                    <c:v>Rolling Stdev (30 Minute)</c:v>
                  </c:pt>
                  <c:pt idx="652">
                    <c:v>Rolling Stdev (30 Minute)</c:v>
                  </c:pt>
                  <c:pt idx="653">
                    <c:v>Rolling Stdev (30 Minute)</c:v>
                  </c:pt>
                  <c:pt idx="654">
                    <c:v>Rolling Stdev (30 Minute)</c:v>
                  </c:pt>
                  <c:pt idx="655">
                    <c:v>Rolling Stdev (30 Minute)</c:v>
                  </c:pt>
                  <c:pt idx="656">
                    <c:v>Rolling Stdev (30 Minute)</c:v>
                  </c:pt>
                  <c:pt idx="657">
                    <c:v>Rolling Stdev (30 Minute)</c:v>
                  </c:pt>
                  <c:pt idx="658">
                    <c:v>Rolling Stdev (30 Minute)</c:v>
                  </c:pt>
                  <c:pt idx="659">
                    <c:v>Rolling Stdev (30 Minute)</c:v>
                  </c:pt>
                  <c:pt idx="660">
                    <c:v>Rolling Stdev (30 Minute)</c:v>
                  </c:pt>
                  <c:pt idx="661">
                    <c:v>Rolling Stdev (30 Minute)</c:v>
                  </c:pt>
                  <c:pt idx="662">
                    <c:v>Rolling Stdev (30 Minute)</c:v>
                  </c:pt>
                  <c:pt idx="663">
                    <c:v>Rolling Stdev (30 Minute)</c:v>
                  </c:pt>
                  <c:pt idx="664">
                    <c:v>Rolling Stdev (30 Minute)</c:v>
                  </c:pt>
                  <c:pt idx="665">
                    <c:v>Rolling Stdev (30 Minute)</c:v>
                  </c:pt>
                  <c:pt idx="666">
                    <c:v>Rolling Stdev (30 Minute)</c:v>
                  </c:pt>
                  <c:pt idx="667">
                    <c:v>Rolling Stdev (30 Minute)</c:v>
                  </c:pt>
                  <c:pt idx="668">
                    <c:v>Rolling Stdev (30 Minute)</c:v>
                  </c:pt>
                  <c:pt idx="669">
                    <c:v>Rolling Stdev (30 Minute)</c:v>
                  </c:pt>
                  <c:pt idx="670">
                    <c:v>Rolling Stdev (30 Minute)</c:v>
                  </c:pt>
                  <c:pt idx="671">
                    <c:v>Rolling Stdev (30 Minute)</c:v>
                  </c:pt>
                  <c:pt idx="672">
                    <c:v>Rolling Stdev (30 Minute)</c:v>
                  </c:pt>
                  <c:pt idx="673">
                    <c:v>Rolling Stdev (30 Minute)</c:v>
                  </c:pt>
                  <c:pt idx="674">
                    <c:v>Rolling Stdev (30 Minute)</c:v>
                  </c:pt>
                  <c:pt idx="675">
                    <c:v>Rolling Stdev (30 Minute)</c:v>
                  </c:pt>
                  <c:pt idx="676">
                    <c:v>Rolling Stdev (30 Minute)</c:v>
                  </c:pt>
                  <c:pt idx="677">
                    <c:v>Rolling Stdev (30 Minute)</c:v>
                  </c:pt>
                  <c:pt idx="678">
                    <c:v>Rolling Stdev (30 Minute)</c:v>
                  </c:pt>
                  <c:pt idx="679">
                    <c:v>Rolling Stdev (30 Minute)</c:v>
                  </c:pt>
                  <c:pt idx="680">
                    <c:v>Rolling Stdev (30 Minute)</c:v>
                  </c:pt>
                  <c:pt idx="681">
                    <c:v>Rolling Stdev (30 Minute)</c:v>
                  </c:pt>
                  <c:pt idx="682">
                    <c:v>Rolling Stdev (30 Minute)</c:v>
                  </c:pt>
                  <c:pt idx="683">
                    <c:v>Rolling Stdev (30 Minute)</c:v>
                  </c:pt>
                  <c:pt idx="684">
                    <c:v>Rolling Stdev (30 Minute)</c:v>
                  </c:pt>
                  <c:pt idx="685">
                    <c:v>Rolling Stdev (30 Minute)</c:v>
                  </c:pt>
                  <c:pt idx="686">
                    <c:v>Rolling Stdev (30 Minute)</c:v>
                  </c:pt>
                  <c:pt idx="687">
                    <c:v>Rolling Stdev (30 Minute)</c:v>
                  </c:pt>
                  <c:pt idx="688">
                    <c:v>Rolling Stdev (30 Minute)</c:v>
                  </c:pt>
                  <c:pt idx="689">
                    <c:v>Rolling Stdev (30 Minute)</c:v>
                  </c:pt>
                  <c:pt idx="690">
                    <c:v>Rolling Stdev (30 Minute)</c:v>
                  </c:pt>
                  <c:pt idx="691">
                    <c:v>Rolling Stdev (30 Minute)</c:v>
                  </c:pt>
                  <c:pt idx="692">
                    <c:v>Rolling Stdev (30 Minute)</c:v>
                  </c:pt>
                  <c:pt idx="693">
                    <c:v>Rolling Stdev (30 Minute)</c:v>
                  </c:pt>
                  <c:pt idx="694">
                    <c:v>Rolling Stdev (30 Minute)</c:v>
                  </c:pt>
                  <c:pt idx="695">
                    <c:v>Rolling Stdev (30 Minute)</c:v>
                  </c:pt>
                  <c:pt idx="696">
                    <c:v>Rolling Stdev (30 Minute)</c:v>
                  </c:pt>
                  <c:pt idx="697">
                    <c:v>Rolling Stdev (30 Minute)</c:v>
                  </c:pt>
                  <c:pt idx="698">
                    <c:v>Rolling Stdev (30 Minute)</c:v>
                  </c:pt>
                  <c:pt idx="699">
                    <c:v>Rolling Stdev (30 Minute)</c:v>
                  </c:pt>
                  <c:pt idx="700">
                    <c:v>Rolling Stdev (30 Minute)</c:v>
                  </c:pt>
                  <c:pt idx="701">
                    <c:v>Rolling Stdev (30 Minute)</c:v>
                  </c:pt>
                  <c:pt idx="702">
                    <c:v>Rolling Stdev (30 Minute)</c:v>
                  </c:pt>
                  <c:pt idx="703">
                    <c:v>Rolling Stdev (30 Minute)</c:v>
                  </c:pt>
                  <c:pt idx="704">
                    <c:v>Rolling Stdev (30 Minute)</c:v>
                  </c:pt>
                  <c:pt idx="705">
                    <c:v>Rolling Stdev (30 Minute)</c:v>
                  </c:pt>
                  <c:pt idx="706">
                    <c:v>Rolling Stdev (30 Minute)</c:v>
                  </c:pt>
                  <c:pt idx="707">
                    <c:v>Rolling Stdev (30 Minute)</c:v>
                  </c:pt>
                  <c:pt idx="708">
                    <c:v>Rolling Stdev (30 Minute)</c:v>
                  </c:pt>
                  <c:pt idx="709">
                    <c:v>Rolling Stdev (30 Minute)</c:v>
                  </c:pt>
                  <c:pt idx="710">
                    <c:v>Rolling Stdev (30 Minute)</c:v>
                  </c:pt>
                  <c:pt idx="711">
                    <c:v>Rolling Stdev (30 Minute)</c:v>
                  </c:pt>
                  <c:pt idx="712">
                    <c:v>Rolling Stdev (30 Minute)</c:v>
                  </c:pt>
                  <c:pt idx="713">
                    <c:v>Rolling Stdev (30 Minute)</c:v>
                  </c:pt>
                  <c:pt idx="714">
                    <c:v>Rolling Stdev (30 Minute)</c:v>
                  </c:pt>
                  <c:pt idx="715">
                    <c:v>Rolling Stdev (30 Minute)</c:v>
                  </c:pt>
                  <c:pt idx="716">
                    <c:v>Rolling Stdev (30 Minute)</c:v>
                  </c:pt>
                  <c:pt idx="717">
                    <c:v>Rolling Stdev (30 Minute)</c:v>
                  </c:pt>
                  <c:pt idx="718">
                    <c:v>Rolling Stdev (30 Minute)</c:v>
                  </c:pt>
                  <c:pt idx="719">
                    <c:v>Rolling Stdev (30 Minute)</c:v>
                  </c:pt>
                  <c:pt idx="720">
                    <c:v>Rolling Stdev (30 Minute)</c:v>
                  </c:pt>
                  <c:pt idx="721">
                    <c:v>Rolling Stdev (30 Minute)</c:v>
                  </c:pt>
                  <c:pt idx="722">
                    <c:v>Rolling Stdev (30 Minute)</c:v>
                  </c:pt>
                  <c:pt idx="723">
                    <c:v>Rolling Stdev (30 Minute)</c:v>
                  </c:pt>
                  <c:pt idx="724">
                    <c:v>Rolling Stdev (30 Minute)</c:v>
                  </c:pt>
                  <c:pt idx="725">
                    <c:v>Rolling Stdev (30 Minute)</c:v>
                  </c:pt>
                  <c:pt idx="726">
                    <c:v>Rolling Stdev (30 Minute)</c:v>
                  </c:pt>
                  <c:pt idx="727">
                    <c:v>Rolling Stdev (30 Minute)</c:v>
                  </c:pt>
                  <c:pt idx="728">
                    <c:v>Rolling Stdev (30 Minute)</c:v>
                  </c:pt>
                  <c:pt idx="729">
                    <c:v>Rolling Stdev (30 Minute)</c:v>
                  </c:pt>
                  <c:pt idx="730">
                    <c:v>Rolling Stdev (30 Minute)</c:v>
                  </c:pt>
                  <c:pt idx="731">
                    <c:v>Rolling Stdev (30 Minute)</c:v>
                  </c:pt>
                  <c:pt idx="732">
                    <c:v>Rolling Stdev (30 Minute)</c:v>
                  </c:pt>
                  <c:pt idx="733">
                    <c:v>Rolling Stdev (30 Minute)</c:v>
                  </c:pt>
                  <c:pt idx="734">
                    <c:v>Rolling Stdev (30 Minute)</c:v>
                  </c:pt>
                  <c:pt idx="735">
                    <c:v>Rolling Stdev (30 Minute)</c:v>
                  </c:pt>
                  <c:pt idx="736">
                    <c:v>Rolling Stdev (30 Minute)</c:v>
                  </c:pt>
                  <c:pt idx="737">
                    <c:v>Rolling Stdev (30 Minute)</c:v>
                  </c:pt>
                  <c:pt idx="738">
                    <c:v>Rolling Stdev (30 Minute)</c:v>
                  </c:pt>
                  <c:pt idx="739">
                    <c:v>Rolling Stdev (30 Minute)</c:v>
                  </c:pt>
                  <c:pt idx="740">
                    <c:v>Rolling Stdev (30 Minute)</c:v>
                  </c:pt>
                  <c:pt idx="741">
                    <c:v>Rolling Stdev (30 Minute)</c:v>
                  </c:pt>
                  <c:pt idx="742">
                    <c:v>Rolling Stdev (30 Minute)</c:v>
                  </c:pt>
                  <c:pt idx="743">
                    <c:v>Rolling Stdev (30 Minute)</c:v>
                  </c:pt>
                  <c:pt idx="744">
                    <c:v>Rolling Stdev (30 Minute)</c:v>
                  </c:pt>
                  <c:pt idx="745">
                    <c:v>Rolling Stdev (30 Minute)</c:v>
                  </c:pt>
                  <c:pt idx="746">
                    <c:v>Rolling Stdev (30 Minute)</c:v>
                  </c:pt>
                  <c:pt idx="747">
                    <c:v>Rolling Stdev (30 Minute)</c:v>
                  </c:pt>
                  <c:pt idx="748">
                    <c:v>Rolling Stdev (30 Minute)</c:v>
                  </c:pt>
                  <c:pt idx="749">
                    <c:v>Rolling Stdev (30 Minute)</c:v>
                  </c:pt>
                  <c:pt idx="750">
                    <c:v>Rolling Stdev (30 Minute)</c:v>
                  </c:pt>
                  <c:pt idx="751">
                    <c:v>Rolling Stdev (30 Minute)</c:v>
                  </c:pt>
                  <c:pt idx="752">
                    <c:v>Rolling Stdev (30 Minute)</c:v>
                  </c:pt>
                  <c:pt idx="753">
                    <c:v>Rolling Stdev (30 Minute)</c:v>
                  </c:pt>
                  <c:pt idx="754">
                    <c:v>Rolling Stdev (30 Minute)</c:v>
                  </c:pt>
                  <c:pt idx="755">
                    <c:v>Rolling Stdev (30 Minute)</c:v>
                  </c:pt>
                  <c:pt idx="756">
                    <c:v>Rolling Stdev (30 Minute)</c:v>
                  </c:pt>
                  <c:pt idx="757">
                    <c:v>Rolling Stdev (30 Minute)</c:v>
                  </c:pt>
                  <c:pt idx="758">
                    <c:v>Rolling Stdev (30 Minute)</c:v>
                  </c:pt>
                  <c:pt idx="759">
                    <c:v>Rolling Stdev (30 Minute)</c:v>
                  </c:pt>
                  <c:pt idx="760">
                    <c:v>Rolling Stdev (30 Minute)</c:v>
                  </c:pt>
                  <c:pt idx="761">
                    <c:v>Rolling Stdev (30 Minute)</c:v>
                  </c:pt>
                  <c:pt idx="762">
                    <c:v>Rolling Stdev (30 Minute)</c:v>
                  </c:pt>
                  <c:pt idx="763">
                    <c:v>Rolling Stdev (30 Minute)</c:v>
                  </c:pt>
                  <c:pt idx="764">
                    <c:v>Rolling Stdev (30 Minute)</c:v>
                  </c:pt>
                  <c:pt idx="765">
                    <c:v>Rolling Stdev (30 Minute)</c:v>
                  </c:pt>
                  <c:pt idx="766">
                    <c:v>Rolling Stdev (30 Minute)</c:v>
                  </c:pt>
                  <c:pt idx="767">
                    <c:v>Rolling Stdev (30 Minute)</c:v>
                  </c:pt>
                  <c:pt idx="768">
                    <c:v>Rolling Stdev (30 Minute)</c:v>
                  </c:pt>
                  <c:pt idx="769">
                    <c:v>Rolling Stdev (30 Minute)</c:v>
                  </c:pt>
                  <c:pt idx="770">
                    <c:v>Rolling Stdev (30 Minute)</c:v>
                  </c:pt>
                  <c:pt idx="771">
                    <c:v>Rolling Stdev (30 Minute)</c:v>
                  </c:pt>
                  <c:pt idx="772">
                    <c:v>Rolling Stdev (30 Minute)</c:v>
                  </c:pt>
                  <c:pt idx="773">
                    <c:v>Rolling Stdev (30 Minute)</c:v>
                  </c:pt>
                  <c:pt idx="774">
                    <c:v>Rolling Stdev (30 Minute)</c:v>
                  </c:pt>
                  <c:pt idx="775">
                    <c:v>Rolling Stdev (30 Minute)</c:v>
                  </c:pt>
                  <c:pt idx="776">
                    <c:v>Rolling Stdev (30 Minute)</c:v>
                  </c:pt>
                  <c:pt idx="777">
                    <c:v>Rolling Stdev (30 Minute)</c:v>
                  </c:pt>
                  <c:pt idx="778">
                    <c:v>Rolling Stdev (30 Minute)</c:v>
                  </c:pt>
                  <c:pt idx="779">
                    <c:v>Rolling Stdev (30 Minute)</c:v>
                  </c:pt>
                  <c:pt idx="780">
                    <c:v>Rolling Stdev (30 Minute)</c:v>
                  </c:pt>
                  <c:pt idx="781">
                    <c:v>Rolling Stdev (30 Minute)</c:v>
                  </c:pt>
                  <c:pt idx="782">
                    <c:v>Rolling Stdev (30 Minute)</c:v>
                  </c:pt>
                  <c:pt idx="783">
                    <c:v>Rolling Stdev (30 Minute)</c:v>
                  </c:pt>
                  <c:pt idx="784">
                    <c:v>Rolling Stdev (30 Minute)</c:v>
                  </c:pt>
                  <c:pt idx="785">
                    <c:v>Rolling Stdev (30 Minute)</c:v>
                  </c:pt>
                  <c:pt idx="786">
                    <c:v>Rolling Stdev (30 Minute)</c:v>
                  </c:pt>
                  <c:pt idx="787">
                    <c:v>Rolling Stdev (30 Minute)</c:v>
                  </c:pt>
                  <c:pt idx="788">
                    <c:v>Rolling Stdev (30 Minute)</c:v>
                  </c:pt>
                  <c:pt idx="789">
                    <c:v>Rolling Stdev (30 Minute)</c:v>
                  </c:pt>
                  <c:pt idx="790">
                    <c:v>Rolling Stdev (30 Minute)</c:v>
                  </c:pt>
                  <c:pt idx="791">
                    <c:v>Rolling Stdev (30 Minute)</c:v>
                  </c:pt>
                  <c:pt idx="792">
                    <c:v>Rolling Stdev (30 Minute)</c:v>
                  </c:pt>
                  <c:pt idx="793">
                    <c:v>Rolling Stdev (30 Minute)</c:v>
                  </c:pt>
                  <c:pt idx="794">
                    <c:v>Rolling Stdev (30 Minute)</c:v>
                  </c:pt>
                  <c:pt idx="795">
                    <c:v>Rolling Stdev (30 Minute)</c:v>
                  </c:pt>
                  <c:pt idx="796">
                    <c:v>Rolling Stdev (30 Minute)</c:v>
                  </c:pt>
                  <c:pt idx="797">
                    <c:v>Rolling Stdev (30 Minute)</c:v>
                  </c:pt>
                  <c:pt idx="798">
                    <c:v>Rolling Stdev (30 Minute)</c:v>
                  </c:pt>
                  <c:pt idx="799">
                    <c:v>Rolling Stdev (30 Minute)</c:v>
                  </c:pt>
                  <c:pt idx="800">
                    <c:v>Rolling Stdev (30 Minute)</c:v>
                  </c:pt>
                  <c:pt idx="801">
                    <c:v>Rolling Stdev (30 Minute)</c:v>
                  </c:pt>
                  <c:pt idx="802">
                    <c:v>Rolling Stdev (30 Minute)</c:v>
                  </c:pt>
                  <c:pt idx="803">
                    <c:v>Rolling Stdev (30 Minute)</c:v>
                  </c:pt>
                  <c:pt idx="804">
                    <c:v>Rolling Stdev (30 Minute)</c:v>
                  </c:pt>
                  <c:pt idx="805">
                    <c:v>Rolling Stdev (30 Minute)</c:v>
                  </c:pt>
                  <c:pt idx="806">
                    <c:v>Rolling Stdev (30 Minute)</c:v>
                  </c:pt>
                  <c:pt idx="807">
                    <c:v>Rolling Stdev (30 Minute)</c:v>
                  </c:pt>
                  <c:pt idx="808">
                    <c:v>Rolling Stdev (30 Minute)</c:v>
                  </c:pt>
                  <c:pt idx="809">
                    <c:v>Rolling Stdev (30 Minute)</c:v>
                  </c:pt>
                  <c:pt idx="810">
                    <c:v>Rolling Stdev (30 Minute)</c:v>
                  </c:pt>
                  <c:pt idx="811">
                    <c:v>Rolling Stdev (30 Minute)</c:v>
                  </c:pt>
                  <c:pt idx="812">
                    <c:v>Rolling Stdev (30 Minute)</c:v>
                  </c:pt>
                  <c:pt idx="813">
                    <c:v>Rolling Stdev (30 Minute)</c:v>
                  </c:pt>
                  <c:pt idx="814">
                    <c:v>Rolling Stdev (30 Minute)</c:v>
                  </c:pt>
                  <c:pt idx="815">
                    <c:v>Rolling Stdev (30 Minute)</c:v>
                  </c:pt>
                  <c:pt idx="816">
                    <c:v>Rolling Stdev (30 Minute)</c:v>
                  </c:pt>
                  <c:pt idx="817">
                    <c:v>Rolling Stdev (30 Minute)</c:v>
                  </c:pt>
                  <c:pt idx="818">
                    <c:v>Rolling Stdev (30 Minute)</c:v>
                  </c:pt>
                  <c:pt idx="819">
                    <c:v>Rolling Stdev (30 Minute)</c:v>
                  </c:pt>
                  <c:pt idx="820">
                    <c:v>Rolling Stdev (30 Minute)</c:v>
                  </c:pt>
                  <c:pt idx="821">
                    <c:v>Rolling Stdev (30 Minute)</c:v>
                  </c:pt>
                  <c:pt idx="822">
                    <c:v>Rolling Stdev (30 Minute)</c:v>
                  </c:pt>
                  <c:pt idx="823">
                    <c:v>Rolling Stdev (30 Minute)</c:v>
                  </c:pt>
                  <c:pt idx="824">
                    <c:v>Rolling Stdev (30 Minute)</c:v>
                  </c:pt>
                  <c:pt idx="825">
                    <c:v>Rolling Stdev (30 Minute)</c:v>
                  </c:pt>
                  <c:pt idx="826">
                    <c:v>Rolling Stdev (30 Minute)</c:v>
                  </c:pt>
                  <c:pt idx="827">
                    <c:v>Rolling Stdev (30 Minute)</c:v>
                  </c:pt>
                  <c:pt idx="828">
                    <c:v>Rolling Stdev (30 Minute)</c:v>
                  </c:pt>
                  <c:pt idx="829">
                    <c:v>Rolling Stdev (30 Minute)</c:v>
                  </c:pt>
                  <c:pt idx="830">
                    <c:v>Rolling Stdev (30 Minute)</c:v>
                  </c:pt>
                  <c:pt idx="831">
                    <c:v>Rolling Stdev (30 Minute)</c:v>
                  </c:pt>
                  <c:pt idx="832">
                    <c:v>Rolling Stdev (30 Minute)</c:v>
                  </c:pt>
                  <c:pt idx="833">
                    <c:v>Rolling Stdev (30 Minute)</c:v>
                  </c:pt>
                  <c:pt idx="834">
                    <c:v>Rolling Stdev (30 Minute)</c:v>
                  </c:pt>
                  <c:pt idx="835">
                    <c:v>Rolling Stdev (30 Minute)</c:v>
                  </c:pt>
                  <c:pt idx="836">
                    <c:v>Rolling Stdev (30 Minute)</c:v>
                  </c:pt>
                  <c:pt idx="837">
                    <c:v>Rolling Stdev (30 Minute)</c:v>
                  </c:pt>
                  <c:pt idx="838">
                    <c:v>Rolling Stdev (30 Minute)</c:v>
                  </c:pt>
                  <c:pt idx="839">
                    <c:v>Rolling Stdev (30 Minute)</c:v>
                  </c:pt>
                  <c:pt idx="840">
                    <c:v>Rolling Stdev (30 Minute)</c:v>
                  </c:pt>
                  <c:pt idx="841">
                    <c:v>Rolling Stdev (30 Minute)</c:v>
                  </c:pt>
                  <c:pt idx="842">
                    <c:v>Rolling Stdev (30 Minute)</c:v>
                  </c:pt>
                  <c:pt idx="843">
                    <c:v>Rolling Stdev (30 Minute)</c:v>
                  </c:pt>
                  <c:pt idx="844">
                    <c:v>Rolling Stdev (30 Minute)</c:v>
                  </c:pt>
                  <c:pt idx="845">
                    <c:v>Rolling Stdev (30 Minute)</c:v>
                  </c:pt>
                  <c:pt idx="846">
                    <c:v>Rolling Stdev (30 Minute)</c:v>
                  </c:pt>
                  <c:pt idx="847">
                    <c:v>Rolling Stdev (30 Minute)</c:v>
                  </c:pt>
                  <c:pt idx="848">
                    <c:v>Rolling Stdev (30 Minute)</c:v>
                  </c:pt>
                  <c:pt idx="849">
                    <c:v>Rolling Stdev (30 Minute)</c:v>
                  </c:pt>
                  <c:pt idx="850">
                    <c:v>Rolling Stdev (30 Minute)</c:v>
                  </c:pt>
                  <c:pt idx="851">
                    <c:v>Rolling Stdev (30 Minute)</c:v>
                  </c:pt>
                  <c:pt idx="852">
                    <c:v>Rolling Stdev (30 Minute)</c:v>
                  </c:pt>
                  <c:pt idx="853">
                    <c:v>Rolling Stdev (30 Minute)</c:v>
                  </c:pt>
                  <c:pt idx="854">
                    <c:v>Rolling Stdev (30 Minute)</c:v>
                  </c:pt>
                  <c:pt idx="855">
                    <c:v>Rolling Stdev (30 Minute)</c:v>
                  </c:pt>
                  <c:pt idx="856">
                    <c:v>Rolling Stdev (30 Minute)</c:v>
                  </c:pt>
                  <c:pt idx="857">
                    <c:v>Rolling Stdev (30 Minute)</c:v>
                  </c:pt>
                  <c:pt idx="858">
                    <c:v>Rolling Stdev (30 Minute)</c:v>
                  </c:pt>
                  <c:pt idx="859">
                    <c:v>Rolling Stdev (30 Minute)</c:v>
                  </c:pt>
                  <c:pt idx="860">
                    <c:v>Rolling Stdev (30 Minute)</c:v>
                  </c:pt>
                  <c:pt idx="861">
                    <c:v>Rolling Stdev (30 Minute)</c:v>
                  </c:pt>
                  <c:pt idx="862">
                    <c:v>Rolling Stdev (30 Minute)</c:v>
                  </c:pt>
                  <c:pt idx="863">
                    <c:v>Rolling Stdev (30 Minute)</c:v>
                  </c:pt>
                  <c:pt idx="864">
                    <c:v>Rolling Stdev (30 Minute)</c:v>
                  </c:pt>
                  <c:pt idx="865">
                    <c:v>Rolling Stdev (30 Minute)</c:v>
                  </c:pt>
                  <c:pt idx="866">
                    <c:v>Rolling Stdev (30 Minute)</c:v>
                  </c:pt>
                  <c:pt idx="867">
                    <c:v>Rolling Stdev (30 Minute)</c:v>
                  </c:pt>
                  <c:pt idx="868">
                    <c:v>Rolling Stdev (30 Minute)</c:v>
                  </c:pt>
                  <c:pt idx="869">
                    <c:v>Rolling Stdev (30 Minute)</c:v>
                  </c:pt>
                  <c:pt idx="870">
                    <c:v>Rolling Stdev (30 Minute)</c:v>
                  </c:pt>
                  <c:pt idx="871">
                    <c:v>Rolling Stdev (30 Minute)</c:v>
                  </c:pt>
                  <c:pt idx="872">
                    <c:v>Rolling Stdev (30 Minute)</c:v>
                  </c:pt>
                  <c:pt idx="873">
                    <c:v>Rolling Stdev (30 Minute)</c:v>
                  </c:pt>
                  <c:pt idx="874">
                    <c:v>Rolling Stdev (30 Minute)</c:v>
                  </c:pt>
                  <c:pt idx="875">
                    <c:v>Rolling Stdev (30 Minute)</c:v>
                  </c:pt>
                  <c:pt idx="876">
                    <c:v>Rolling Stdev (30 Minute)</c:v>
                  </c:pt>
                  <c:pt idx="877">
                    <c:v>Rolling Stdev (30 Minute)</c:v>
                  </c:pt>
                  <c:pt idx="878">
                    <c:v>Rolling Stdev (30 Minute)</c:v>
                  </c:pt>
                  <c:pt idx="879">
                    <c:v>Rolling Stdev (30 Minute)</c:v>
                  </c:pt>
                  <c:pt idx="880">
                    <c:v>Rolling Stdev (30 Minute)</c:v>
                  </c:pt>
                  <c:pt idx="881">
                    <c:v>Rolling Stdev (30 Minute)</c:v>
                  </c:pt>
                  <c:pt idx="882">
                    <c:v>Rolling Stdev (30 Minute)</c:v>
                  </c:pt>
                  <c:pt idx="883">
                    <c:v>Rolling Stdev (30 Minute)</c:v>
                  </c:pt>
                  <c:pt idx="884">
                    <c:v>Rolling Stdev (30 Minute)</c:v>
                  </c:pt>
                  <c:pt idx="885">
                    <c:v>Rolling Stdev (30 Minute)</c:v>
                  </c:pt>
                  <c:pt idx="886">
                    <c:v>Rolling Stdev (30 Minute)</c:v>
                  </c:pt>
                  <c:pt idx="887">
                    <c:v>Rolling Stdev (30 Minute)</c:v>
                  </c:pt>
                  <c:pt idx="888">
                    <c:v>Rolling Stdev (30 Minute)</c:v>
                  </c:pt>
                  <c:pt idx="889">
                    <c:v>Rolling Stdev (30 Minute)</c:v>
                  </c:pt>
                  <c:pt idx="890">
                    <c:v>Rolling Stdev (30 Minute)</c:v>
                  </c:pt>
                  <c:pt idx="891">
                    <c:v>Rolling Stdev (30 Minute)</c:v>
                  </c:pt>
                  <c:pt idx="892">
                    <c:v>Rolling Stdev (30 Minute)</c:v>
                  </c:pt>
                  <c:pt idx="893">
                    <c:v>Rolling Stdev (30 Minute)</c:v>
                  </c:pt>
                  <c:pt idx="894">
                    <c:v>Rolling Stdev (30 Minute)</c:v>
                  </c:pt>
                  <c:pt idx="895">
                    <c:v>Rolling Stdev (30 Minute)</c:v>
                  </c:pt>
                  <c:pt idx="896">
                    <c:v>Rolling Stdev (30 Minute)</c:v>
                  </c:pt>
                  <c:pt idx="897">
                    <c:v>Rolling Stdev (30 Minute)</c:v>
                  </c:pt>
                  <c:pt idx="898">
                    <c:v>Rolling Stdev (30 Minute)</c:v>
                  </c:pt>
                  <c:pt idx="899">
                    <c:v>Rolling Stdev (30 Minute)</c:v>
                  </c:pt>
                  <c:pt idx="900">
                    <c:v>Rolling Stdev (30 Minute)</c:v>
                  </c:pt>
                  <c:pt idx="901">
                    <c:v>Rolling Stdev (30 Minute)</c:v>
                  </c:pt>
                  <c:pt idx="902">
                    <c:v>Rolling Stdev (30 Minute)</c:v>
                  </c:pt>
                  <c:pt idx="903">
                    <c:v>Rolling Stdev (30 Minute)</c:v>
                  </c:pt>
                  <c:pt idx="904">
                    <c:v>Rolling Stdev (30 Minute)</c:v>
                  </c:pt>
                  <c:pt idx="905">
                    <c:v>Rolling Stdev (30 Minute)</c:v>
                  </c:pt>
                  <c:pt idx="906">
                    <c:v>Rolling Stdev (30 Minute)</c:v>
                  </c:pt>
                  <c:pt idx="907">
                    <c:v>Rolling Stdev (30 Minute)</c:v>
                  </c:pt>
                  <c:pt idx="908">
                    <c:v>Rolling Stdev (30 Minute)</c:v>
                  </c:pt>
                  <c:pt idx="909">
                    <c:v>Rolling Stdev (30 Minute)</c:v>
                  </c:pt>
                  <c:pt idx="910">
                    <c:v>Rolling Stdev (30 Minute)</c:v>
                  </c:pt>
                  <c:pt idx="911">
                    <c:v>Rolling Stdev (30 Minute)</c:v>
                  </c:pt>
                  <c:pt idx="912">
                    <c:v>Rolling Stdev (30 Minute)</c:v>
                  </c:pt>
                  <c:pt idx="913">
                    <c:v>Rolling Stdev (30 Minute)</c:v>
                  </c:pt>
                  <c:pt idx="914">
                    <c:v>Rolling Stdev (30 Minute)</c:v>
                  </c:pt>
                  <c:pt idx="915">
                    <c:v>Rolling Stdev (30 Minute)</c:v>
                  </c:pt>
                  <c:pt idx="916">
                    <c:v>Rolling Stdev (30 Minute)</c:v>
                  </c:pt>
                  <c:pt idx="917">
                    <c:v>Rolling Stdev (30 Minute)</c:v>
                  </c:pt>
                  <c:pt idx="918">
                    <c:v>Rolling Stdev (30 Minute)</c:v>
                  </c:pt>
                  <c:pt idx="919">
                    <c:v>Rolling Stdev (30 Minute)</c:v>
                  </c:pt>
                  <c:pt idx="920">
                    <c:v>Rolling Stdev (30 Minute)</c:v>
                  </c:pt>
                  <c:pt idx="921">
                    <c:v>Rolling Stdev (30 Minute)</c:v>
                  </c:pt>
                  <c:pt idx="922">
                    <c:v>Rolling Stdev (30 Minute)</c:v>
                  </c:pt>
                  <c:pt idx="923">
                    <c:v>Rolling Stdev (30 Minute)</c:v>
                  </c:pt>
                  <c:pt idx="924">
                    <c:v>Rolling Stdev (30 Minute)</c:v>
                  </c:pt>
                  <c:pt idx="925">
                    <c:v>Rolling Stdev (30 Minute)</c:v>
                  </c:pt>
                  <c:pt idx="926">
                    <c:v>Rolling Stdev (30 Minute)</c:v>
                  </c:pt>
                  <c:pt idx="927">
                    <c:v>Rolling Stdev (30 Minute)</c:v>
                  </c:pt>
                  <c:pt idx="928">
                    <c:v>Rolling Stdev (30 Minute)</c:v>
                  </c:pt>
                  <c:pt idx="929">
                    <c:v>Rolling Stdev (30 Minute)</c:v>
                  </c:pt>
                  <c:pt idx="930">
                    <c:v>Rolling Stdev (30 Minute)</c:v>
                  </c:pt>
                  <c:pt idx="931">
                    <c:v>Rolling Stdev (30 Minute)</c:v>
                  </c:pt>
                  <c:pt idx="932">
                    <c:v>Rolling Stdev (30 Minute)</c:v>
                  </c:pt>
                  <c:pt idx="933">
                    <c:v>Rolling Stdev (30 Minute)</c:v>
                  </c:pt>
                  <c:pt idx="934">
                    <c:v>Rolling Stdev (30 Minute)</c:v>
                  </c:pt>
                  <c:pt idx="935">
                    <c:v>Rolling Stdev (30 Minute)</c:v>
                  </c:pt>
                  <c:pt idx="936">
                    <c:v>Rolling Stdev (30 Minute)</c:v>
                  </c:pt>
                  <c:pt idx="937">
                    <c:v>Rolling Stdev (30 Minute)</c:v>
                  </c:pt>
                  <c:pt idx="938">
                    <c:v>Rolling Stdev (30 Minute)</c:v>
                  </c:pt>
                  <c:pt idx="939">
                    <c:v>Rolling Stdev (30 Minute)</c:v>
                  </c:pt>
                  <c:pt idx="940">
                    <c:v>Rolling Stdev (30 Minute)</c:v>
                  </c:pt>
                  <c:pt idx="941">
                    <c:v>Rolling Stdev (30 Minute)</c:v>
                  </c:pt>
                  <c:pt idx="942">
                    <c:v>Rolling Stdev (30 Minute)</c:v>
                  </c:pt>
                  <c:pt idx="943">
                    <c:v>Rolling Stdev (30 Minute)</c:v>
                  </c:pt>
                  <c:pt idx="944">
                    <c:v>Rolling Stdev (30 Minute)</c:v>
                  </c:pt>
                  <c:pt idx="945">
                    <c:v>Rolling Stdev (30 Minute)</c:v>
                  </c:pt>
                  <c:pt idx="946">
                    <c:v>Rolling Stdev (30 Minute)</c:v>
                  </c:pt>
                  <c:pt idx="947">
                    <c:v>Rolling Stdev (30 Minute)</c:v>
                  </c:pt>
                  <c:pt idx="948">
                    <c:v>Rolling Stdev (30 Minute)</c:v>
                  </c:pt>
                  <c:pt idx="949">
                    <c:v>Rolling Stdev (30 Minute)</c:v>
                  </c:pt>
                  <c:pt idx="950">
                    <c:v>Rolling Stdev (30 Minute)</c:v>
                  </c:pt>
                  <c:pt idx="951">
                    <c:v>Rolling Stdev (30 Minute)</c:v>
                  </c:pt>
                  <c:pt idx="952">
                    <c:v>Rolling Stdev (30 Minute)</c:v>
                  </c:pt>
                  <c:pt idx="953">
                    <c:v>Rolling Stdev (30 Minute)</c:v>
                  </c:pt>
                  <c:pt idx="954">
                    <c:v>Rolling Stdev (30 Minute)</c:v>
                  </c:pt>
                  <c:pt idx="955">
                    <c:v>Rolling Stdev (30 Minute)</c:v>
                  </c:pt>
                  <c:pt idx="956">
                    <c:v>Rolling Stdev (30 Minute)</c:v>
                  </c:pt>
                  <c:pt idx="957">
                    <c:v>Rolling Stdev (30 Minute)</c:v>
                  </c:pt>
                  <c:pt idx="958">
                    <c:v>Rolling Stdev (30 Minute)</c:v>
                  </c:pt>
                  <c:pt idx="959">
                    <c:v>Rolling Stdev (30 Minute)</c:v>
                  </c:pt>
                  <c:pt idx="960">
                    <c:v>Rolling Stdev (30 Minute)</c:v>
                  </c:pt>
                  <c:pt idx="961">
                    <c:v>Rolling Stdev (30 Minute)</c:v>
                  </c:pt>
                  <c:pt idx="962">
                    <c:v>Rolling Stdev (30 Minute)</c:v>
                  </c:pt>
                  <c:pt idx="963">
                    <c:v>Rolling Stdev (30 Minute)</c:v>
                  </c:pt>
                  <c:pt idx="964">
                    <c:v>Rolling Stdev (30 Minute)</c:v>
                  </c:pt>
                  <c:pt idx="965">
                    <c:v>Rolling Stdev (30 Minute)</c:v>
                  </c:pt>
                  <c:pt idx="966">
                    <c:v>Rolling Stdev (30 Minute)</c:v>
                  </c:pt>
                  <c:pt idx="967">
                    <c:v>Rolling Stdev (30 Minute)</c:v>
                  </c:pt>
                  <c:pt idx="968">
                    <c:v>Rolling Stdev (30 Minute)</c:v>
                  </c:pt>
                  <c:pt idx="969">
                    <c:v>Rolling Stdev (30 Minute)</c:v>
                  </c:pt>
                  <c:pt idx="970">
                    <c:v>Rolling Stdev (30 Minute)</c:v>
                  </c:pt>
                  <c:pt idx="971">
                    <c:v>Rolling Stdev (30 Minute)</c:v>
                  </c:pt>
                  <c:pt idx="972">
                    <c:v>Rolling Stdev (30 Minute)</c:v>
                  </c:pt>
                  <c:pt idx="973">
                    <c:v>Rolling Stdev (30 Minute)</c:v>
                  </c:pt>
                  <c:pt idx="974">
                    <c:v>Rolling Stdev (30 Minute)</c:v>
                  </c:pt>
                  <c:pt idx="975">
                    <c:v>Rolling Stdev (30 Minute)</c:v>
                  </c:pt>
                  <c:pt idx="976">
                    <c:v>Rolling Stdev (30 Minute)</c:v>
                  </c:pt>
                  <c:pt idx="977">
                    <c:v>Rolling Stdev (30 Minute)</c:v>
                  </c:pt>
                  <c:pt idx="978">
                    <c:v>Rolling Stdev (30 Minute)</c:v>
                  </c:pt>
                  <c:pt idx="979">
                    <c:v>Rolling Stdev (30 Minute)</c:v>
                  </c:pt>
                  <c:pt idx="980">
                    <c:v>Rolling Stdev (30 Minute)</c:v>
                  </c:pt>
                  <c:pt idx="981">
                    <c:v>Rolling Stdev (30 Minute)</c:v>
                  </c:pt>
                  <c:pt idx="982">
                    <c:v>Rolling Stdev (30 Minute)</c:v>
                  </c:pt>
                  <c:pt idx="983">
                    <c:v>Rolling Stdev (30 Minute)</c:v>
                  </c:pt>
                  <c:pt idx="984">
                    <c:v>Rolling Stdev (30 Minute)</c:v>
                  </c:pt>
                  <c:pt idx="985">
                    <c:v>Rolling Stdev (30 Minute)</c:v>
                  </c:pt>
                  <c:pt idx="986">
                    <c:v>Rolling Stdev (30 Minute)</c:v>
                  </c:pt>
                  <c:pt idx="987">
                    <c:v>Rolling Stdev (30 Minute)</c:v>
                  </c:pt>
                  <c:pt idx="988">
                    <c:v>Rolling Stdev (30 Minute)</c:v>
                  </c:pt>
                  <c:pt idx="989">
                    <c:v>Rolling Stdev (30 Minute)</c:v>
                  </c:pt>
                  <c:pt idx="990">
                    <c:v>Rolling Stdev (30 Minute)</c:v>
                  </c:pt>
                  <c:pt idx="991">
                    <c:v>Rolling Stdev (30 Minute)</c:v>
                  </c:pt>
                  <c:pt idx="992">
                    <c:v>Rolling Stdev (30 Minute)</c:v>
                  </c:pt>
                  <c:pt idx="993">
                    <c:v>Rolling Stdev (30 Minute)</c:v>
                  </c:pt>
                  <c:pt idx="994">
                    <c:v>Rolling Stdev (30 Minute)</c:v>
                  </c:pt>
                  <c:pt idx="995">
                    <c:v>Rolling Stdev (30 Minute)</c:v>
                  </c:pt>
                  <c:pt idx="996">
                    <c:v>Rolling Stdev (30 Minute)</c:v>
                  </c:pt>
                  <c:pt idx="997">
                    <c:v>Rolling Stdev (30 Minute)</c:v>
                  </c:pt>
                  <c:pt idx="998">
                    <c:v>Rolling Stdev (30 Minute)</c:v>
                  </c:pt>
                  <c:pt idx="999">
                    <c:v>Rolling Stdev (30 Minute)</c:v>
                  </c:pt>
                  <c:pt idx="1000">
                    <c:v>Rolling Stdev (30 Minute)</c:v>
                  </c:pt>
                  <c:pt idx="1001">
                    <c:v>Rolling Stdev (30 Minute)</c:v>
                  </c:pt>
                  <c:pt idx="1002">
                    <c:v>Rolling Stdev (30 Minute)</c:v>
                  </c:pt>
                  <c:pt idx="1003">
                    <c:v>Rolling Stdev (30 Minute)</c:v>
                  </c:pt>
                  <c:pt idx="1004">
                    <c:v>Rolling Stdev (30 Minute)</c:v>
                  </c:pt>
                  <c:pt idx="1005">
                    <c:v>Rolling Stdev (30 Minute)</c:v>
                  </c:pt>
                  <c:pt idx="1006">
                    <c:v>Rolling Stdev (30 Minute)</c:v>
                  </c:pt>
                  <c:pt idx="1007">
                    <c:v>Rolling Stdev (30 Minute)</c:v>
                  </c:pt>
                  <c:pt idx="1008">
                    <c:v>Rolling Stdev (30 Minute)</c:v>
                  </c:pt>
                  <c:pt idx="1009">
                    <c:v>Rolling Stdev (30 Minute)</c:v>
                  </c:pt>
                  <c:pt idx="1010">
                    <c:v>Rolling Stdev (30 Minute)</c:v>
                  </c:pt>
                  <c:pt idx="1011">
                    <c:v>Rolling Stdev (30 Minute)</c:v>
                  </c:pt>
                  <c:pt idx="1012">
                    <c:v>Rolling Stdev (30 Minute)</c:v>
                  </c:pt>
                  <c:pt idx="1013">
                    <c:v>Rolling Stdev (30 Minute)</c:v>
                  </c:pt>
                  <c:pt idx="1014">
                    <c:v>Rolling Stdev (30 Minute)</c:v>
                  </c:pt>
                  <c:pt idx="1015">
                    <c:v>Rolling Stdev (30 Minute)</c:v>
                  </c:pt>
                  <c:pt idx="1016">
                    <c:v>Rolling Stdev (30 Minute)</c:v>
                  </c:pt>
                  <c:pt idx="1017">
                    <c:v>Rolling Stdev (30 Minute)</c:v>
                  </c:pt>
                  <c:pt idx="1018">
                    <c:v>Rolling Stdev (30 Minute)</c:v>
                  </c:pt>
                  <c:pt idx="1019">
                    <c:v>Rolling Stdev (30 Minute)</c:v>
                  </c:pt>
                  <c:pt idx="1020">
                    <c:v>Rolling Stdev (30 Minute)</c:v>
                  </c:pt>
                  <c:pt idx="1021">
                    <c:v>Rolling Stdev (30 Minute)</c:v>
                  </c:pt>
                  <c:pt idx="1022">
                    <c:v>Rolling Stdev (30 Minute)</c:v>
                  </c:pt>
                  <c:pt idx="1023">
                    <c:v>Rolling Stdev (30 Minute)</c:v>
                  </c:pt>
                  <c:pt idx="1024">
                    <c:v>Rolling Stdev (30 Minute)</c:v>
                  </c:pt>
                  <c:pt idx="1025">
                    <c:v>Rolling Stdev (30 Minute)</c:v>
                  </c:pt>
                  <c:pt idx="1026">
                    <c:v>Rolling Stdev (30 Minute)</c:v>
                  </c:pt>
                  <c:pt idx="1027">
                    <c:v>Rolling Stdev (30 Minute)</c:v>
                  </c:pt>
                  <c:pt idx="1028">
                    <c:v>Rolling Stdev (30 Minute)</c:v>
                  </c:pt>
                  <c:pt idx="1029">
                    <c:v>Rolling Stdev (30 Minute)</c:v>
                  </c:pt>
                  <c:pt idx="1030">
                    <c:v>Rolling Stdev (30 Minute)</c:v>
                  </c:pt>
                  <c:pt idx="1031">
                    <c:v>Rolling Stdev (30 Minute)</c:v>
                  </c:pt>
                  <c:pt idx="1032">
                    <c:v>Rolling Stdev (30 Minute)</c:v>
                  </c:pt>
                  <c:pt idx="1033">
                    <c:v>Rolling Stdev (30 Minute)</c:v>
                  </c:pt>
                  <c:pt idx="1034">
                    <c:v>Rolling Stdev (30 Minute)</c:v>
                  </c:pt>
                  <c:pt idx="1035">
                    <c:v>Rolling Stdev (30 Minute)</c:v>
                  </c:pt>
                  <c:pt idx="1036">
                    <c:v>Rolling Stdev (30 Minute)</c:v>
                  </c:pt>
                  <c:pt idx="1037">
                    <c:v>Rolling Stdev (30 Minute)</c:v>
                  </c:pt>
                  <c:pt idx="1038">
                    <c:v>Rolling Stdev (30 Minute)</c:v>
                  </c:pt>
                  <c:pt idx="1039">
                    <c:v>Rolling Stdev (30 Minute)</c:v>
                  </c:pt>
                  <c:pt idx="1040">
                    <c:v>Rolling Stdev (30 Minute)</c:v>
                  </c:pt>
                  <c:pt idx="1041">
                    <c:v>Rolling Stdev (30 Minute)</c:v>
                  </c:pt>
                  <c:pt idx="1042">
                    <c:v>Rolling Stdev (30 Minute)</c:v>
                  </c:pt>
                  <c:pt idx="1043">
                    <c:v>Rolling Stdev (30 Minute)</c:v>
                  </c:pt>
                  <c:pt idx="1044">
                    <c:v>Rolling Stdev (30 Minute)</c:v>
                  </c:pt>
                  <c:pt idx="1045">
                    <c:v>Rolling Stdev (30 Minute)</c:v>
                  </c:pt>
                  <c:pt idx="1046">
                    <c:v>Rolling Stdev (30 Minute)</c:v>
                  </c:pt>
                  <c:pt idx="1047">
                    <c:v>Rolling Stdev (30 Minute)</c:v>
                  </c:pt>
                  <c:pt idx="1048">
                    <c:v>Rolling Stdev (30 Minute)</c:v>
                  </c:pt>
                  <c:pt idx="1049">
                    <c:v>Rolling Stdev (30 Minute)</c:v>
                  </c:pt>
                  <c:pt idx="1050">
                    <c:v>Rolling Stdev (30 Minute)</c:v>
                  </c:pt>
                  <c:pt idx="1051">
                    <c:v>Rolling Stdev (30 Minute)</c:v>
                  </c:pt>
                  <c:pt idx="1052">
                    <c:v>Rolling Stdev (30 Minute)</c:v>
                  </c:pt>
                  <c:pt idx="1053">
                    <c:v>Rolling Stdev (30 Minute)</c:v>
                  </c:pt>
                  <c:pt idx="1054">
                    <c:v>Rolling Stdev (30 Minute)</c:v>
                  </c:pt>
                  <c:pt idx="1055">
                    <c:v>Rolling Stdev (30 Minute)</c:v>
                  </c:pt>
                  <c:pt idx="1056">
                    <c:v>Rolling Stdev (30 Minute)</c:v>
                  </c:pt>
                  <c:pt idx="1057">
                    <c:v>Rolling Stdev (30 Minute)</c:v>
                  </c:pt>
                  <c:pt idx="1058">
                    <c:v>Rolling Stdev (30 Minute)</c:v>
                  </c:pt>
                  <c:pt idx="1059">
                    <c:v>Rolling Stdev (30 Minute)</c:v>
                  </c:pt>
                  <c:pt idx="1060">
                    <c:v>Rolling Stdev (30 Minute)</c:v>
                  </c:pt>
                  <c:pt idx="1061">
                    <c:v>Rolling Stdev (30 Minute)</c:v>
                  </c:pt>
                  <c:pt idx="1062">
                    <c:v>Rolling Stdev (30 Minute)</c:v>
                  </c:pt>
                  <c:pt idx="1063">
                    <c:v>Rolling Stdev (30 Minute)</c:v>
                  </c:pt>
                  <c:pt idx="1064">
                    <c:v>Rolling Stdev (30 Minute)</c:v>
                  </c:pt>
                  <c:pt idx="1065">
                    <c:v>Rolling Stdev (30 Minute)</c:v>
                  </c:pt>
                  <c:pt idx="1066">
                    <c:v>Rolling Stdev (30 Minute)</c:v>
                  </c:pt>
                  <c:pt idx="1067">
                    <c:v>Rolling Stdev (30 Minute)</c:v>
                  </c:pt>
                  <c:pt idx="1068">
                    <c:v>Rolling Stdev (30 Minute)</c:v>
                  </c:pt>
                  <c:pt idx="1069">
                    <c:v>Rolling Stdev (30 Minute)</c:v>
                  </c:pt>
                  <c:pt idx="1070">
                    <c:v>Rolling Stdev (30 Minute)</c:v>
                  </c:pt>
                  <c:pt idx="1071">
                    <c:v>Rolling Stdev (30 Minute)</c:v>
                  </c:pt>
                  <c:pt idx="1072">
                    <c:v>Rolling Stdev (30 Minute)</c:v>
                  </c:pt>
                  <c:pt idx="1073">
                    <c:v>Rolling Stdev (30 Minute)</c:v>
                  </c:pt>
                  <c:pt idx="1074">
                    <c:v>Rolling Stdev (30 Minute)</c:v>
                  </c:pt>
                  <c:pt idx="1075">
                    <c:v>Rolling Stdev (30 Minute)</c:v>
                  </c:pt>
                  <c:pt idx="1076">
                    <c:v>Rolling Stdev (30 Minute)</c:v>
                  </c:pt>
                  <c:pt idx="1077">
                    <c:v>Rolling Stdev (30 Minute)</c:v>
                  </c:pt>
                  <c:pt idx="1078">
                    <c:v>Rolling Stdev (30 Minute)</c:v>
                  </c:pt>
                  <c:pt idx="1079">
                    <c:v>Rolling Stdev (30 Minute)</c:v>
                  </c:pt>
                  <c:pt idx="1080">
                    <c:v>Rolling Stdev (30 Minute)</c:v>
                  </c:pt>
                  <c:pt idx="1081">
                    <c:v>Rolling Stdev (30 Minute)</c:v>
                  </c:pt>
                  <c:pt idx="1082">
                    <c:v>Rolling Stdev (30 Minute)</c:v>
                  </c:pt>
                  <c:pt idx="1083">
                    <c:v>Rolling Stdev (30 Minute)</c:v>
                  </c:pt>
                  <c:pt idx="1084">
                    <c:v>Rolling Stdev (30 Minute)</c:v>
                  </c:pt>
                  <c:pt idx="1085">
                    <c:v>Rolling Stdev (30 Minute)</c:v>
                  </c:pt>
                  <c:pt idx="1086">
                    <c:v>Rolling Stdev (30 Minute)</c:v>
                  </c:pt>
                  <c:pt idx="1087">
                    <c:v>Rolling Stdev (30 Minute)</c:v>
                  </c:pt>
                  <c:pt idx="1088">
                    <c:v>Rolling Stdev (30 Minute)</c:v>
                  </c:pt>
                  <c:pt idx="1089">
                    <c:v>Rolling Stdev (30 Minute)</c:v>
                  </c:pt>
                  <c:pt idx="1090">
                    <c:v>Rolling Stdev (30 Minute)</c:v>
                  </c:pt>
                  <c:pt idx="1091">
                    <c:v>Rolling Stdev (30 Minute)</c:v>
                  </c:pt>
                  <c:pt idx="1092">
                    <c:v>Rolling Stdev (30 Minute)</c:v>
                  </c:pt>
                  <c:pt idx="1093">
                    <c:v>Rolling Stdev (30 Minute)</c:v>
                  </c:pt>
                  <c:pt idx="1094">
                    <c:v>Rolling Stdev (30 Minute)</c:v>
                  </c:pt>
                  <c:pt idx="1095">
                    <c:v>Rolling Stdev (30 Minute)</c:v>
                  </c:pt>
                  <c:pt idx="1096">
                    <c:v>Rolling Stdev (30 Minute)</c:v>
                  </c:pt>
                  <c:pt idx="1097">
                    <c:v>Rolling Stdev (30 Minute)</c:v>
                  </c:pt>
                  <c:pt idx="1098">
                    <c:v>Rolling Stdev (30 Minute)</c:v>
                  </c:pt>
                  <c:pt idx="1099">
                    <c:v>Rolling Stdev (30 Minute)</c:v>
                  </c:pt>
                  <c:pt idx="1100">
                    <c:v>Rolling Stdev (30 Minute)</c:v>
                  </c:pt>
                  <c:pt idx="1101">
                    <c:v>Rolling Stdev (30 Minute)</c:v>
                  </c:pt>
                  <c:pt idx="1102">
                    <c:v>Rolling Stdev (30 Minute)</c:v>
                  </c:pt>
                  <c:pt idx="1103">
                    <c:v>Rolling Stdev (30 Minute)</c:v>
                  </c:pt>
                  <c:pt idx="1104">
                    <c:v>Rolling Stdev (30 Minute)</c:v>
                  </c:pt>
                  <c:pt idx="1105">
                    <c:v>Rolling Stdev (30 Minute)</c:v>
                  </c:pt>
                  <c:pt idx="1106">
                    <c:v>Rolling Stdev (30 Minute)</c:v>
                  </c:pt>
                  <c:pt idx="1107">
                    <c:v>Rolling Stdev (30 Minute)</c:v>
                  </c:pt>
                  <c:pt idx="1108">
                    <c:v>Rolling Stdev (30 Minute)</c:v>
                  </c:pt>
                  <c:pt idx="1109">
                    <c:v>Rolling Stdev (30 Minute)</c:v>
                  </c:pt>
                  <c:pt idx="1110">
                    <c:v>Rolling Stdev (30 Minute)</c:v>
                  </c:pt>
                  <c:pt idx="1111">
                    <c:v>Rolling Stdev (30 Minute)</c:v>
                  </c:pt>
                  <c:pt idx="1112">
                    <c:v>Rolling Stdev (30 Minute)</c:v>
                  </c:pt>
                  <c:pt idx="1113">
                    <c:v>Rolling Stdev (30 Minute)</c:v>
                  </c:pt>
                  <c:pt idx="1114">
                    <c:v>Rolling Stdev (30 Minute)</c:v>
                  </c:pt>
                  <c:pt idx="1115">
                    <c:v>Rolling Stdev (30 Minute)</c:v>
                  </c:pt>
                  <c:pt idx="1116">
                    <c:v>Rolling Stdev (30 Minute)</c:v>
                  </c:pt>
                  <c:pt idx="1117">
                    <c:v>Rolling Stdev (30 Minute)</c:v>
                  </c:pt>
                  <c:pt idx="1118">
                    <c:v>Rolling Stdev (30 Minute)</c:v>
                  </c:pt>
                  <c:pt idx="1119">
                    <c:v>Rolling Stdev (30 Minute)</c:v>
                  </c:pt>
                  <c:pt idx="1120">
                    <c:v>Rolling Stdev (30 Minute)</c:v>
                  </c:pt>
                  <c:pt idx="1121">
                    <c:v>Rolling Stdev (30 Minute)</c:v>
                  </c:pt>
                  <c:pt idx="1122">
                    <c:v>Rolling Stdev (30 Minute)</c:v>
                  </c:pt>
                  <c:pt idx="1123">
                    <c:v>Rolling Stdev (30 Minute)</c:v>
                  </c:pt>
                  <c:pt idx="1124">
                    <c:v>Rolling Stdev (30 Minute)</c:v>
                  </c:pt>
                  <c:pt idx="1125">
                    <c:v>Rolling Stdev (30 Minute)</c:v>
                  </c:pt>
                  <c:pt idx="1126">
                    <c:v>Rolling Stdev (30 Minute)</c:v>
                  </c:pt>
                  <c:pt idx="1127">
                    <c:v>Rolling Stdev (30 Minute)</c:v>
                  </c:pt>
                  <c:pt idx="1128">
                    <c:v>Rolling Stdev (30 Minute)</c:v>
                  </c:pt>
                  <c:pt idx="1129">
                    <c:v>Rolling Stdev (30 Minute)</c:v>
                  </c:pt>
                  <c:pt idx="1130">
                    <c:v>Rolling Stdev (30 Minute)</c:v>
                  </c:pt>
                  <c:pt idx="1131">
                    <c:v>Rolling Stdev (30 Minute)</c:v>
                  </c:pt>
                  <c:pt idx="1132">
                    <c:v>Rolling Stdev (30 Minute)</c:v>
                  </c:pt>
                  <c:pt idx="1133">
                    <c:v>Rolling Stdev (30 Minute)</c:v>
                  </c:pt>
                  <c:pt idx="1134">
                    <c:v>Rolling Stdev (30 Minute)</c:v>
                  </c:pt>
                  <c:pt idx="1135">
                    <c:v>Rolling Stdev (30 Minute)</c:v>
                  </c:pt>
                  <c:pt idx="1136">
                    <c:v>Rolling Stdev (30 Minute)</c:v>
                  </c:pt>
                  <c:pt idx="1137">
                    <c:v>Rolling Stdev (30 Minute)</c:v>
                  </c:pt>
                  <c:pt idx="1138">
                    <c:v>Rolling Stdev (30 Minute)</c:v>
                  </c:pt>
                  <c:pt idx="1139">
                    <c:v>Rolling Stdev (30 Minute)</c:v>
                  </c:pt>
                  <c:pt idx="1140">
                    <c:v>Rolling Stdev (30 Minute)</c:v>
                  </c:pt>
                  <c:pt idx="1141">
                    <c:v>Rolling Stdev (30 Minute)</c:v>
                  </c:pt>
                  <c:pt idx="1142">
                    <c:v>Rolling Stdev (30 Minute)</c:v>
                  </c:pt>
                  <c:pt idx="1143">
                    <c:v>Rolling Stdev (30 Minute)</c:v>
                  </c:pt>
                  <c:pt idx="1144">
                    <c:v>Rolling Stdev (30 Minute)</c:v>
                  </c:pt>
                  <c:pt idx="1145">
                    <c:v>Rolling Stdev (30 Minute)</c:v>
                  </c:pt>
                  <c:pt idx="1146">
                    <c:v>Rolling Stdev (30 Minute)</c:v>
                  </c:pt>
                  <c:pt idx="1147">
                    <c:v>Rolling Stdev (30 Minute)</c:v>
                  </c:pt>
                  <c:pt idx="1148">
                    <c:v>Rolling Stdev (30 Minute)</c:v>
                  </c:pt>
                  <c:pt idx="1149">
                    <c:v>Rolling Stdev (30 Minute)</c:v>
                  </c:pt>
                  <c:pt idx="1150">
                    <c:v>Rolling Stdev (30 Minute)</c:v>
                  </c:pt>
                  <c:pt idx="1151">
                    <c:v>Rolling Stdev (30 Minute)</c:v>
                  </c:pt>
                  <c:pt idx="1152">
                    <c:v>Rolling Stdev (30 Minute)</c:v>
                  </c:pt>
                  <c:pt idx="1153">
                    <c:v>Rolling Stdev (30 Minute)</c:v>
                  </c:pt>
                  <c:pt idx="1154">
                    <c:v>Rolling Stdev (30 Minute)</c:v>
                  </c:pt>
                  <c:pt idx="1155">
                    <c:v>Rolling Stdev (30 Minute)</c:v>
                  </c:pt>
                  <c:pt idx="1156">
                    <c:v>Rolling Stdev (30 Minute)</c:v>
                  </c:pt>
                  <c:pt idx="1157">
                    <c:v>Rolling Stdev (30 Minute)</c:v>
                  </c:pt>
                  <c:pt idx="1158">
                    <c:v>Rolling Stdev (30 Minute)</c:v>
                  </c:pt>
                  <c:pt idx="1159">
                    <c:v>Rolling Stdev (30 Minute)</c:v>
                  </c:pt>
                  <c:pt idx="1160">
                    <c:v>Rolling Stdev (30 Minute)</c:v>
                  </c:pt>
                  <c:pt idx="1161">
                    <c:v>Rolling Stdev (30 Minute)</c:v>
                  </c:pt>
                  <c:pt idx="1162">
                    <c:v>Rolling Stdev (30 Minute)</c:v>
                  </c:pt>
                  <c:pt idx="1163">
                    <c:v>Rolling Stdev (30 Minute)</c:v>
                  </c:pt>
                  <c:pt idx="1164">
                    <c:v>Rolling Stdev (30 Minute)</c:v>
                  </c:pt>
                  <c:pt idx="1165">
                    <c:v>Rolling Stdev (30 Minute)</c:v>
                  </c:pt>
                  <c:pt idx="1166">
                    <c:v>Rolling Stdev (30 Minute)</c:v>
                  </c:pt>
                  <c:pt idx="1167">
                    <c:v>Rolling Stdev (30 Minute)</c:v>
                  </c:pt>
                  <c:pt idx="1168">
                    <c:v>Rolling Stdev (30 Minute)</c:v>
                  </c:pt>
                  <c:pt idx="1169">
                    <c:v>Rolling Stdev (30 Minute)</c:v>
                  </c:pt>
                  <c:pt idx="1170">
                    <c:v>Rolling Stdev (30 Minute)</c:v>
                  </c:pt>
                  <c:pt idx="1171">
                    <c:v>Rolling Stdev (30 Minute)</c:v>
                  </c:pt>
                  <c:pt idx="1172">
                    <c:v>Rolling Stdev (30 Minute)</c:v>
                  </c:pt>
                  <c:pt idx="1173">
                    <c:v>Rolling Stdev (30 Minute)</c:v>
                  </c:pt>
                  <c:pt idx="1174">
                    <c:v>Rolling Stdev (30 Minute)</c:v>
                  </c:pt>
                  <c:pt idx="1175">
                    <c:v>Rolling Stdev (30 Minute)</c:v>
                  </c:pt>
                  <c:pt idx="1176">
                    <c:v>Rolling Stdev (30 Minute)</c:v>
                  </c:pt>
                  <c:pt idx="1177">
                    <c:v>Rolling Stdev (30 Minute)</c:v>
                  </c:pt>
                  <c:pt idx="1178">
                    <c:v>Rolling Stdev (30 Minute)</c:v>
                  </c:pt>
                  <c:pt idx="1179">
                    <c:v>Rolling Stdev (30 Minute)</c:v>
                  </c:pt>
                  <c:pt idx="1180">
                    <c:v>Rolling Stdev (30 Minute)</c:v>
                  </c:pt>
                  <c:pt idx="1181">
                    <c:v>Rolling Stdev (30 Minute)</c:v>
                  </c:pt>
                  <c:pt idx="1182">
                    <c:v>Rolling Stdev (30 Minute)</c:v>
                  </c:pt>
                  <c:pt idx="1183">
                    <c:v>Rolling Stdev (30 Minute)</c:v>
                  </c:pt>
                  <c:pt idx="1184">
                    <c:v>Rolling Stdev (30 Minute)</c:v>
                  </c:pt>
                  <c:pt idx="1185">
                    <c:v>Rolling Stdev (30 Minute)</c:v>
                  </c:pt>
                  <c:pt idx="1186">
                    <c:v>Rolling Stdev (30 Minute)</c:v>
                  </c:pt>
                  <c:pt idx="1187">
                    <c:v>Rolling Stdev (30 Minute)</c:v>
                  </c:pt>
                  <c:pt idx="1188">
                    <c:v>Rolling Stdev (30 Minute)</c:v>
                  </c:pt>
                  <c:pt idx="1189">
                    <c:v>Rolling Stdev (30 Minute)</c:v>
                  </c:pt>
                  <c:pt idx="1190">
                    <c:v>Rolling Stdev (30 Minute)</c:v>
                  </c:pt>
                  <c:pt idx="1191">
                    <c:v>Rolling Stdev (30 Minute)</c:v>
                  </c:pt>
                  <c:pt idx="1192">
                    <c:v>Rolling Stdev (30 Minute)</c:v>
                  </c:pt>
                  <c:pt idx="1193">
                    <c:v>Rolling Stdev (30 Minute)</c:v>
                  </c:pt>
                  <c:pt idx="1194">
                    <c:v>Rolling Stdev (30 Minute)</c:v>
                  </c:pt>
                  <c:pt idx="1195">
                    <c:v>Rolling Stdev (30 Minute)</c:v>
                  </c:pt>
                  <c:pt idx="1196">
                    <c:v>Rolling Stdev (30 Minute)</c:v>
                  </c:pt>
                  <c:pt idx="1197">
                    <c:v>Rolling Stdev (30 Minute)</c:v>
                  </c:pt>
                  <c:pt idx="1198">
                    <c:v>Rolling Stdev (30 Minute)</c:v>
                  </c:pt>
                  <c:pt idx="1199">
                    <c:v>Rolling Stdev (30 Minute)</c:v>
                  </c:pt>
                  <c:pt idx="1200">
                    <c:v>Rolling Stdev (30 Minute)</c:v>
                  </c:pt>
                  <c:pt idx="1201">
                    <c:v>Rolling Stdev (30 Minute)</c:v>
                  </c:pt>
                  <c:pt idx="1202">
                    <c:v>Rolling Stdev (30 Minute)</c:v>
                  </c:pt>
                  <c:pt idx="1203">
                    <c:v>Rolling Stdev (30 Minute)</c:v>
                  </c:pt>
                  <c:pt idx="1204">
                    <c:v>Rolling Stdev (30 Minute)</c:v>
                  </c:pt>
                  <c:pt idx="1205">
                    <c:v>Rolling Stdev (30 Minute)</c:v>
                  </c:pt>
                  <c:pt idx="1206">
                    <c:v>Rolling Stdev (30 Minute)</c:v>
                  </c:pt>
                  <c:pt idx="1207">
                    <c:v>Rolling Stdev (30 Minute)</c:v>
                  </c:pt>
                  <c:pt idx="1208">
                    <c:v>Rolling Stdev (30 Minute)</c:v>
                  </c:pt>
                  <c:pt idx="1209">
                    <c:v>Rolling Stdev (30 Minute)</c:v>
                  </c:pt>
                  <c:pt idx="1210">
                    <c:v>Rolling Stdev (30 Minute)</c:v>
                  </c:pt>
                  <c:pt idx="1211">
                    <c:v>Rolling Stdev (30 Minute)</c:v>
                  </c:pt>
                  <c:pt idx="1212">
                    <c:v>Rolling Stdev (30 Minute)</c:v>
                  </c:pt>
                  <c:pt idx="1213">
                    <c:v>Rolling Stdev (30 Minute)</c:v>
                  </c:pt>
                  <c:pt idx="1214">
                    <c:v>Rolling Stdev (30 Minute)</c:v>
                  </c:pt>
                  <c:pt idx="1215">
                    <c:v>Rolling Stdev (30 Minute)</c:v>
                  </c:pt>
                  <c:pt idx="1216">
                    <c:v>Rolling Stdev (30 Minute)</c:v>
                  </c:pt>
                  <c:pt idx="1217">
                    <c:v>Rolling Stdev (30 Minute)</c:v>
                  </c:pt>
                  <c:pt idx="1218">
                    <c:v>Rolling Stdev (30 Minute)</c:v>
                  </c:pt>
                  <c:pt idx="1219">
                    <c:v>Rolling Stdev (30 Minute)</c:v>
                  </c:pt>
                  <c:pt idx="1220">
                    <c:v>Rolling Stdev (30 Minute)</c:v>
                  </c:pt>
                  <c:pt idx="1221">
                    <c:v>Rolling Stdev (30 Minute)</c:v>
                  </c:pt>
                  <c:pt idx="1222">
                    <c:v>Rolling Stdev (30 Minute)</c:v>
                  </c:pt>
                  <c:pt idx="1223">
                    <c:v>Rolling Stdev (30 Minute)</c:v>
                  </c:pt>
                  <c:pt idx="1224">
                    <c:v>Rolling Stdev (30 Minute)</c:v>
                  </c:pt>
                  <c:pt idx="1225">
                    <c:v>Rolling Stdev (30 Minute)</c:v>
                  </c:pt>
                  <c:pt idx="1226">
                    <c:v>Rolling Stdev (30 Minute)</c:v>
                  </c:pt>
                  <c:pt idx="1227">
                    <c:v>Rolling Stdev (30 Minute)</c:v>
                  </c:pt>
                  <c:pt idx="1228">
                    <c:v>Rolling Stdev (30 Minute)</c:v>
                  </c:pt>
                  <c:pt idx="1229">
                    <c:v>Rolling Stdev (30 Minute)</c:v>
                  </c:pt>
                  <c:pt idx="1230">
                    <c:v>Rolling Stdev (30 Minute)</c:v>
                  </c:pt>
                  <c:pt idx="1231">
                    <c:v>Rolling Stdev (30 Minute)</c:v>
                  </c:pt>
                  <c:pt idx="1232">
                    <c:v>Rolling Stdev (30 Minute)</c:v>
                  </c:pt>
                  <c:pt idx="1233">
                    <c:v>Rolling Stdev (30 Minute)</c:v>
                  </c:pt>
                  <c:pt idx="1234">
                    <c:v>Rolling Stdev (30 Minute)</c:v>
                  </c:pt>
                  <c:pt idx="1235">
                    <c:v>Rolling Stdev (30 Minute)</c:v>
                  </c:pt>
                  <c:pt idx="1236">
                    <c:v>Rolling Stdev (30 Minute)</c:v>
                  </c:pt>
                  <c:pt idx="1237">
                    <c:v>Rolling Stdev (30 Minute)</c:v>
                  </c:pt>
                  <c:pt idx="1238">
                    <c:v>Rolling Stdev (30 Minute)</c:v>
                  </c:pt>
                  <c:pt idx="1239">
                    <c:v>Rolling Stdev (30 Minute)</c:v>
                  </c:pt>
                  <c:pt idx="1240">
                    <c:v>Rolling Stdev (30 Minute)</c:v>
                  </c:pt>
                  <c:pt idx="1241">
                    <c:v>Rolling Stdev (30 Minute)</c:v>
                  </c:pt>
                  <c:pt idx="1242">
                    <c:v>Rolling Stdev (30 Minute)</c:v>
                  </c:pt>
                  <c:pt idx="1243">
                    <c:v>Rolling Stdev (30 Minute)</c:v>
                  </c:pt>
                  <c:pt idx="1244">
                    <c:v>Rolling Stdev (30 Minute)</c:v>
                  </c:pt>
                  <c:pt idx="1245">
                    <c:v>Rolling Stdev (30 Minute)</c:v>
                  </c:pt>
                  <c:pt idx="1246">
                    <c:v>Rolling Stdev (30 Minute)</c:v>
                  </c:pt>
                  <c:pt idx="1247">
                    <c:v>Rolling Stdev (30 Minute)</c:v>
                  </c:pt>
                  <c:pt idx="1248">
                    <c:v>Rolling Stdev (30 Minute)</c:v>
                  </c:pt>
                  <c:pt idx="1249">
                    <c:v>Rolling Stdev (30 Minute)</c:v>
                  </c:pt>
                  <c:pt idx="1250">
                    <c:v>Rolling Stdev (30 Minute)</c:v>
                  </c:pt>
                  <c:pt idx="1251">
                    <c:v>Rolling Stdev (30 Minute)</c:v>
                  </c:pt>
                  <c:pt idx="1252">
                    <c:v>Rolling Stdev (30 Minute)</c:v>
                  </c:pt>
                  <c:pt idx="1253">
                    <c:v>Rolling Stdev (30 Minute)</c:v>
                  </c:pt>
                  <c:pt idx="1254">
                    <c:v>Rolling Stdev (30 Minute)</c:v>
                  </c:pt>
                  <c:pt idx="1255">
                    <c:v>Rolling Stdev (30 Minute)</c:v>
                  </c:pt>
                  <c:pt idx="1256">
                    <c:v>Rolling Stdev (30 Minute)</c:v>
                  </c:pt>
                  <c:pt idx="1257">
                    <c:v>Rolling Stdev (30 Minute)</c:v>
                  </c:pt>
                  <c:pt idx="1258">
                    <c:v>Rolling Stdev (30 Minute)</c:v>
                  </c:pt>
                  <c:pt idx="1259">
                    <c:v>Rolling Stdev (30 Minute)</c:v>
                  </c:pt>
                  <c:pt idx="1260">
                    <c:v>Rolling Stdev (30 Minute)</c:v>
                  </c:pt>
                  <c:pt idx="1261">
                    <c:v>Rolling Stdev (30 Minute)</c:v>
                  </c:pt>
                  <c:pt idx="1262">
                    <c:v>Rolling Stdev (30 Minute)</c:v>
                  </c:pt>
                  <c:pt idx="1263">
                    <c:v>Rolling Stdev (30 Minute)</c:v>
                  </c:pt>
                  <c:pt idx="1264">
                    <c:v>Rolling Stdev (30 Minute)</c:v>
                  </c:pt>
                  <c:pt idx="1265">
                    <c:v>Rolling Stdev (30 Minute)</c:v>
                  </c:pt>
                  <c:pt idx="1266">
                    <c:v>Rolling Stdev (30 Minute)</c:v>
                  </c:pt>
                  <c:pt idx="1267">
                    <c:v>Rolling Stdev (30 Minute)</c:v>
                  </c:pt>
                  <c:pt idx="1268">
                    <c:v>Rolling Stdev (30 Minute)</c:v>
                  </c:pt>
                  <c:pt idx="1269">
                    <c:v>Rolling Stdev (30 Minute)</c:v>
                  </c:pt>
                  <c:pt idx="1270">
                    <c:v>Rolling Stdev (30 Minute)</c:v>
                  </c:pt>
                  <c:pt idx="1271">
                    <c:v>Rolling Stdev (30 Minute)</c:v>
                  </c:pt>
                  <c:pt idx="1272">
                    <c:v>Rolling Stdev (30 Minute)</c:v>
                  </c:pt>
                  <c:pt idx="1273">
                    <c:v>Rolling Stdev (30 Minute)</c:v>
                  </c:pt>
                  <c:pt idx="1274">
                    <c:v>Rolling Stdev (30 Minute)</c:v>
                  </c:pt>
                  <c:pt idx="1275">
                    <c:v>Rolling Stdev (30 Minute)</c:v>
                  </c:pt>
                  <c:pt idx="1276">
                    <c:v>Rolling Stdev (30 Minute)</c:v>
                  </c:pt>
                  <c:pt idx="1277">
                    <c:v>Rolling Stdev (30 Minute)</c:v>
                  </c:pt>
                  <c:pt idx="1278">
                    <c:v>Rolling Stdev (30 Minute)</c:v>
                  </c:pt>
                  <c:pt idx="1279">
                    <c:v>Rolling Stdev (30 Minute)</c:v>
                  </c:pt>
                  <c:pt idx="1280">
                    <c:v>Rolling Stdev (30 Minute)</c:v>
                  </c:pt>
                  <c:pt idx="1281">
                    <c:v>Rolling Stdev (30 Minute)</c:v>
                  </c:pt>
                  <c:pt idx="1282">
                    <c:v>Rolling Stdev (30 Minute)</c:v>
                  </c:pt>
                  <c:pt idx="1283">
                    <c:v>Rolling Stdev (30 Minute)</c:v>
                  </c:pt>
                  <c:pt idx="1284">
                    <c:v>Rolling Stdev (30 Minute)</c:v>
                  </c:pt>
                  <c:pt idx="1285">
                    <c:v>Rolling Stdev (30 Minute)</c:v>
                  </c:pt>
                  <c:pt idx="1286">
                    <c:v>Rolling Stdev (30 Minute)</c:v>
                  </c:pt>
                  <c:pt idx="1287">
                    <c:v>Rolling Stdev (30 Minute)</c:v>
                  </c:pt>
                  <c:pt idx="1288">
                    <c:v>Rolling Stdev (30 Minute)</c:v>
                  </c:pt>
                  <c:pt idx="1289">
                    <c:v>Rolling Stdev (30 Minute)</c:v>
                  </c:pt>
                  <c:pt idx="1290">
                    <c:v>Rolling Stdev (30 Minute)</c:v>
                  </c:pt>
                  <c:pt idx="1291">
                    <c:v>Rolling Stdev (30 Minute)</c:v>
                  </c:pt>
                  <c:pt idx="1292">
                    <c:v>Rolling Stdev (30 Minute)</c:v>
                  </c:pt>
                  <c:pt idx="1293">
                    <c:v>Rolling Stdev (30 Minute)</c:v>
                  </c:pt>
                  <c:pt idx="1294">
                    <c:v>Rolling Stdev (30 Minute)</c:v>
                  </c:pt>
                  <c:pt idx="1295">
                    <c:v>Rolling Stdev (30 Minute)</c:v>
                  </c:pt>
                  <c:pt idx="1296">
                    <c:v>Rolling Stdev (30 Minute)</c:v>
                  </c:pt>
                  <c:pt idx="1297">
                    <c:v>Rolling Stdev (30 Minute)</c:v>
                  </c:pt>
                  <c:pt idx="1298">
                    <c:v>Rolling Stdev (30 Minute)</c:v>
                  </c:pt>
                  <c:pt idx="1299">
                    <c:v>Rolling Stdev (30 Minute)</c:v>
                  </c:pt>
                  <c:pt idx="1300">
                    <c:v>Rolling Stdev (30 Minute)</c:v>
                  </c:pt>
                  <c:pt idx="1301">
                    <c:v>Rolling Stdev (30 Minute)</c:v>
                  </c:pt>
                  <c:pt idx="1302">
                    <c:v>Rolling Stdev (30 Minute)</c:v>
                  </c:pt>
                  <c:pt idx="1303">
                    <c:v>Rolling Stdev (30 Minute)</c:v>
                  </c:pt>
                  <c:pt idx="1304">
                    <c:v>Rolling Stdev (30 Minute)</c:v>
                  </c:pt>
                  <c:pt idx="1305">
                    <c:v>Rolling Stdev (30 Minute)</c:v>
                  </c:pt>
                  <c:pt idx="1306">
                    <c:v>Rolling Stdev (30 Minute)</c:v>
                  </c:pt>
                  <c:pt idx="1307">
                    <c:v>Rolling Stdev (30 Minute)</c:v>
                  </c:pt>
                  <c:pt idx="1308">
                    <c:v>Rolling Stdev (30 Minute)</c:v>
                  </c:pt>
                  <c:pt idx="1309">
                    <c:v>Rolling Stdev (30 Minute)</c:v>
                  </c:pt>
                  <c:pt idx="1310">
                    <c:v>Rolling Stdev (30 Minute)</c:v>
                  </c:pt>
                  <c:pt idx="1311">
                    <c:v>Rolling Stdev (30 Minute)</c:v>
                  </c:pt>
                  <c:pt idx="1312">
                    <c:v>Rolling Stdev (30 Minute)</c:v>
                  </c:pt>
                  <c:pt idx="1313">
                    <c:v>Rolling Stdev (30 Minute)</c:v>
                  </c:pt>
                  <c:pt idx="1314">
                    <c:v>Rolling Stdev (30 Minute)</c:v>
                  </c:pt>
                  <c:pt idx="1315">
                    <c:v>Rolling Stdev (30 Minute)</c:v>
                  </c:pt>
                  <c:pt idx="1316">
                    <c:v>Rolling Stdev (30 Minute)</c:v>
                  </c:pt>
                  <c:pt idx="1317">
                    <c:v>Rolling Stdev (30 Minute)</c:v>
                  </c:pt>
                  <c:pt idx="1318">
                    <c:v>Rolling Stdev (30 Minute)</c:v>
                  </c:pt>
                  <c:pt idx="1319">
                    <c:v>Rolling Stdev (30 Minute)</c:v>
                  </c:pt>
                  <c:pt idx="1320">
                    <c:v>Rolling Stdev (30 Minute)</c:v>
                  </c:pt>
                  <c:pt idx="1321">
                    <c:v>Rolling Stdev (30 Minute)</c:v>
                  </c:pt>
                  <c:pt idx="1322">
                    <c:v>Rolling Stdev (30 Minute)</c:v>
                  </c:pt>
                  <c:pt idx="1323">
                    <c:v>Rolling Stdev (30 Minute)</c:v>
                  </c:pt>
                  <c:pt idx="1324">
                    <c:v>Rolling Stdev (30 Minute)</c:v>
                  </c:pt>
                  <c:pt idx="1325">
                    <c:v>Rolling Stdev (30 Minute)</c:v>
                  </c:pt>
                  <c:pt idx="1326">
                    <c:v>Rolling Stdev (30 Minute)</c:v>
                  </c:pt>
                  <c:pt idx="1327">
                    <c:v>Rolling Stdev (30 Minute)</c:v>
                  </c:pt>
                  <c:pt idx="1328">
                    <c:v>Rolling Stdev (30 Minute)</c:v>
                  </c:pt>
                  <c:pt idx="1329">
                    <c:v>Rolling Stdev (30 Minute)</c:v>
                  </c:pt>
                  <c:pt idx="1330">
                    <c:v>Rolling Stdev (30 Minute)</c:v>
                  </c:pt>
                  <c:pt idx="1331">
                    <c:v>Rolling Stdev (30 Minute)</c:v>
                  </c:pt>
                  <c:pt idx="1332">
                    <c:v>Rolling Stdev (30 Minute)</c:v>
                  </c:pt>
                  <c:pt idx="1333">
                    <c:v>Rolling Stdev (30 Minute)</c:v>
                  </c:pt>
                  <c:pt idx="1334">
                    <c:v>Rolling Stdev (30 Minute)</c:v>
                  </c:pt>
                  <c:pt idx="1335">
                    <c:v>Rolling Stdev (30 Minute)</c:v>
                  </c:pt>
                  <c:pt idx="1336">
                    <c:v>Rolling Stdev (30 Minute)</c:v>
                  </c:pt>
                  <c:pt idx="1337">
                    <c:v>Rolling Stdev (30 Minute)</c:v>
                  </c:pt>
                  <c:pt idx="1338">
                    <c:v>Rolling Stdev (30 Minute)</c:v>
                  </c:pt>
                  <c:pt idx="1339">
                    <c:v>Rolling Stdev (30 Minute)</c:v>
                  </c:pt>
                  <c:pt idx="1340">
                    <c:v>Rolling Stdev (30 Minute)</c:v>
                  </c:pt>
                  <c:pt idx="1341">
                    <c:v>Rolling Stdev (30 Minute)</c:v>
                  </c:pt>
                  <c:pt idx="1342">
                    <c:v>Rolling Stdev (30 Minute)</c:v>
                  </c:pt>
                  <c:pt idx="1343">
                    <c:v>Rolling Stdev (30 Minute)</c:v>
                  </c:pt>
                  <c:pt idx="1344">
                    <c:v>Rolling Stdev (30 Minute)</c:v>
                  </c:pt>
                  <c:pt idx="1345">
                    <c:v>Rolling Stdev (30 Minute)</c:v>
                  </c:pt>
                  <c:pt idx="1346">
                    <c:v>Rolling Stdev (30 Minute)</c:v>
                  </c:pt>
                  <c:pt idx="1347">
                    <c:v>Rolling Stdev (30 Minute)</c:v>
                  </c:pt>
                  <c:pt idx="1348">
                    <c:v>Rolling Stdev (30 Minute)</c:v>
                  </c:pt>
                  <c:pt idx="1349">
                    <c:v>Rolling Stdev (30 Minute)</c:v>
                  </c:pt>
                  <c:pt idx="1350">
                    <c:v>Rolling Stdev (30 Minute)</c:v>
                  </c:pt>
                  <c:pt idx="1351">
                    <c:v>Rolling Stdev (30 Minute)</c:v>
                  </c:pt>
                  <c:pt idx="1352">
                    <c:v>Rolling Stdev (30 Minute)</c:v>
                  </c:pt>
                  <c:pt idx="1353">
                    <c:v>Rolling Stdev (30 Minute)</c:v>
                  </c:pt>
                  <c:pt idx="1354">
                    <c:v>Rolling Stdev (30 Minute)</c:v>
                  </c:pt>
                  <c:pt idx="1355">
                    <c:v>Rolling Stdev (30 Minute)</c:v>
                  </c:pt>
                  <c:pt idx="1356">
                    <c:v>Rolling Stdev (30 Minute)</c:v>
                  </c:pt>
                  <c:pt idx="1357">
                    <c:v>Rolling Stdev (30 Minute)</c:v>
                  </c:pt>
                  <c:pt idx="1358">
                    <c:v>Rolling Stdev (30 Minute)</c:v>
                  </c:pt>
                  <c:pt idx="1359">
                    <c:v>Rolling Stdev (30 Minute)</c:v>
                  </c:pt>
                  <c:pt idx="1360">
                    <c:v>Rolling Stdev (30 Minute)</c:v>
                  </c:pt>
                  <c:pt idx="1361">
                    <c:v>Rolling Stdev (30 Minute)</c:v>
                  </c:pt>
                  <c:pt idx="1362">
                    <c:v>Rolling Stdev (30 Minute)</c:v>
                  </c:pt>
                  <c:pt idx="1363">
                    <c:v>Rolling Stdev (30 Minute)</c:v>
                  </c:pt>
                  <c:pt idx="1364">
                    <c:v>Rolling Stdev (30 Minute)</c:v>
                  </c:pt>
                  <c:pt idx="1365">
                    <c:v>Rolling Stdev (30 Minute)</c:v>
                  </c:pt>
                  <c:pt idx="1366">
                    <c:v>Rolling Stdev (30 Minute)</c:v>
                  </c:pt>
                  <c:pt idx="1367">
                    <c:v>Rolling Stdev (30 Minute)</c:v>
                  </c:pt>
                  <c:pt idx="1368">
                    <c:v>Rolling Stdev (30 Minute)</c:v>
                  </c:pt>
                  <c:pt idx="1369">
                    <c:v>Rolling Stdev (30 Minute)</c:v>
                  </c:pt>
                  <c:pt idx="1370">
                    <c:v>Rolling Stdev (30 Minute)</c:v>
                  </c:pt>
                  <c:pt idx="1371">
                    <c:v>Rolling Stdev (30 Minute)</c:v>
                  </c:pt>
                  <c:pt idx="1372">
                    <c:v>Rolling Stdev (30 Minute)</c:v>
                  </c:pt>
                  <c:pt idx="1373">
                    <c:v>Rolling Stdev (30 Minute)</c:v>
                  </c:pt>
                  <c:pt idx="1374">
                    <c:v>Rolling Stdev (30 Minute)</c:v>
                  </c:pt>
                  <c:pt idx="1375">
                    <c:v>Rolling Stdev (30 Minute)</c:v>
                  </c:pt>
                  <c:pt idx="1376">
                    <c:v>Rolling Stdev (30 Minute)</c:v>
                  </c:pt>
                  <c:pt idx="1377">
                    <c:v>Rolling Stdev (30 Minute)</c:v>
                  </c:pt>
                  <c:pt idx="1378">
                    <c:v>Rolling Stdev (30 Minute)</c:v>
                  </c:pt>
                  <c:pt idx="1379">
                    <c:v>Rolling Stdev (30 Minute)</c:v>
                  </c:pt>
                  <c:pt idx="1380">
                    <c:v>Rolling Stdev (30 Minute)</c:v>
                  </c:pt>
                  <c:pt idx="1381">
                    <c:v>Rolling Stdev (30 Minute)</c:v>
                  </c:pt>
                  <c:pt idx="1382">
                    <c:v>Rolling Stdev (30 Minute)</c:v>
                  </c:pt>
                  <c:pt idx="1383">
                    <c:v>Rolling Stdev (30 Minute)</c:v>
                  </c:pt>
                  <c:pt idx="1384">
                    <c:v>Rolling Stdev (30 Minute)</c:v>
                  </c:pt>
                  <c:pt idx="1385">
                    <c:v>Rolling Stdev (30 Minute)</c:v>
                  </c:pt>
                  <c:pt idx="1386">
                    <c:v>Rolling Stdev (30 Minute)</c:v>
                  </c:pt>
                  <c:pt idx="1387">
                    <c:v>Rolling Stdev (30 Minute)</c:v>
                  </c:pt>
                  <c:pt idx="1388">
                    <c:v>Rolling Stdev (30 Minute)</c:v>
                  </c:pt>
                  <c:pt idx="1389">
                    <c:v>Rolling Stdev (30 Minute)</c:v>
                  </c:pt>
                  <c:pt idx="1390">
                    <c:v>Rolling Stdev (30 Minute)</c:v>
                  </c:pt>
                  <c:pt idx="1391">
                    <c:v>Rolling Stdev (30 Minute)</c:v>
                  </c:pt>
                  <c:pt idx="1392">
                    <c:v>Rolling Stdev (30 Minute)</c:v>
                  </c:pt>
                  <c:pt idx="1393">
                    <c:v>Rolling Stdev (30 Minute)</c:v>
                  </c:pt>
                  <c:pt idx="1394">
                    <c:v>Rolling Stdev (30 Minute)</c:v>
                  </c:pt>
                  <c:pt idx="1395">
                    <c:v>Rolling Stdev (30 Minute)</c:v>
                  </c:pt>
                  <c:pt idx="1396">
                    <c:v>Rolling Stdev (30 Minute)</c:v>
                  </c:pt>
                  <c:pt idx="1397">
                    <c:v>Rolling Stdev (30 Minute)</c:v>
                  </c:pt>
                  <c:pt idx="1398">
                    <c:v>Rolling Stdev (30 Minute)</c:v>
                  </c:pt>
                  <c:pt idx="1399">
                    <c:v>Rolling Stdev (30 Minute)</c:v>
                  </c:pt>
                  <c:pt idx="1400">
                    <c:v>Rolling Stdev (30 Minute)</c:v>
                  </c:pt>
                  <c:pt idx="1401">
                    <c:v>Rolling Stdev (30 Minute)</c:v>
                  </c:pt>
                  <c:pt idx="1402">
                    <c:v>Rolling Stdev (30 Minute)</c:v>
                  </c:pt>
                  <c:pt idx="1403">
                    <c:v>Rolling Stdev (30 Minute)</c:v>
                  </c:pt>
                  <c:pt idx="1404">
                    <c:v>Rolling Stdev (30 Minute)</c:v>
                  </c:pt>
                  <c:pt idx="1405">
                    <c:v>Rolling Stdev (30 Minute)</c:v>
                  </c:pt>
                  <c:pt idx="1406">
                    <c:v>Rolling Stdev (30 Minute)</c:v>
                  </c:pt>
                  <c:pt idx="1407">
                    <c:v>Rolling Stdev (30 Minute)</c:v>
                  </c:pt>
                  <c:pt idx="1408">
                    <c:v>Rolling Stdev (30 Minute)</c:v>
                  </c:pt>
                  <c:pt idx="1409">
                    <c:v>Rolling Stdev (30 Minute)</c:v>
                  </c:pt>
                  <c:pt idx="1410">
                    <c:v>Rolling Stdev (30 Minute)</c:v>
                  </c:pt>
                  <c:pt idx="1411">
                    <c:v>Rolling Stdev (30 Minute)</c:v>
                  </c:pt>
                  <c:pt idx="1412">
                    <c:v>Rolling Stdev (30 Minute)</c:v>
                  </c:pt>
                  <c:pt idx="1413">
                    <c:v>Rolling Stdev (30 Minute)</c:v>
                  </c:pt>
                  <c:pt idx="1414">
                    <c:v>Rolling Stdev (30 Minute)</c:v>
                  </c:pt>
                  <c:pt idx="1415">
                    <c:v>Rolling Stdev (30 Minute)</c:v>
                  </c:pt>
                  <c:pt idx="1416">
                    <c:v>Rolling Stdev (30 Minute)</c:v>
                  </c:pt>
                  <c:pt idx="1417">
                    <c:v>Rolling Stdev (30 Minute)</c:v>
                  </c:pt>
                  <c:pt idx="1418">
                    <c:v>Rolling Stdev (30 Minute)</c:v>
                  </c:pt>
                  <c:pt idx="1419">
                    <c:v>Rolling Stdev (30 Minute)</c:v>
                  </c:pt>
                  <c:pt idx="1420">
                    <c:v>Rolling Stdev (30 Minute)</c:v>
                  </c:pt>
                  <c:pt idx="1421">
                    <c:v>Rolling Stdev (30 Minute)</c:v>
                  </c:pt>
                  <c:pt idx="1422">
                    <c:v>Rolling Stdev (30 Minute)</c:v>
                  </c:pt>
                  <c:pt idx="1423">
                    <c:v>Rolling Stdev (30 Minute)</c:v>
                  </c:pt>
                  <c:pt idx="1424">
                    <c:v>Rolling Stdev (30 Minute)</c:v>
                  </c:pt>
                  <c:pt idx="1425">
                    <c:v>Rolling Stdev (30 Minute)</c:v>
                  </c:pt>
                  <c:pt idx="1426">
                    <c:v>Rolling Stdev (30 Minute)</c:v>
                  </c:pt>
                  <c:pt idx="1427">
                    <c:v>Rolling Stdev (30 Minute)</c:v>
                  </c:pt>
                  <c:pt idx="1428">
                    <c:v>Rolling Stdev (30 Minute)</c:v>
                  </c:pt>
                  <c:pt idx="1429">
                    <c:v>Rolling Stdev (30 Minute)</c:v>
                  </c:pt>
                  <c:pt idx="1430">
                    <c:v>Rolling Stdev (30 Minute)</c:v>
                  </c:pt>
                  <c:pt idx="1431">
                    <c:v>Rolling Stdev (30 Minute)</c:v>
                  </c:pt>
                  <c:pt idx="1432">
                    <c:v>Rolling Stdev (30 Minute)</c:v>
                  </c:pt>
                  <c:pt idx="1433">
                    <c:v>Rolling Stdev (30 Minute)</c:v>
                  </c:pt>
                  <c:pt idx="1434">
                    <c:v>Rolling Stdev (30 Minute)</c:v>
                  </c:pt>
                  <c:pt idx="1435">
                    <c:v>Rolling Stdev (30 Minute)</c:v>
                  </c:pt>
                  <c:pt idx="1436">
                    <c:v>Rolling Stdev (30 Minute)</c:v>
                  </c:pt>
                  <c:pt idx="1437">
                    <c:v>Rolling Stdev (30 Minute)</c:v>
                  </c:pt>
                  <c:pt idx="1438">
                    <c:v>Rolling Stdev (30 Minute)</c:v>
                  </c:pt>
                  <c:pt idx="1439">
                    <c:v>Rolling Stdev (30 Minute)</c:v>
                  </c:pt>
                  <c:pt idx="1440">
                    <c:v>Rolling Stdev (30 Minute)</c:v>
                  </c:pt>
                  <c:pt idx="1441">
                    <c:v>Rolling Stdev (30 Minute)</c:v>
                  </c:pt>
                  <c:pt idx="1442">
                    <c:v>Rolling Stdev (30 Minute)</c:v>
                  </c:pt>
                  <c:pt idx="1443">
                    <c:v>Rolling Stdev (30 Minute)</c:v>
                  </c:pt>
                  <c:pt idx="1444">
                    <c:v>Rolling Stdev (30 Minute)</c:v>
                  </c:pt>
                  <c:pt idx="1445">
                    <c:v>Rolling Stdev (30 Minute)</c:v>
                  </c:pt>
                  <c:pt idx="1446">
                    <c:v>Rolling Stdev (30 Minute)</c:v>
                  </c:pt>
                  <c:pt idx="1447">
                    <c:v>Rolling Stdev (30 Minute)</c:v>
                  </c:pt>
                  <c:pt idx="1448">
                    <c:v>Rolling Stdev (30 Minute)</c:v>
                  </c:pt>
                  <c:pt idx="1449">
                    <c:v>Rolling Stdev (30 Minute)</c:v>
                  </c:pt>
                  <c:pt idx="1450">
                    <c:v>Rolling Stdev (30 Minute)</c:v>
                  </c:pt>
                  <c:pt idx="1451">
                    <c:v>Rolling Stdev (30 Minute)</c:v>
                  </c:pt>
                  <c:pt idx="1452">
                    <c:v>Rolling Stdev (30 Minute)</c:v>
                  </c:pt>
                  <c:pt idx="1453">
                    <c:v>Rolling Stdev (30 Minute)</c:v>
                  </c:pt>
                  <c:pt idx="1454">
                    <c:v>Rolling Stdev (30 Minute)</c:v>
                  </c:pt>
                  <c:pt idx="1455">
                    <c:v>Rolling Stdev (30 Minute)</c:v>
                  </c:pt>
                  <c:pt idx="1456">
                    <c:v>Rolling Stdev (30 Minute)</c:v>
                  </c:pt>
                  <c:pt idx="1457">
                    <c:v>Rolling Stdev (30 Minute)</c:v>
                  </c:pt>
                  <c:pt idx="1458">
                    <c:v>Rolling Stdev (30 Minute)</c:v>
                  </c:pt>
                  <c:pt idx="1459">
                    <c:v>Rolling Stdev (30 Minute)</c:v>
                  </c:pt>
                  <c:pt idx="1460">
                    <c:v>Rolling Stdev (30 Minute)</c:v>
                  </c:pt>
                  <c:pt idx="1461">
                    <c:v>Rolling Stdev (30 Minute)</c:v>
                  </c:pt>
                  <c:pt idx="1462">
                    <c:v>Rolling Stdev (30 Minute)</c:v>
                  </c:pt>
                  <c:pt idx="1463">
                    <c:v>Rolling Stdev (30 Minute)</c:v>
                  </c:pt>
                  <c:pt idx="1464">
                    <c:v>Rolling Stdev (30 Minute)</c:v>
                  </c:pt>
                  <c:pt idx="1465">
                    <c:v>Rolling Stdev (30 Minute)</c:v>
                  </c:pt>
                  <c:pt idx="1466">
                    <c:v>Rolling Stdev (30 Minute)</c:v>
                  </c:pt>
                  <c:pt idx="1467">
                    <c:v>Rolling Stdev (30 Minute)</c:v>
                  </c:pt>
                  <c:pt idx="1468">
                    <c:v>Rolling Stdev (30 Minute)</c:v>
                  </c:pt>
                  <c:pt idx="1469">
                    <c:v>Rolling Stdev (30 Minute)</c:v>
                  </c:pt>
                  <c:pt idx="1470">
                    <c:v>Rolling Stdev (30 Minute)</c:v>
                  </c:pt>
                  <c:pt idx="1471">
                    <c:v>Rolling Stdev (30 Minute)</c:v>
                  </c:pt>
                  <c:pt idx="1472">
                    <c:v>Rolling Stdev (30 Minute)</c:v>
                  </c:pt>
                  <c:pt idx="1473">
                    <c:v>Rolling Stdev (30 Minute)</c:v>
                  </c:pt>
                  <c:pt idx="1474">
                    <c:v>Rolling Stdev (30 Minute)</c:v>
                  </c:pt>
                  <c:pt idx="1475">
                    <c:v>Rolling Stdev (30 Minute)</c:v>
                  </c:pt>
                  <c:pt idx="1476">
                    <c:v>Rolling Stdev (30 Minute)</c:v>
                  </c:pt>
                  <c:pt idx="1477">
                    <c:v>Rolling Stdev (30 Minute)</c:v>
                  </c:pt>
                  <c:pt idx="1478">
                    <c:v>Rolling Stdev (30 Minute)</c:v>
                  </c:pt>
                  <c:pt idx="1479">
                    <c:v>Rolling Stdev (30 Minute)</c:v>
                  </c:pt>
                  <c:pt idx="1480">
                    <c:v>Rolling Stdev (30 Minute)</c:v>
                  </c:pt>
                  <c:pt idx="1481">
                    <c:v>Rolling Stdev (30 Minute)</c:v>
                  </c:pt>
                  <c:pt idx="1482">
                    <c:v>Rolling Stdev (30 Minute)</c:v>
                  </c:pt>
                  <c:pt idx="1483">
                    <c:v>Rolling Stdev (30 Minute)</c:v>
                  </c:pt>
                  <c:pt idx="1484">
                    <c:v>Rolling Stdev (30 Minute)</c:v>
                  </c:pt>
                  <c:pt idx="1485">
                    <c:v>Rolling Stdev (30 Minute)</c:v>
                  </c:pt>
                  <c:pt idx="1486">
                    <c:v>Rolling Stdev (30 Minute)</c:v>
                  </c:pt>
                  <c:pt idx="1487">
                    <c:v>Rolling Stdev (30 Minute)</c:v>
                  </c:pt>
                  <c:pt idx="1488">
                    <c:v>Rolling Stdev (30 Minute)</c:v>
                  </c:pt>
                  <c:pt idx="1489">
                    <c:v>Rolling Stdev (30 Minute)</c:v>
                  </c:pt>
                  <c:pt idx="1490">
                    <c:v>Rolling Stdev (30 Minute)</c:v>
                  </c:pt>
                  <c:pt idx="1491">
                    <c:v>Rolling Stdev (30 Minute)</c:v>
                  </c:pt>
                  <c:pt idx="1492">
                    <c:v>Rolling Stdev (30 Minute)</c:v>
                  </c:pt>
                  <c:pt idx="1493">
                    <c:v>Rolling Stdev (30 Minute)</c:v>
                  </c:pt>
                  <c:pt idx="1494">
                    <c:v>Rolling Stdev (30 Minute)</c:v>
                  </c:pt>
                  <c:pt idx="1495">
                    <c:v>Rolling Stdev (30 Minute)</c:v>
                  </c:pt>
                  <c:pt idx="1496">
                    <c:v>Rolling Stdev (30 Minute)</c:v>
                  </c:pt>
                  <c:pt idx="1497">
                    <c:v>Rolling Stdev (30 Minute)</c:v>
                  </c:pt>
                  <c:pt idx="1498">
                    <c:v>Rolling Stdev (30 Minute)</c:v>
                  </c:pt>
                  <c:pt idx="1499">
                    <c:v>Rolling Stdev (30 Minute)</c:v>
                  </c:pt>
                  <c:pt idx="1500">
                    <c:v>Rolling Stdev (30 Minute)</c:v>
                  </c:pt>
                  <c:pt idx="1501">
                    <c:v>Rolling Stdev (30 Minute)</c:v>
                  </c:pt>
                  <c:pt idx="1502">
                    <c:v>Rolling Stdev (30 Minute)</c:v>
                  </c:pt>
                  <c:pt idx="1503">
                    <c:v>Rolling Stdev (30 Minute)</c:v>
                  </c:pt>
                  <c:pt idx="1504">
                    <c:v>Rolling Stdev (30 Minute)</c:v>
                  </c:pt>
                  <c:pt idx="1505">
                    <c:v>Rolling Stdev (30 Minute)</c:v>
                  </c:pt>
                  <c:pt idx="1506">
                    <c:v>Rolling Stdev (30 Minute)</c:v>
                  </c:pt>
                  <c:pt idx="1507">
                    <c:v>Rolling Stdev (30 Minute)</c:v>
                  </c:pt>
                  <c:pt idx="1508">
                    <c:v>Rolling Stdev (30 Minute)</c:v>
                  </c:pt>
                  <c:pt idx="1509">
                    <c:v>Rolling Stdev (30 Minute)</c:v>
                  </c:pt>
                  <c:pt idx="1510">
                    <c:v>Rolling Stdev (30 Minute)</c:v>
                  </c:pt>
                  <c:pt idx="1511">
                    <c:v>Rolling Stdev (30 Minute)</c:v>
                  </c:pt>
                  <c:pt idx="1512">
                    <c:v>Rolling Stdev (30 Minute)</c:v>
                  </c:pt>
                  <c:pt idx="1513">
                    <c:v>Rolling Stdev (30 Minute)</c:v>
                  </c:pt>
                  <c:pt idx="1514">
                    <c:v>Rolling Stdev (30 Minute)</c:v>
                  </c:pt>
                  <c:pt idx="1515">
                    <c:v>Rolling Stdev (30 Minute)</c:v>
                  </c:pt>
                  <c:pt idx="1516">
                    <c:v>Rolling Stdev (30 Minute)</c:v>
                  </c:pt>
                  <c:pt idx="1517">
                    <c:v>Rolling Stdev (30 Minute)</c:v>
                  </c:pt>
                  <c:pt idx="1518">
                    <c:v>Rolling Stdev (30 Minute)</c:v>
                  </c:pt>
                  <c:pt idx="1519">
                    <c:v>Rolling Stdev (30 Minute)</c:v>
                  </c:pt>
                  <c:pt idx="1520">
                    <c:v>Rolling Stdev (30 Minute)</c:v>
                  </c:pt>
                  <c:pt idx="1521">
                    <c:v>Rolling Stdev (30 Minute)</c:v>
                  </c:pt>
                  <c:pt idx="1522">
                    <c:v>Rolling Stdev (30 Minute)</c:v>
                  </c:pt>
                  <c:pt idx="1523">
                    <c:v>Rolling Stdev (30 Minute)</c:v>
                  </c:pt>
                  <c:pt idx="1524">
                    <c:v>Rolling Stdev (30 Minute)</c:v>
                  </c:pt>
                  <c:pt idx="1525">
                    <c:v>Rolling Stdev (30 Minute)</c:v>
                  </c:pt>
                  <c:pt idx="1526">
                    <c:v>Rolling Stdev (30 Minute)</c:v>
                  </c:pt>
                  <c:pt idx="1527">
                    <c:v>Rolling Stdev (30 Minute)</c:v>
                  </c:pt>
                  <c:pt idx="1528">
                    <c:v>Rolling Stdev (30 Minute)</c:v>
                  </c:pt>
                  <c:pt idx="1529">
                    <c:v>Rolling Stdev (30 Minute)</c:v>
                  </c:pt>
                  <c:pt idx="1530">
                    <c:v>Rolling Stdev (30 Minute)</c:v>
                  </c:pt>
                  <c:pt idx="1531">
                    <c:v>Rolling Stdev (30 Minute)</c:v>
                  </c:pt>
                  <c:pt idx="1532">
                    <c:v>Rolling Stdev (30 Minute)</c:v>
                  </c:pt>
                  <c:pt idx="1533">
                    <c:v>Rolling Stdev (30 Minute)</c:v>
                  </c:pt>
                  <c:pt idx="1534">
                    <c:v>Rolling Stdev (30 Minute)</c:v>
                  </c:pt>
                  <c:pt idx="1535">
                    <c:v>Rolling Stdev (30 Minute)</c:v>
                  </c:pt>
                  <c:pt idx="1536">
                    <c:v>Rolling Stdev (30 Minute)</c:v>
                  </c:pt>
                  <c:pt idx="1537">
                    <c:v>Rolling Stdev (30 Minute)</c:v>
                  </c:pt>
                  <c:pt idx="1538">
                    <c:v>Rolling Stdev (30 Minute)</c:v>
                  </c:pt>
                  <c:pt idx="1539">
                    <c:v>Rolling Stdev (30 Minute)</c:v>
                  </c:pt>
                  <c:pt idx="1540">
                    <c:v>Rolling Stdev (30 Minute)</c:v>
                  </c:pt>
                  <c:pt idx="1541">
                    <c:v>Rolling Stdev (30 Minute)</c:v>
                  </c:pt>
                  <c:pt idx="1542">
                    <c:v>Rolling Stdev (30 Minute)</c:v>
                  </c:pt>
                  <c:pt idx="1543">
                    <c:v>Rolling Stdev (30 Minute)</c:v>
                  </c:pt>
                  <c:pt idx="1544">
                    <c:v>Rolling Stdev (30 Minute)</c:v>
                  </c:pt>
                  <c:pt idx="1545">
                    <c:v>Rolling Stdev (30 Minute)</c:v>
                  </c:pt>
                  <c:pt idx="1546">
                    <c:v>Rolling Stdev (30 Minute)</c:v>
                  </c:pt>
                  <c:pt idx="1547">
                    <c:v>Rolling Stdev (30 Minute)</c:v>
                  </c:pt>
                  <c:pt idx="1548">
                    <c:v>Rolling Stdev (30 Minute)</c:v>
                  </c:pt>
                  <c:pt idx="1549">
                    <c:v>Rolling Stdev (30 Minute)</c:v>
                  </c:pt>
                  <c:pt idx="1550">
                    <c:v>Rolling Stdev (30 Minute)</c:v>
                  </c:pt>
                  <c:pt idx="1551">
                    <c:v>Rolling Stdev (30 Minute)</c:v>
                  </c:pt>
                  <c:pt idx="1552">
                    <c:v>Rolling Stdev (30 Minute)</c:v>
                  </c:pt>
                  <c:pt idx="1553">
                    <c:v>Rolling Stdev (30 Minute)</c:v>
                  </c:pt>
                  <c:pt idx="1554">
                    <c:v>Rolling Stdev (30 Minute)</c:v>
                  </c:pt>
                  <c:pt idx="1555">
                    <c:v>Rolling Stdev (30 Minute)</c:v>
                  </c:pt>
                  <c:pt idx="1556">
                    <c:v>Rolling Stdev (30 Minute)</c:v>
                  </c:pt>
                  <c:pt idx="1557">
                    <c:v>Rolling Stdev (30 Minute)</c:v>
                  </c:pt>
                  <c:pt idx="1558">
                    <c:v>Rolling Stdev (30 Minute)</c:v>
                  </c:pt>
                  <c:pt idx="1559">
                    <c:v>Rolling Stdev (30 Minute)</c:v>
                  </c:pt>
                  <c:pt idx="1560">
                    <c:v>Rolling Stdev (30 Minute)</c:v>
                  </c:pt>
                  <c:pt idx="1561">
                    <c:v>Rolling Stdev (30 Minute)</c:v>
                  </c:pt>
                  <c:pt idx="1562">
                    <c:v>Rolling Stdev (30 Minute)</c:v>
                  </c:pt>
                  <c:pt idx="1563">
                    <c:v>Rolling Stdev (30 Minute)</c:v>
                  </c:pt>
                  <c:pt idx="1564">
                    <c:v>Rolling Stdev (30 Minute)</c:v>
                  </c:pt>
                  <c:pt idx="1565">
                    <c:v>Rolling Stdev (30 Minute)</c:v>
                  </c:pt>
                  <c:pt idx="1566">
                    <c:v>Rolling Stdev (30 Minute)</c:v>
                  </c:pt>
                  <c:pt idx="1567">
                    <c:v>Rolling Stdev (30 Minute)</c:v>
                  </c:pt>
                  <c:pt idx="1568">
                    <c:v>Rolling Stdev (30 Minute)</c:v>
                  </c:pt>
                  <c:pt idx="1569">
                    <c:v>Rolling Stdev (30 Minute)</c:v>
                  </c:pt>
                  <c:pt idx="1570">
                    <c:v>Rolling Stdev (30 Minute)</c:v>
                  </c:pt>
                  <c:pt idx="1571">
                    <c:v>Rolling Stdev (30 Minute)</c:v>
                  </c:pt>
                  <c:pt idx="1572">
                    <c:v>Rolling Stdev (30 Minute)</c:v>
                  </c:pt>
                  <c:pt idx="1573">
                    <c:v>Rolling Stdev (30 Minute)</c:v>
                  </c:pt>
                  <c:pt idx="1574">
                    <c:v>Rolling Stdev (30 Minute)</c:v>
                  </c:pt>
                  <c:pt idx="1575">
                    <c:v>Rolling Stdev (30 Minute)</c:v>
                  </c:pt>
                  <c:pt idx="1576">
                    <c:v>Rolling Stdev (30 Minute)</c:v>
                  </c:pt>
                  <c:pt idx="1577">
                    <c:v>Rolling Stdev (30 Minute)</c:v>
                  </c:pt>
                  <c:pt idx="1578">
                    <c:v>Rolling Stdev (30 Minute)</c:v>
                  </c:pt>
                  <c:pt idx="1579">
                    <c:v>Rolling Stdev (30 Minute)</c:v>
                  </c:pt>
                  <c:pt idx="1580">
                    <c:v>Rolling Stdev (30 Minute)</c:v>
                  </c:pt>
                  <c:pt idx="1581">
                    <c:v>Rolling Stdev (30 Minute)</c:v>
                  </c:pt>
                  <c:pt idx="1582">
                    <c:v>Rolling Stdev (30 Minute)</c:v>
                  </c:pt>
                  <c:pt idx="1583">
                    <c:v>Rolling Stdev (30 Minute)</c:v>
                  </c:pt>
                  <c:pt idx="1584">
                    <c:v>Rolling Stdev (30 Minute)</c:v>
                  </c:pt>
                  <c:pt idx="1585">
                    <c:v>Rolling Stdev (30 Minute)</c:v>
                  </c:pt>
                  <c:pt idx="1586">
                    <c:v>Rolling Stdev (30 Minute)</c:v>
                  </c:pt>
                  <c:pt idx="1587">
                    <c:v>Rolling Stdev (30 Minute)</c:v>
                  </c:pt>
                  <c:pt idx="1588">
                    <c:v>Rolling Stdev (30 Minute)</c:v>
                  </c:pt>
                  <c:pt idx="1589">
                    <c:v>Rolling Stdev (30 Minute)</c:v>
                  </c:pt>
                  <c:pt idx="1590">
                    <c:v>Rolling Stdev (30 Minute)</c:v>
                  </c:pt>
                  <c:pt idx="1591">
                    <c:v>Rolling Stdev (30 Minute)</c:v>
                  </c:pt>
                  <c:pt idx="1592">
                    <c:v>Rolling Stdev (30 Minute)</c:v>
                  </c:pt>
                  <c:pt idx="1593">
                    <c:v>Rolling Stdev (30 Minute)</c:v>
                  </c:pt>
                  <c:pt idx="1594">
                    <c:v>Rolling Stdev (30 Minute)</c:v>
                  </c:pt>
                  <c:pt idx="1595">
                    <c:v>Rolling Stdev (30 Minute)</c:v>
                  </c:pt>
                  <c:pt idx="1596">
                    <c:v>Rolling Stdev (30 Minute)</c:v>
                  </c:pt>
                  <c:pt idx="1597">
                    <c:v>Rolling Stdev (30 Minute)</c:v>
                  </c:pt>
                  <c:pt idx="1598">
                    <c:v>Rolling Stdev (30 Minute)</c:v>
                  </c:pt>
                  <c:pt idx="1599">
                    <c:v>Rolling Stdev (30 Minute)</c:v>
                  </c:pt>
                  <c:pt idx="1600">
                    <c:v>Rolling Stdev (30 Minute)</c:v>
                  </c:pt>
                  <c:pt idx="1601">
                    <c:v>Rolling Stdev (30 Minute)</c:v>
                  </c:pt>
                  <c:pt idx="1602">
                    <c:v>Rolling Stdev (30 Minute)</c:v>
                  </c:pt>
                  <c:pt idx="1603">
                    <c:v>Rolling Stdev (30 Minute)</c:v>
                  </c:pt>
                  <c:pt idx="1604">
                    <c:v>Rolling Stdev (30 Minute)</c:v>
                  </c:pt>
                  <c:pt idx="1605">
                    <c:v>Rolling Stdev (30 Minute)</c:v>
                  </c:pt>
                  <c:pt idx="1606">
                    <c:v>Rolling Stdev (30 Minute)</c:v>
                  </c:pt>
                  <c:pt idx="1607">
                    <c:v>Rolling Stdev (30 Minute)</c:v>
                  </c:pt>
                  <c:pt idx="1608">
                    <c:v>Rolling Stdev (30 Minute)</c:v>
                  </c:pt>
                  <c:pt idx="1609">
                    <c:v>Rolling Stdev (30 Minute)</c:v>
                  </c:pt>
                  <c:pt idx="1610">
                    <c:v>Rolling Stdev (30 Minute)</c:v>
                  </c:pt>
                  <c:pt idx="1611">
                    <c:v>Rolling Stdev (30 Minute)</c:v>
                  </c:pt>
                  <c:pt idx="1612">
                    <c:v>Rolling Stdev (30 Minute)</c:v>
                  </c:pt>
                  <c:pt idx="1613">
                    <c:v>Rolling Stdev (30 Minute)</c:v>
                  </c:pt>
                  <c:pt idx="1614">
                    <c:v>Rolling Stdev (30 Minute)</c:v>
                  </c:pt>
                  <c:pt idx="1615">
                    <c:v>Rolling Stdev (30 Minute)</c:v>
                  </c:pt>
                  <c:pt idx="1616">
                    <c:v>Rolling Stdev (30 Minute)</c:v>
                  </c:pt>
                  <c:pt idx="1617">
                    <c:v>Rolling Stdev (30 Minute)</c:v>
                  </c:pt>
                  <c:pt idx="1618">
                    <c:v>Rolling Stdev (30 Minute)</c:v>
                  </c:pt>
                  <c:pt idx="1619">
                    <c:v>Rolling Stdev (30 Minute)</c:v>
                  </c:pt>
                  <c:pt idx="1620">
                    <c:v>Rolling Stdev (30 Minute)</c:v>
                  </c:pt>
                  <c:pt idx="1621">
                    <c:v>Rolling Stdev (30 Minute)</c:v>
                  </c:pt>
                  <c:pt idx="1622">
                    <c:v>Rolling Stdev (30 Minute)</c:v>
                  </c:pt>
                  <c:pt idx="1623">
                    <c:v>Rolling Stdev (30 Minute)</c:v>
                  </c:pt>
                  <c:pt idx="1624">
                    <c:v>Rolling Stdev (30 Minute)</c:v>
                  </c:pt>
                  <c:pt idx="1625">
                    <c:v>Rolling Stdev (30 Minute)</c:v>
                  </c:pt>
                  <c:pt idx="1626">
                    <c:v>Rolling Stdev (30 Minute)</c:v>
                  </c:pt>
                  <c:pt idx="1627">
                    <c:v>Rolling Stdev (30 Minute)</c:v>
                  </c:pt>
                  <c:pt idx="1628">
                    <c:v>Rolling Stdev (30 Minute)</c:v>
                  </c:pt>
                  <c:pt idx="1629">
                    <c:v>Rolling Stdev (30 Minute)</c:v>
                  </c:pt>
                  <c:pt idx="1630">
                    <c:v>Rolling Stdev (30 Minute)</c:v>
                  </c:pt>
                  <c:pt idx="1631">
                    <c:v>Rolling Stdev (30 Minute)</c:v>
                  </c:pt>
                  <c:pt idx="1632">
                    <c:v>Rolling Stdev (30 Minute)</c:v>
                  </c:pt>
                  <c:pt idx="1633">
                    <c:v>Rolling Stdev (30 Minute)</c:v>
                  </c:pt>
                  <c:pt idx="1634">
                    <c:v>Rolling Stdev (30 Minute)</c:v>
                  </c:pt>
                  <c:pt idx="1635">
                    <c:v>Rolling Stdev (30 Minute)</c:v>
                  </c:pt>
                  <c:pt idx="1636">
                    <c:v>Rolling Stdev (30 Minute)</c:v>
                  </c:pt>
                  <c:pt idx="1637">
                    <c:v>Rolling Stdev (30 Minute)</c:v>
                  </c:pt>
                  <c:pt idx="1638">
                    <c:v>Rolling Stdev (30 Minute)</c:v>
                  </c:pt>
                  <c:pt idx="1639">
                    <c:v>Rolling Stdev (30 Minute)</c:v>
                  </c:pt>
                  <c:pt idx="1640">
                    <c:v>Rolling Stdev (30 Minute)</c:v>
                  </c:pt>
                  <c:pt idx="1641">
                    <c:v>Rolling Stdev (30 Minute)</c:v>
                  </c:pt>
                  <c:pt idx="1642">
                    <c:v>Rolling Stdev (30 Minute)</c:v>
                  </c:pt>
                  <c:pt idx="1643">
                    <c:v>Rolling Stdev (30 Minute)</c:v>
                  </c:pt>
                  <c:pt idx="1644">
                    <c:v>Rolling Stdev (30 Minute)</c:v>
                  </c:pt>
                  <c:pt idx="1645">
                    <c:v>Rolling Stdev (30 Minute)</c:v>
                  </c:pt>
                  <c:pt idx="1646">
                    <c:v>Rolling Stdev (30 Minute)</c:v>
                  </c:pt>
                  <c:pt idx="1647">
                    <c:v>Rolling Stdev (30 Minute)</c:v>
                  </c:pt>
                  <c:pt idx="1648">
                    <c:v>Rolling Stdev (30 Minute)</c:v>
                  </c:pt>
                  <c:pt idx="1649">
                    <c:v>Rolling Stdev (30 Minute)</c:v>
                  </c:pt>
                  <c:pt idx="1650">
                    <c:v>Rolling Stdev (30 Minute)</c:v>
                  </c:pt>
                  <c:pt idx="1651">
                    <c:v>Rolling Stdev (30 Minute)</c:v>
                  </c:pt>
                  <c:pt idx="1652">
                    <c:v>Rolling Stdev (30 Minute)</c:v>
                  </c:pt>
                  <c:pt idx="1653">
                    <c:v>Rolling Stdev (30 Minute)</c:v>
                  </c:pt>
                  <c:pt idx="1654">
                    <c:v>Rolling Stdev (30 Minute)</c:v>
                  </c:pt>
                  <c:pt idx="1655">
                    <c:v>Rolling Stdev (30 Minute)</c:v>
                  </c:pt>
                  <c:pt idx="1656">
                    <c:v>Rolling Stdev (30 Minute)</c:v>
                  </c:pt>
                  <c:pt idx="1657">
                    <c:v>Rolling Stdev (30 Minute)</c:v>
                  </c:pt>
                  <c:pt idx="1658">
                    <c:v>Rolling Stdev (30 Minute)</c:v>
                  </c:pt>
                  <c:pt idx="1659">
                    <c:v>Rolling Stdev (30 Minute)</c:v>
                  </c:pt>
                  <c:pt idx="1660">
                    <c:v>Rolling Stdev (30 Minute)</c:v>
                  </c:pt>
                  <c:pt idx="1661">
                    <c:v>Rolling Stdev (30 Minute)</c:v>
                  </c:pt>
                  <c:pt idx="1662">
                    <c:v>Rolling Stdev (30 Minute)</c:v>
                  </c:pt>
                  <c:pt idx="1663">
                    <c:v>Rolling Stdev (30 Minute)</c:v>
                  </c:pt>
                  <c:pt idx="1664">
                    <c:v>Rolling Stdev (30 Minute)</c:v>
                  </c:pt>
                  <c:pt idx="1665">
                    <c:v>Rolling Stdev (30 Minute)</c:v>
                  </c:pt>
                  <c:pt idx="1666">
                    <c:v>Rolling Stdev (30 Minute)</c:v>
                  </c:pt>
                  <c:pt idx="1667">
                    <c:v>Rolling Stdev (30 Minute)</c:v>
                  </c:pt>
                  <c:pt idx="1668">
                    <c:v>Rolling Stdev (30 Minute)</c:v>
                  </c:pt>
                  <c:pt idx="1669">
                    <c:v>Rolling Stdev (30 Minute)</c:v>
                  </c:pt>
                  <c:pt idx="1670">
                    <c:v>Rolling Stdev (30 Minute)</c:v>
                  </c:pt>
                  <c:pt idx="1671">
                    <c:v>Rolling Stdev (30 Minute)</c:v>
                  </c:pt>
                  <c:pt idx="1672">
                    <c:v>Rolling Stdev (30 Minute)</c:v>
                  </c:pt>
                  <c:pt idx="1673">
                    <c:v>Rolling Stdev (30 Minute)</c:v>
                  </c:pt>
                  <c:pt idx="1674">
                    <c:v>Rolling Stdev (30 Minute)</c:v>
                  </c:pt>
                  <c:pt idx="1675">
                    <c:v>Rolling Stdev (30 Minute)</c:v>
                  </c:pt>
                  <c:pt idx="1676">
                    <c:v>Rolling Stdev (30 Minute)</c:v>
                  </c:pt>
                  <c:pt idx="1677">
                    <c:v>Rolling Stdev (30 Minute)</c:v>
                  </c:pt>
                  <c:pt idx="1678">
                    <c:v>Rolling Stdev (30 Minute)</c:v>
                  </c:pt>
                  <c:pt idx="1679">
                    <c:v>Rolling Stdev (30 Minute)</c:v>
                  </c:pt>
                  <c:pt idx="1680">
                    <c:v>Rolling Stdev (30 Minute)</c:v>
                  </c:pt>
                  <c:pt idx="1681">
                    <c:v>Rolling Stdev (30 Minute)</c:v>
                  </c:pt>
                  <c:pt idx="1682">
                    <c:v>Rolling Stdev (30 Minute)</c:v>
                  </c:pt>
                  <c:pt idx="1683">
                    <c:v>Rolling Stdev (30 Minute)</c:v>
                  </c:pt>
                  <c:pt idx="1684">
                    <c:v>Rolling Stdev (30 Minute)</c:v>
                  </c:pt>
                  <c:pt idx="1685">
                    <c:v>Rolling Stdev (30 Minute)</c:v>
                  </c:pt>
                  <c:pt idx="1686">
                    <c:v>Rolling Stdev (30 Minute)</c:v>
                  </c:pt>
                  <c:pt idx="1687">
                    <c:v>Rolling Stdev (30 Minute)</c:v>
                  </c:pt>
                  <c:pt idx="1688">
                    <c:v>Rolling Stdev (30 Minute)</c:v>
                  </c:pt>
                  <c:pt idx="1689">
                    <c:v>Rolling Stdev (30 Minute)</c:v>
                  </c:pt>
                  <c:pt idx="1690">
                    <c:v>Rolling Stdev (30 Minute)</c:v>
                  </c:pt>
                  <c:pt idx="1691">
                    <c:v>Rolling Stdev (30 Minute)</c:v>
                  </c:pt>
                  <c:pt idx="1692">
                    <c:v>Rolling Stdev (30 Minute)</c:v>
                  </c:pt>
                  <c:pt idx="1693">
                    <c:v>Rolling Stdev (30 Minute)</c:v>
                  </c:pt>
                  <c:pt idx="1694">
                    <c:v>Rolling Stdev (30 Minute)</c:v>
                  </c:pt>
                  <c:pt idx="1695">
                    <c:v>Rolling Stdev (30 Minute)</c:v>
                  </c:pt>
                  <c:pt idx="1696">
                    <c:v>Rolling Stdev (30 Minute)</c:v>
                  </c:pt>
                  <c:pt idx="1697">
                    <c:v>Rolling Stdev (30 Minute)</c:v>
                  </c:pt>
                  <c:pt idx="1698">
                    <c:v>Rolling Stdev (30 Minute)</c:v>
                  </c:pt>
                  <c:pt idx="1699">
                    <c:v>Rolling Stdev (30 Minute)</c:v>
                  </c:pt>
                  <c:pt idx="1700">
                    <c:v>Rolling Stdev (30 Minute)</c:v>
                  </c:pt>
                  <c:pt idx="1701">
                    <c:v>Rolling Stdev (30 Minute)</c:v>
                  </c:pt>
                  <c:pt idx="1702">
                    <c:v>Rolling Stdev (30 Minute)</c:v>
                  </c:pt>
                  <c:pt idx="1703">
                    <c:v>Rolling Stdev (30 Minute)</c:v>
                  </c:pt>
                  <c:pt idx="1704">
                    <c:v>Rolling Stdev (30 Minute)</c:v>
                  </c:pt>
                  <c:pt idx="1705">
                    <c:v>Rolling Stdev (30 Minute)</c:v>
                  </c:pt>
                  <c:pt idx="1706">
                    <c:v>Rolling Stdev (30 Minute)</c:v>
                  </c:pt>
                  <c:pt idx="1707">
                    <c:v>Rolling Stdev (30 Minute)</c:v>
                  </c:pt>
                  <c:pt idx="1708">
                    <c:v>Rolling Stdev (30 Minute)</c:v>
                  </c:pt>
                  <c:pt idx="1709">
                    <c:v>Rolling Stdev (30 Minute)</c:v>
                  </c:pt>
                  <c:pt idx="1710">
                    <c:v>Rolling Stdev (30 Minute)</c:v>
                  </c:pt>
                  <c:pt idx="1711">
                    <c:v>Rolling Stdev (30 Minute)</c:v>
                  </c:pt>
                  <c:pt idx="1712">
                    <c:v>Rolling Stdev (30 Minute)</c:v>
                  </c:pt>
                  <c:pt idx="1713">
                    <c:v>Rolling Stdev (30 Minute)</c:v>
                  </c:pt>
                  <c:pt idx="1714">
                    <c:v>Rolling Stdev (30 Minute)</c:v>
                  </c:pt>
                  <c:pt idx="1715">
                    <c:v>Rolling Stdev (30 Minute)</c:v>
                  </c:pt>
                  <c:pt idx="1716">
                    <c:v>Rolling Stdev (30 Minute)</c:v>
                  </c:pt>
                  <c:pt idx="1717">
                    <c:v>Rolling Stdev (30 Minute)</c:v>
                  </c:pt>
                  <c:pt idx="1718">
                    <c:v>Rolling Stdev (30 Minute)</c:v>
                  </c:pt>
                  <c:pt idx="1719">
                    <c:v>Rolling Stdev (30 Minute)</c:v>
                  </c:pt>
                  <c:pt idx="1720">
                    <c:v>Rolling Stdev (30 Minute)</c:v>
                  </c:pt>
                  <c:pt idx="1721">
                    <c:v>Rolling Stdev (30 Minute)</c:v>
                  </c:pt>
                  <c:pt idx="1722">
                    <c:v>Rolling Stdev (30 Minute)</c:v>
                  </c:pt>
                  <c:pt idx="1723">
                    <c:v>Rolling Stdev (30 Minute)</c:v>
                  </c:pt>
                  <c:pt idx="1724">
                    <c:v>Rolling Stdev (30 Minute)</c:v>
                  </c:pt>
                  <c:pt idx="1725">
                    <c:v>Rolling Stdev (30 Minute)</c:v>
                  </c:pt>
                  <c:pt idx="1726">
                    <c:v>Rolling Stdev (30 Minute)</c:v>
                  </c:pt>
                  <c:pt idx="1727">
                    <c:v>Rolling Stdev (30 Minute)</c:v>
                  </c:pt>
                  <c:pt idx="1728">
                    <c:v>Rolling Stdev (30 Minute)</c:v>
                  </c:pt>
                  <c:pt idx="1729">
                    <c:v>Rolling Stdev (30 Minute)</c:v>
                  </c:pt>
                  <c:pt idx="1730">
                    <c:v>Rolling Stdev (30 Minute)</c:v>
                  </c:pt>
                  <c:pt idx="1731">
                    <c:v>Rolling Stdev (30 Minute)</c:v>
                  </c:pt>
                  <c:pt idx="1732">
                    <c:v>Rolling Stdev (30 Minute)</c:v>
                  </c:pt>
                  <c:pt idx="1733">
                    <c:v>Rolling Stdev (30 Minute)</c:v>
                  </c:pt>
                  <c:pt idx="1734">
                    <c:v>Rolling Stdev (30 Minute)</c:v>
                  </c:pt>
                  <c:pt idx="1735">
                    <c:v>Rolling Stdev (30 Minute)</c:v>
                  </c:pt>
                  <c:pt idx="1736">
                    <c:v>Rolling Stdev (30 Minute)</c:v>
                  </c:pt>
                  <c:pt idx="1737">
                    <c:v>Rolling Stdev (30 Minute)</c:v>
                  </c:pt>
                  <c:pt idx="1738">
                    <c:v>Rolling Stdev (30 Minute)</c:v>
                  </c:pt>
                  <c:pt idx="1739">
                    <c:v>Rolling Stdev (30 Minute)</c:v>
                  </c:pt>
                  <c:pt idx="1740">
                    <c:v>Rolling Stdev (30 Minute)</c:v>
                  </c:pt>
                  <c:pt idx="1741">
                    <c:v>Rolling Stdev (30 Minute)</c:v>
                  </c:pt>
                  <c:pt idx="1742">
                    <c:v>Rolling Stdev (30 Minute)</c:v>
                  </c:pt>
                  <c:pt idx="1743">
                    <c:v>Rolling Stdev (30 Minute)</c:v>
                  </c:pt>
                  <c:pt idx="1744">
                    <c:v>Rolling Stdev (30 Minute)</c:v>
                  </c:pt>
                  <c:pt idx="1745">
                    <c:v>Rolling Stdev (30 Minute)</c:v>
                  </c:pt>
                  <c:pt idx="1746">
                    <c:v>Rolling Stdev (30 Minute)</c:v>
                  </c:pt>
                  <c:pt idx="1747">
                    <c:v>Rolling Stdev (30 Minute)</c:v>
                  </c:pt>
                  <c:pt idx="1748">
                    <c:v>Rolling Stdev (30 Minute)</c:v>
                  </c:pt>
                  <c:pt idx="1749">
                    <c:v>Rolling Stdev (30 Minute)</c:v>
                  </c:pt>
                  <c:pt idx="1750">
                    <c:v>Rolling Stdev (30 Minute)</c:v>
                  </c:pt>
                  <c:pt idx="1751">
                    <c:v>Rolling Stdev (30 Minute)</c:v>
                  </c:pt>
                  <c:pt idx="1752">
                    <c:v>Rolling Stdev (30 Minute)</c:v>
                  </c:pt>
                  <c:pt idx="1753">
                    <c:v>Rolling Stdev (30 Minute)</c:v>
                  </c:pt>
                  <c:pt idx="1754">
                    <c:v>Rolling Stdev (30 Minute)</c:v>
                  </c:pt>
                  <c:pt idx="1755">
                    <c:v>Rolling Stdev (30 Minute)</c:v>
                  </c:pt>
                  <c:pt idx="1756">
                    <c:v>Rolling Stdev (30 Minute)</c:v>
                  </c:pt>
                  <c:pt idx="1757">
                    <c:v>Rolling Stdev (30 Minute)</c:v>
                  </c:pt>
                  <c:pt idx="1758">
                    <c:v>Rolling Stdev (30 Minute)</c:v>
                  </c:pt>
                  <c:pt idx="1759">
                    <c:v>Rolling Stdev (30 Minute)</c:v>
                  </c:pt>
                  <c:pt idx="1760">
                    <c:v>Rolling Stdev (30 Minute)</c:v>
                  </c:pt>
                  <c:pt idx="1761">
                    <c:v>Rolling Stdev (30 Minute)</c:v>
                  </c:pt>
                  <c:pt idx="1762">
                    <c:v>Rolling Stdev (30 Minute)</c:v>
                  </c:pt>
                  <c:pt idx="1763">
                    <c:v>Rolling Stdev (30 Minute)</c:v>
                  </c:pt>
                  <c:pt idx="1764">
                    <c:v>Rolling Stdev (30 Minute)</c:v>
                  </c:pt>
                  <c:pt idx="1765">
                    <c:v>Rolling Stdev (30 Minute)</c:v>
                  </c:pt>
                  <c:pt idx="1766">
                    <c:v>Rolling Stdev (30 Minute)</c:v>
                  </c:pt>
                  <c:pt idx="1767">
                    <c:v>Rolling Stdev (30 Minute)</c:v>
                  </c:pt>
                  <c:pt idx="1768">
                    <c:v>Rolling Stdev (30 Minute)</c:v>
                  </c:pt>
                  <c:pt idx="1769">
                    <c:v>Rolling Stdev (30 Minute)</c:v>
                  </c:pt>
                  <c:pt idx="1770">
                    <c:v>Rolling Stdev (30 Minute)</c:v>
                  </c:pt>
                  <c:pt idx="1771">
                    <c:v>Rolling Stdev (30 Minute)</c:v>
                  </c:pt>
                  <c:pt idx="1772">
                    <c:v>Rolling Stdev (30 Minute)</c:v>
                  </c:pt>
                  <c:pt idx="1773">
                    <c:v>Rolling Stdev (30 Minute)</c:v>
                  </c:pt>
                  <c:pt idx="1774">
                    <c:v>Rolling Stdev (30 Minute)</c:v>
                  </c:pt>
                  <c:pt idx="1775">
                    <c:v>Rolling Stdev (30 Minute)</c:v>
                  </c:pt>
                  <c:pt idx="1776">
                    <c:v>Rolling Stdev (30 Minute)</c:v>
                  </c:pt>
                  <c:pt idx="1777">
                    <c:v>Rolling Stdev (30 Minute)</c:v>
                  </c:pt>
                  <c:pt idx="1778">
                    <c:v>Rolling Stdev (30 Minute)</c:v>
                  </c:pt>
                  <c:pt idx="1779">
                    <c:v>Rolling Stdev (30 Minute)</c:v>
                  </c:pt>
                  <c:pt idx="1780">
                    <c:v>Rolling Stdev (30 Minute)</c:v>
                  </c:pt>
                  <c:pt idx="1781">
                    <c:v>Rolling Stdev (30 Minute)</c:v>
                  </c:pt>
                  <c:pt idx="1782">
                    <c:v>Rolling Stdev (30 Minute)</c:v>
                  </c:pt>
                  <c:pt idx="1783">
                    <c:v>Rolling Stdev (30 Minute)</c:v>
                  </c:pt>
                  <c:pt idx="1784">
                    <c:v>Rolling Stdev (30 Minute)</c:v>
                  </c:pt>
                  <c:pt idx="1785">
                    <c:v>Rolling Stdev (30 Minute)</c:v>
                  </c:pt>
                  <c:pt idx="1786">
                    <c:v>Rolling Stdev (30 Minute)</c:v>
                  </c:pt>
                  <c:pt idx="1787">
                    <c:v>Rolling Stdev (30 Minute)</c:v>
                  </c:pt>
                  <c:pt idx="1788">
                    <c:v>Rolling Stdev (30 Minute)</c:v>
                  </c:pt>
                  <c:pt idx="1789">
                    <c:v>Rolling Stdev (30 Minute)</c:v>
                  </c:pt>
                  <c:pt idx="1790">
                    <c:v>Rolling Stdev (30 Minute)</c:v>
                  </c:pt>
                  <c:pt idx="1791">
                    <c:v>Rolling Stdev (30 Minute)</c:v>
                  </c:pt>
                  <c:pt idx="1792">
                    <c:v>Rolling Stdev (30 Minute)</c:v>
                  </c:pt>
                  <c:pt idx="1793">
                    <c:v>Rolling Stdev (30 Minute)</c:v>
                  </c:pt>
                  <c:pt idx="1794">
                    <c:v>Rolling Stdev (30 Minute)</c:v>
                  </c:pt>
                  <c:pt idx="1795">
                    <c:v>Rolling Stdev (30 Minute)</c:v>
                  </c:pt>
                  <c:pt idx="1796">
                    <c:v>Rolling Stdev (30 Minute)</c:v>
                  </c:pt>
                  <c:pt idx="1797">
                    <c:v>Rolling Stdev (30 Minute)</c:v>
                  </c:pt>
                  <c:pt idx="1798">
                    <c:v>Rolling Stdev (30 Minute)</c:v>
                  </c:pt>
                  <c:pt idx="1799">
                    <c:v>Rolling Stdev (30 Minute)</c:v>
                  </c:pt>
                  <c:pt idx="1800">
                    <c:v>Rolling Stdev (30 Minute)</c:v>
                  </c:pt>
                  <c:pt idx="1801">
                    <c:v>Rolling Stdev (30 Minute)</c:v>
                  </c:pt>
                  <c:pt idx="1802">
                    <c:v>Rolling Stdev (30 Minute)</c:v>
                  </c:pt>
                  <c:pt idx="1803">
                    <c:v>Rolling Stdev (30 Minute)</c:v>
                  </c:pt>
                  <c:pt idx="1804">
                    <c:v>Rolling Stdev (30 Minute)</c:v>
                  </c:pt>
                  <c:pt idx="1805">
                    <c:v>Rolling Stdev (30 Minute)</c:v>
                  </c:pt>
                  <c:pt idx="1806">
                    <c:v>Rolling Stdev (30 Minute)</c:v>
                  </c:pt>
                  <c:pt idx="1807">
                    <c:v>Rolling Stdev (30 Minute)</c:v>
                  </c:pt>
                  <c:pt idx="1808">
                    <c:v>Rolling Stdev (30 Minute)</c:v>
                  </c:pt>
                  <c:pt idx="1809">
                    <c:v>Rolling Stdev (30 Minute)</c:v>
                  </c:pt>
                  <c:pt idx="1810">
                    <c:v>Rolling Stdev (30 Minute)</c:v>
                  </c:pt>
                  <c:pt idx="1811">
                    <c:v>Rolling Stdev (30 Minute)</c:v>
                  </c:pt>
                  <c:pt idx="1812">
                    <c:v>Rolling Stdev (30 Minute)</c:v>
                  </c:pt>
                  <c:pt idx="1813">
                    <c:v>Rolling Stdev (30 Minute)</c:v>
                  </c:pt>
                  <c:pt idx="1814">
                    <c:v>Rolling Stdev (30 Minute)</c:v>
                  </c:pt>
                  <c:pt idx="1815">
                    <c:v>Rolling Stdev (30 Minute)</c:v>
                  </c:pt>
                  <c:pt idx="1816">
                    <c:v>Rolling Stdev (30 Minute)</c:v>
                  </c:pt>
                  <c:pt idx="1817">
                    <c:v>Rolling Stdev (30 Minute)</c:v>
                  </c:pt>
                  <c:pt idx="1818">
                    <c:v>Rolling Stdev (30 Minute)</c:v>
                  </c:pt>
                  <c:pt idx="1819">
                    <c:v>Rolling Stdev (30 Minute)</c:v>
                  </c:pt>
                  <c:pt idx="1820">
                    <c:v>Rolling Stdev (30 Minute)</c:v>
                  </c:pt>
                  <c:pt idx="1821">
                    <c:v>Rolling Stdev (30 Minute)</c:v>
                  </c:pt>
                  <c:pt idx="1822">
                    <c:v>Rolling Stdev (30 Minute)</c:v>
                  </c:pt>
                  <c:pt idx="1823">
                    <c:v>Rolling Stdev (30 Minute)</c:v>
                  </c:pt>
                  <c:pt idx="1824">
                    <c:v>Rolling Stdev (30 Minute)</c:v>
                  </c:pt>
                  <c:pt idx="1825">
                    <c:v>Rolling Stdev (30 Minute)</c:v>
                  </c:pt>
                  <c:pt idx="1826">
                    <c:v>Rolling Stdev (30 Minute)</c:v>
                  </c:pt>
                  <c:pt idx="1827">
                    <c:v>Rolling Stdev (30 Minute)</c:v>
                  </c:pt>
                  <c:pt idx="1828">
                    <c:v>Rolling Stdev (30 Minute)</c:v>
                  </c:pt>
                  <c:pt idx="1829">
                    <c:v>Rolling Stdev (30 Minute)</c:v>
                  </c:pt>
                  <c:pt idx="1830">
                    <c:v>Rolling Stdev (30 Minute)</c:v>
                  </c:pt>
                  <c:pt idx="1831">
                    <c:v>Rolling Stdev (30 Minute)</c:v>
                  </c:pt>
                  <c:pt idx="1832">
                    <c:v>Rolling Stdev (30 Minute)</c:v>
                  </c:pt>
                  <c:pt idx="1833">
                    <c:v>Rolling Stdev (30 Minute)</c:v>
                  </c:pt>
                  <c:pt idx="1834">
                    <c:v>Rolling Stdev (30 Minute)</c:v>
                  </c:pt>
                  <c:pt idx="1835">
                    <c:v>Rolling Stdev (30 Minute)</c:v>
                  </c:pt>
                  <c:pt idx="1836">
                    <c:v>Rolling Stdev (30 Minute)</c:v>
                  </c:pt>
                  <c:pt idx="1837">
                    <c:v>Rolling Stdev (30 Minute)</c:v>
                  </c:pt>
                  <c:pt idx="1838">
                    <c:v>Rolling Stdev (30 Minute)</c:v>
                  </c:pt>
                  <c:pt idx="1839">
                    <c:v>Rolling Stdev (30 Minute)</c:v>
                  </c:pt>
                  <c:pt idx="1840">
                    <c:v>Rolling Stdev (30 Minute)</c:v>
                  </c:pt>
                  <c:pt idx="1841">
                    <c:v>Rolling Stdev (30 Minute)</c:v>
                  </c:pt>
                  <c:pt idx="1842">
                    <c:v>Rolling Stdev (30 Minute)</c:v>
                  </c:pt>
                  <c:pt idx="1843">
                    <c:v>Rolling Stdev (30 Minute)</c:v>
                  </c:pt>
                  <c:pt idx="1844">
                    <c:v>Rolling Stdev (30 Minute)</c:v>
                  </c:pt>
                  <c:pt idx="1845">
                    <c:v>Rolling Stdev (30 Minute)</c:v>
                  </c:pt>
                  <c:pt idx="1846">
                    <c:v>Rolling Stdev (30 Minute)</c:v>
                  </c:pt>
                  <c:pt idx="1847">
                    <c:v>Rolling Stdev (30 Minute)</c:v>
                  </c:pt>
                  <c:pt idx="1848">
                    <c:v>Rolling Stdev (30 Minute)</c:v>
                  </c:pt>
                  <c:pt idx="1849">
                    <c:v>Rolling Stdev (30 Minute)</c:v>
                  </c:pt>
                  <c:pt idx="1850">
                    <c:v>Rolling Stdev (30 Minute)</c:v>
                  </c:pt>
                  <c:pt idx="1851">
                    <c:v>Rolling Stdev (30 Minute)</c:v>
                  </c:pt>
                  <c:pt idx="1852">
                    <c:v>Rolling Stdev (30 Minute)</c:v>
                  </c:pt>
                  <c:pt idx="1853">
                    <c:v>Rolling Stdev (30 Minute)</c:v>
                  </c:pt>
                  <c:pt idx="1854">
                    <c:v>Rolling Stdev (30 Minute)</c:v>
                  </c:pt>
                  <c:pt idx="1855">
                    <c:v>Rolling Stdev (30 Minute)</c:v>
                  </c:pt>
                  <c:pt idx="1856">
                    <c:v>Rolling Stdev (30 Minute)</c:v>
                  </c:pt>
                  <c:pt idx="1857">
                    <c:v>Rolling Stdev (30 Minute)</c:v>
                  </c:pt>
                  <c:pt idx="1858">
                    <c:v>Rolling Stdev (30 Minute)</c:v>
                  </c:pt>
                  <c:pt idx="1859">
                    <c:v>Rolling Stdev (30 Minute)</c:v>
                  </c:pt>
                  <c:pt idx="1860">
                    <c:v>Rolling Stdev (30 Minute)</c:v>
                  </c:pt>
                  <c:pt idx="1861">
                    <c:v>Rolling Stdev (30 Minute)</c:v>
                  </c:pt>
                  <c:pt idx="1862">
                    <c:v>Rolling Stdev (30 Minute)</c:v>
                  </c:pt>
                  <c:pt idx="1863">
                    <c:v>Rolling Stdev (30 Minute)</c:v>
                  </c:pt>
                  <c:pt idx="1864">
                    <c:v>Rolling Stdev (30 Minute)</c:v>
                  </c:pt>
                  <c:pt idx="1865">
                    <c:v>Rolling Stdev (30 Minute)</c:v>
                  </c:pt>
                  <c:pt idx="1866">
                    <c:v>Rolling Stdev (30 Minute)</c:v>
                  </c:pt>
                  <c:pt idx="1867">
                    <c:v>Rolling Stdev (30 Minute)</c:v>
                  </c:pt>
                  <c:pt idx="1868">
                    <c:v>Rolling Stdev (30 Minute)</c:v>
                  </c:pt>
                  <c:pt idx="1869">
                    <c:v>Rolling Stdev (30 Minute)</c:v>
                  </c:pt>
                  <c:pt idx="1870">
                    <c:v>Rolling Stdev (30 Minute)</c:v>
                  </c:pt>
                  <c:pt idx="1871">
                    <c:v>Rolling Stdev (30 Minute)</c:v>
                  </c:pt>
                  <c:pt idx="1872">
                    <c:v>Rolling Stdev (30 Minute)</c:v>
                  </c:pt>
                  <c:pt idx="1873">
                    <c:v>Rolling Stdev (30 Minute)</c:v>
                  </c:pt>
                  <c:pt idx="1874">
                    <c:v>Rolling Stdev (30 Minute)</c:v>
                  </c:pt>
                  <c:pt idx="1875">
                    <c:v>Rolling Stdev (30 Minute)</c:v>
                  </c:pt>
                  <c:pt idx="1876">
                    <c:v>Rolling Stdev (30 Minute)</c:v>
                  </c:pt>
                  <c:pt idx="1877">
                    <c:v>Rolling Stdev (30 Minute)</c:v>
                  </c:pt>
                  <c:pt idx="1878">
                    <c:v>Rolling Stdev (30 Minute)</c:v>
                  </c:pt>
                  <c:pt idx="1879">
                    <c:v>Rolling Stdev (30 Minute)</c:v>
                  </c:pt>
                  <c:pt idx="1880">
                    <c:v>Rolling Stdev (30 Minute)</c:v>
                  </c:pt>
                  <c:pt idx="1881">
                    <c:v>Rolling Stdev (30 Minute)</c:v>
                  </c:pt>
                  <c:pt idx="1882">
                    <c:v>Rolling Stdev (30 Minute)</c:v>
                  </c:pt>
                  <c:pt idx="1883">
                    <c:v>Rolling Stdev (30 Minute)</c:v>
                  </c:pt>
                  <c:pt idx="1884">
                    <c:v>Rolling Stdev (30 Minute)</c:v>
                  </c:pt>
                  <c:pt idx="1885">
                    <c:v>Rolling Stdev (30 Minute)</c:v>
                  </c:pt>
                  <c:pt idx="1886">
                    <c:v>Rolling Stdev (30 Minute)</c:v>
                  </c:pt>
                  <c:pt idx="1887">
                    <c:v>Rolling Stdev (30 Minute)</c:v>
                  </c:pt>
                  <c:pt idx="1888">
                    <c:v>Rolling Stdev (30 Minute)</c:v>
                  </c:pt>
                  <c:pt idx="1889">
                    <c:v>Rolling Stdev (30 Minute)</c:v>
                  </c:pt>
                  <c:pt idx="1890">
                    <c:v>Rolling Stdev (30 Minute)</c:v>
                  </c:pt>
                  <c:pt idx="1891">
                    <c:v>Rolling Stdev (30 Minute)</c:v>
                  </c:pt>
                  <c:pt idx="1892">
                    <c:v>Rolling Stdev (30 Minute)</c:v>
                  </c:pt>
                  <c:pt idx="1893">
                    <c:v>Rolling Stdev (30 Minute)</c:v>
                  </c:pt>
                  <c:pt idx="1894">
                    <c:v>Rolling Stdev (30 Minute)</c:v>
                  </c:pt>
                  <c:pt idx="1895">
                    <c:v>Rolling Stdev (30 Minute)</c:v>
                  </c:pt>
                  <c:pt idx="1896">
                    <c:v>Rolling Stdev (30 Minute)</c:v>
                  </c:pt>
                  <c:pt idx="1897">
                    <c:v>Rolling Stdev (30 Minute)</c:v>
                  </c:pt>
                  <c:pt idx="1898">
                    <c:v>Rolling Stdev (30 Minute)</c:v>
                  </c:pt>
                  <c:pt idx="1899">
                    <c:v>Rolling Stdev (30 Minute)</c:v>
                  </c:pt>
                  <c:pt idx="1900">
                    <c:v>Rolling Stdev (30 Minute)</c:v>
                  </c:pt>
                  <c:pt idx="1901">
                    <c:v>Rolling Stdev (30 Minute)</c:v>
                  </c:pt>
                  <c:pt idx="1902">
                    <c:v>Rolling Stdev (30 Minute)</c:v>
                  </c:pt>
                  <c:pt idx="1903">
                    <c:v>Rolling Stdev (30 Minute)</c:v>
                  </c:pt>
                  <c:pt idx="1904">
                    <c:v>Rolling Stdev (30 Minute)</c:v>
                  </c:pt>
                  <c:pt idx="1905">
                    <c:v>Rolling Stdev (30 Minute)</c:v>
                  </c:pt>
                  <c:pt idx="1906">
                    <c:v>Rolling Stdev (30 Minute)</c:v>
                  </c:pt>
                  <c:pt idx="1907">
                    <c:v>Rolling Stdev (30 Minute)</c:v>
                  </c:pt>
                  <c:pt idx="1908">
                    <c:v>Rolling Stdev (30 Minute)</c:v>
                  </c:pt>
                  <c:pt idx="1909">
                    <c:v>Rolling Stdev (30 Minute)</c:v>
                  </c:pt>
                  <c:pt idx="1910">
                    <c:v>Rolling Stdev (30 Minute)</c:v>
                  </c:pt>
                  <c:pt idx="1911">
                    <c:v>Rolling Stdev (30 Minute)</c:v>
                  </c:pt>
                  <c:pt idx="1912">
                    <c:v>Rolling Stdev (30 Minute)</c:v>
                  </c:pt>
                  <c:pt idx="1913">
                    <c:v>Rolling Stdev (30 Minute)</c:v>
                  </c:pt>
                  <c:pt idx="1914">
                    <c:v>Rolling Stdev (30 Minute)</c:v>
                  </c:pt>
                  <c:pt idx="1915">
                    <c:v>Rolling Stdev (30 Minute)</c:v>
                  </c:pt>
                  <c:pt idx="1916">
                    <c:v>Rolling Stdev (30 Minute)</c:v>
                  </c:pt>
                  <c:pt idx="1917">
                    <c:v>Rolling Stdev (30 Minute)</c:v>
                  </c:pt>
                  <c:pt idx="1918">
                    <c:v>Rolling Stdev (30 Minute)</c:v>
                  </c:pt>
                  <c:pt idx="1919">
                    <c:v>Rolling Stdev (30 Minute)</c:v>
                  </c:pt>
                  <c:pt idx="1920">
                    <c:v>Rolling Stdev (30 Minute)</c:v>
                  </c:pt>
                  <c:pt idx="1921">
                    <c:v>Rolling Stdev (30 Minute)</c:v>
                  </c:pt>
                  <c:pt idx="1922">
                    <c:v>Rolling Stdev (30 Minute)</c:v>
                  </c:pt>
                  <c:pt idx="1923">
                    <c:v>Rolling Stdev (30 Minute)</c:v>
                  </c:pt>
                  <c:pt idx="1924">
                    <c:v>Rolling Stdev (30 Minute)</c:v>
                  </c:pt>
                  <c:pt idx="1925">
                    <c:v>Rolling Stdev (30 Minute)</c:v>
                  </c:pt>
                  <c:pt idx="1926">
                    <c:v>Rolling Stdev (30 Minute)</c:v>
                  </c:pt>
                  <c:pt idx="1927">
                    <c:v>Rolling Stdev (30 Minute)</c:v>
                  </c:pt>
                  <c:pt idx="1928">
                    <c:v>Rolling Stdev (30 Minute)</c:v>
                  </c:pt>
                  <c:pt idx="1929">
                    <c:v>Rolling Stdev (30 Minute)</c:v>
                  </c:pt>
                  <c:pt idx="1930">
                    <c:v>Rolling Stdev (30 Minute)</c:v>
                  </c:pt>
                  <c:pt idx="1931">
                    <c:v>Rolling Stdev (30 Minute)</c:v>
                  </c:pt>
                  <c:pt idx="1932">
                    <c:v>Rolling Stdev (30 Minute)</c:v>
                  </c:pt>
                  <c:pt idx="1933">
                    <c:v>Rolling Stdev (30 Minute)</c:v>
                  </c:pt>
                  <c:pt idx="1934">
                    <c:v>Rolling Stdev (30 Minute)</c:v>
                  </c:pt>
                  <c:pt idx="1935">
                    <c:v>Rolling Stdev (30 Minute)</c:v>
                  </c:pt>
                  <c:pt idx="1936">
                    <c:v>Rolling Stdev (30 Minute)</c:v>
                  </c:pt>
                  <c:pt idx="1937">
                    <c:v>Rolling Stdev (30 Minute)</c:v>
                  </c:pt>
                  <c:pt idx="1938">
                    <c:v>Rolling Stdev (30 Minute)</c:v>
                  </c:pt>
                  <c:pt idx="1939">
                    <c:v>Rolling Stdev (30 Minute)</c:v>
                  </c:pt>
                  <c:pt idx="1940">
                    <c:v>Rolling Stdev (30 Minute)</c:v>
                  </c:pt>
                  <c:pt idx="1941">
                    <c:v>Rolling Stdev (30 Minute)</c:v>
                  </c:pt>
                  <c:pt idx="1942">
                    <c:v>Rolling Stdev (30 Minute)</c:v>
                  </c:pt>
                  <c:pt idx="1943">
                    <c:v>Rolling Stdev (30 Minute)</c:v>
                  </c:pt>
                  <c:pt idx="1944">
                    <c:v>Rolling Stdev (30 Minute)</c:v>
                  </c:pt>
                  <c:pt idx="1945">
                    <c:v>Rolling Stdev (30 Minute)</c:v>
                  </c:pt>
                  <c:pt idx="1946">
                    <c:v>Rolling Stdev (30 Minute)</c:v>
                  </c:pt>
                  <c:pt idx="1947">
                    <c:v>Rolling Stdev (30 Minute)</c:v>
                  </c:pt>
                  <c:pt idx="1948">
                    <c:v>Rolling Stdev (30 Minute)</c:v>
                  </c:pt>
                  <c:pt idx="1949">
                    <c:v>Rolling Stdev (30 Minute)</c:v>
                  </c:pt>
                  <c:pt idx="1950">
                    <c:v>Rolling Stdev (30 Minute)</c:v>
                  </c:pt>
                  <c:pt idx="1951">
                    <c:v>Rolling Stdev (30 Minute)</c:v>
                  </c:pt>
                  <c:pt idx="1952">
                    <c:v>Rolling Stdev (30 Minute)</c:v>
                  </c:pt>
                  <c:pt idx="1953">
                    <c:v>Rolling Stdev (30 Minute)</c:v>
                  </c:pt>
                  <c:pt idx="1954">
                    <c:v>Rolling Stdev (30 Minute)</c:v>
                  </c:pt>
                  <c:pt idx="1955">
                    <c:v>Rolling Stdev (30 Minute)</c:v>
                  </c:pt>
                  <c:pt idx="1956">
                    <c:v>Rolling Stdev (30 Minute)</c:v>
                  </c:pt>
                  <c:pt idx="1957">
                    <c:v>Rolling Stdev (30 Minute)</c:v>
                  </c:pt>
                  <c:pt idx="1958">
                    <c:v>Rolling Stdev (30 Minute)</c:v>
                  </c:pt>
                  <c:pt idx="1959">
                    <c:v>Rolling Stdev (30 Minute)</c:v>
                  </c:pt>
                  <c:pt idx="1960">
                    <c:v>Rolling Stdev (30 Minute)</c:v>
                  </c:pt>
                  <c:pt idx="1961">
                    <c:v>Rolling Stdev (30 Minute)</c:v>
                  </c:pt>
                  <c:pt idx="1962">
                    <c:v>Rolling Stdev (30 Minute)</c:v>
                  </c:pt>
                  <c:pt idx="1963">
                    <c:v>Rolling Stdev (30 Minute)</c:v>
                  </c:pt>
                  <c:pt idx="1964">
                    <c:v>Rolling Stdev (30 Minute)</c:v>
                  </c:pt>
                  <c:pt idx="1965">
                    <c:v>Rolling Stdev (30 Minute)</c:v>
                  </c:pt>
                  <c:pt idx="1966">
                    <c:v>Rolling Stdev (30 Minute)</c:v>
                  </c:pt>
                  <c:pt idx="1967">
                    <c:v>Rolling Stdev (30 Minute)</c:v>
                  </c:pt>
                  <c:pt idx="1968">
                    <c:v>Rolling Stdev (30 Minute)</c:v>
                  </c:pt>
                  <c:pt idx="1969">
                    <c:v>Rolling Stdev (30 Minute)</c:v>
                  </c:pt>
                  <c:pt idx="1970">
                    <c:v>Rolling Stdev (30 Minute)</c:v>
                  </c:pt>
                  <c:pt idx="1971">
                    <c:v>Rolling Stdev (30 Minute)</c:v>
                  </c:pt>
                  <c:pt idx="1972">
                    <c:v>Rolling Stdev (30 Minute)</c:v>
                  </c:pt>
                  <c:pt idx="1973">
                    <c:v>Rolling Stdev (30 Minute)</c:v>
                  </c:pt>
                  <c:pt idx="1974">
                    <c:v>Rolling Stdev (30 Minute)</c:v>
                  </c:pt>
                  <c:pt idx="1975">
                    <c:v>Rolling Stdev (30 Minute)</c:v>
                  </c:pt>
                  <c:pt idx="1976">
                    <c:v>Rolling Stdev (30 Minute)</c:v>
                  </c:pt>
                  <c:pt idx="1977">
                    <c:v>Rolling Stdev (30 Minute)</c:v>
                  </c:pt>
                  <c:pt idx="1978">
                    <c:v>Rolling Stdev (30 Minute)</c:v>
                  </c:pt>
                  <c:pt idx="1979">
                    <c:v>Rolling Stdev (30 Minute)</c:v>
                  </c:pt>
                  <c:pt idx="1980">
                    <c:v>Rolling Stdev (30 Minute)</c:v>
                  </c:pt>
                  <c:pt idx="1981">
                    <c:v>Rolling Stdev (30 Minute)</c:v>
                  </c:pt>
                  <c:pt idx="1982">
                    <c:v>Rolling Stdev (30 Minute)</c:v>
                  </c:pt>
                  <c:pt idx="1983">
                    <c:v>Rolling Stdev (30 Minute)</c:v>
                  </c:pt>
                  <c:pt idx="1984">
                    <c:v>Rolling Stdev (30 Minute)</c:v>
                  </c:pt>
                  <c:pt idx="1985">
                    <c:v>Rolling Stdev (30 Minute)</c:v>
                  </c:pt>
                  <c:pt idx="1986">
                    <c:v>Rolling Stdev (30 Minute)</c:v>
                  </c:pt>
                  <c:pt idx="1987">
                    <c:v>Rolling Stdev (30 Minute)</c:v>
                  </c:pt>
                  <c:pt idx="1988">
                    <c:v>Rolling Stdev (30 Minute)</c:v>
                  </c:pt>
                  <c:pt idx="1989">
                    <c:v>Rolling Stdev (30 Minute)</c:v>
                  </c:pt>
                  <c:pt idx="1990">
                    <c:v>Rolling Stdev (30 Minute)</c:v>
                  </c:pt>
                  <c:pt idx="1991">
                    <c:v>Rolling Stdev (30 Minute)</c:v>
                  </c:pt>
                  <c:pt idx="1992">
                    <c:v>Rolling Stdev (30 Minute)</c:v>
                  </c:pt>
                  <c:pt idx="1993">
                    <c:v>Rolling Stdev (30 Minute)</c:v>
                  </c:pt>
                  <c:pt idx="1994">
                    <c:v>Rolling Stdev (30 Minute)</c:v>
                  </c:pt>
                  <c:pt idx="1995">
                    <c:v>Rolling Stdev (30 Minute)</c:v>
                  </c:pt>
                  <c:pt idx="1996">
                    <c:v>Rolling Stdev (30 Minute)</c:v>
                  </c:pt>
                  <c:pt idx="1997">
                    <c:v>Rolling Stdev (30 Minute)</c:v>
                  </c:pt>
                  <c:pt idx="1998">
                    <c:v>Rolling Stdev (30 Minute)</c:v>
                  </c:pt>
                  <c:pt idx="1999">
                    <c:v>Rolling Stdev (30 Minute)</c:v>
                  </c:pt>
                  <c:pt idx="2000">
                    <c:v>Rolling Stdev (30 Minute)</c:v>
                  </c:pt>
                  <c:pt idx="2001">
                    <c:v>Rolling Stdev (30 Minute)</c:v>
                  </c:pt>
                  <c:pt idx="2002">
                    <c:v>Rolling Stdev (30 Minute)</c:v>
                  </c:pt>
                  <c:pt idx="2003">
                    <c:v>Rolling Stdev (30 Minute)</c:v>
                  </c:pt>
                  <c:pt idx="2004">
                    <c:v>Rolling Stdev (30 Minute)</c:v>
                  </c:pt>
                  <c:pt idx="2005">
                    <c:v>Rolling Stdev (30 Minute)</c:v>
                  </c:pt>
                  <c:pt idx="2006">
                    <c:v>Rolling Stdev (30 Minute)</c:v>
                  </c:pt>
                  <c:pt idx="2007">
                    <c:v>Rolling Stdev (30 Minute)</c:v>
                  </c:pt>
                  <c:pt idx="2008">
                    <c:v>Rolling Stdev (30 Minute)</c:v>
                  </c:pt>
                  <c:pt idx="2009">
                    <c:v>Rolling Stdev (30 Minute)</c:v>
                  </c:pt>
                  <c:pt idx="2010">
                    <c:v>Rolling Stdev (30 Minute)</c:v>
                  </c:pt>
                  <c:pt idx="2011">
                    <c:v>Rolling Stdev (30 Minute)</c:v>
                  </c:pt>
                  <c:pt idx="2012">
                    <c:v>Rolling Stdev (30 Minute)</c:v>
                  </c:pt>
                  <c:pt idx="2013">
                    <c:v>Rolling Stdev (30 Minute)</c:v>
                  </c:pt>
                  <c:pt idx="2014">
                    <c:v>Rolling Stdev (30 Minute)</c:v>
                  </c:pt>
                  <c:pt idx="2015">
                    <c:v>Rolling Stdev (30 Minute)</c:v>
                  </c:pt>
                  <c:pt idx="2016">
                    <c:v>Rolling Stdev (30 Minute)</c:v>
                  </c:pt>
                  <c:pt idx="2017">
                    <c:v>Rolling Stdev (30 Minute)</c:v>
                  </c:pt>
                  <c:pt idx="2018">
                    <c:v>Rolling Stdev (30 Minute)</c:v>
                  </c:pt>
                  <c:pt idx="2019">
                    <c:v>Rolling Stdev (30 Minute)</c:v>
                  </c:pt>
                  <c:pt idx="2020">
                    <c:v>Rolling Stdev (30 Minute)</c:v>
                  </c:pt>
                  <c:pt idx="2021">
                    <c:v>Rolling Stdev (30 Minute)</c:v>
                  </c:pt>
                  <c:pt idx="2022">
                    <c:v>Rolling Stdev (30 Minute)</c:v>
                  </c:pt>
                  <c:pt idx="2023">
                    <c:v>Rolling Stdev (30 Minute)</c:v>
                  </c:pt>
                  <c:pt idx="2024">
                    <c:v>Rolling Stdev (30 Minute)</c:v>
                  </c:pt>
                  <c:pt idx="2025">
                    <c:v>Rolling Stdev (30 Minute)</c:v>
                  </c:pt>
                  <c:pt idx="2026">
                    <c:v>Rolling Stdev (30 Minute)</c:v>
                  </c:pt>
                  <c:pt idx="2027">
                    <c:v>Rolling Stdev (30 Minute)</c:v>
                  </c:pt>
                  <c:pt idx="2028">
                    <c:v>Rolling Stdev (30 Minute)</c:v>
                  </c:pt>
                  <c:pt idx="2029">
                    <c:v>Rolling Stdev (30 Minute)</c:v>
                  </c:pt>
                  <c:pt idx="2030">
                    <c:v>Rolling Stdev (30 Minute)</c:v>
                  </c:pt>
                  <c:pt idx="2031">
                    <c:v>Rolling Stdev (30 Minute)</c:v>
                  </c:pt>
                  <c:pt idx="2032">
                    <c:v>Rolling Stdev (30 Minute)</c:v>
                  </c:pt>
                  <c:pt idx="2033">
                    <c:v>Rolling Stdev (30 Minute)</c:v>
                  </c:pt>
                  <c:pt idx="2034">
                    <c:v>Rolling Stdev (30 Minute)</c:v>
                  </c:pt>
                  <c:pt idx="2035">
                    <c:v>Rolling Stdev (30 Minute)</c:v>
                  </c:pt>
                  <c:pt idx="2036">
                    <c:v>Rolling Stdev (30 Minute)</c:v>
                  </c:pt>
                  <c:pt idx="2037">
                    <c:v>Rolling Stdev (30 Minute)</c:v>
                  </c:pt>
                  <c:pt idx="2038">
                    <c:v>Rolling Stdev (30 Minute)</c:v>
                  </c:pt>
                  <c:pt idx="2039">
                    <c:v>Rolling Stdev (30 Minute)</c:v>
                  </c:pt>
                  <c:pt idx="2040">
                    <c:v>Rolling Stdev (30 Minute)</c:v>
                  </c:pt>
                  <c:pt idx="2041">
                    <c:v>Rolling Stdev (30 Minute)</c:v>
                  </c:pt>
                  <c:pt idx="2042">
                    <c:v>Rolling Stdev (30 Minute)</c:v>
                  </c:pt>
                  <c:pt idx="2043">
                    <c:v>Rolling Stdev (30 Minute)</c:v>
                  </c:pt>
                  <c:pt idx="2044">
                    <c:v>Rolling Stdev (30 Minute)</c:v>
                  </c:pt>
                  <c:pt idx="2045">
                    <c:v>Rolling Stdev (30 Minute)</c:v>
                  </c:pt>
                  <c:pt idx="2046">
                    <c:v>Rolling Stdev (30 Minute)</c:v>
                  </c:pt>
                  <c:pt idx="2047">
                    <c:v>Rolling Stdev (30 Minute)</c:v>
                  </c:pt>
                  <c:pt idx="2048">
                    <c:v>Rolling Stdev (30 Minute)</c:v>
                  </c:pt>
                  <c:pt idx="2049">
                    <c:v>Rolling Stdev (30 Minute)</c:v>
                  </c:pt>
                  <c:pt idx="2050">
                    <c:v>Rolling Stdev (30 Minute)</c:v>
                  </c:pt>
                  <c:pt idx="2051">
                    <c:v>Rolling Stdev (30 Minute)</c:v>
                  </c:pt>
                  <c:pt idx="2052">
                    <c:v>Rolling Stdev (30 Minute)</c:v>
                  </c:pt>
                  <c:pt idx="2053">
                    <c:v>Rolling Stdev (30 Minute)</c:v>
                  </c:pt>
                  <c:pt idx="2054">
                    <c:v>Rolling Stdev (30 Minute)</c:v>
                  </c:pt>
                  <c:pt idx="2055">
                    <c:v>Rolling Stdev (30 Minute)</c:v>
                  </c:pt>
                  <c:pt idx="2056">
                    <c:v>Rolling Stdev (30 Minute)</c:v>
                  </c:pt>
                  <c:pt idx="2057">
                    <c:v>Rolling Stdev (30 Minute)</c:v>
                  </c:pt>
                  <c:pt idx="2058">
                    <c:v>Rolling Stdev (30 Minute)</c:v>
                  </c:pt>
                  <c:pt idx="2059">
                    <c:v>Rolling Stdev (30 Minute)</c:v>
                  </c:pt>
                  <c:pt idx="2060">
                    <c:v>Rolling Stdev (30 Minute)</c:v>
                  </c:pt>
                  <c:pt idx="2061">
                    <c:v>Rolling Stdev (30 Minute)</c:v>
                  </c:pt>
                  <c:pt idx="2062">
                    <c:v>Rolling Stdev (30 Minute)</c:v>
                  </c:pt>
                  <c:pt idx="2063">
                    <c:v>Rolling Stdev (30 Minute)</c:v>
                  </c:pt>
                  <c:pt idx="2064">
                    <c:v>Rolling Stdev (30 Minute)</c:v>
                  </c:pt>
                  <c:pt idx="2065">
                    <c:v>Rolling Stdev (30 Minute)</c:v>
                  </c:pt>
                  <c:pt idx="2066">
                    <c:v>Rolling Stdev (30 Minute)</c:v>
                  </c:pt>
                  <c:pt idx="2067">
                    <c:v>Rolling Stdev (30 Minute)</c:v>
                  </c:pt>
                  <c:pt idx="2068">
                    <c:v>Rolling Stdev (30 Minute)</c:v>
                  </c:pt>
                  <c:pt idx="2069">
                    <c:v>Rolling Stdev (30 Minute)</c:v>
                  </c:pt>
                  <c:pt idx="2070">
                    <c:v>Rolling Stdev (30 Minute)</c:v>
                  </c:pt>
                  <c:pt idx="2071">
                    <c:v>Rolling Stdev (30 Minute)</c:v>
                  </c:pt>
                  <c:pt idx="2072">
                    <c:v>Rolling Stdev (30 Minute)</c:v>
                  </c:pt>
                  <c:pt idx="2073">
                    <c:v>Rolling Stdev (30 Minute)</c:v>
                  </c:pt>
                  <c:pt idx="2074">
                    <c:v>Rolling Stdev (30 Minute)</c:v>
                  </c:pt>
                  <c:pt idx="2075">
                    <c:v>Rolling Stdev (30 Minute)</c:v>
                  </c:pt>
                  <c:pt idx="2076">
                    <c:v>Rolling Stdev (30 Minute)</c:v>
                  </c:pt>
                  <c:pt idx="2077">
                    <c:v>Rolling Stdev (30 Minute)</c:v>
                  </c:pt>
                  <c:pt idx="2078">
                    <c:v>Rolling Stdev (30 Minute)</c:v>
                  </c:pt>
                  <c:pt idx="2079">
                    <c:v>Rolling Stdev (30 Minute)</c:v>
                  </c:pt>
                  <c:pt idx="2080">
                    <c:v>Rolling Stdev (30 Minute)</c:v>
                  </c:pt>
                  <c:pt idx="2081">
                    <c:v>Rolling Stdev (30 Minute)</c:v>
                  </c:pt>
                  <c:pt idx="2082">
                    <c:v>Rolling Stdev (30 Minute)</c:v>
                  </c:pt>
                  <c:pt idx="2083">
                    <c:v>Rolling Stdev (30 Minute)</c:v>
                  </c:pt>
                  <c:pt idx="2084">
                    <c:v>Rolling Stdev (30 Minute)</c:v>
                  </c:pt>
                  <c:pt idx="2085">
                    <c:v>Rolling Stdev (30 Minute)</c:v>
                  </c:pt>
                  <c:pt idx="2086">
                    <c:v>Rolling Stdev (30 Minute)</c:v>
                  </c:pt>
                  <c:pt idx="2087">
                    <c:v>Rolling Stdev (30 Minute)</c:v>
                  </c:pt>
                  <c:pt idx="2088">
                    <c:v>Rolling Stdev (30 Minute)</c:v>
                  </c:pt>
                  <c:pt idx="2089">
                    <c:v>Rolling Stdev (30 Minute)</c:v>
                  </c:pt>
                  <c:pt idx="2090">
                    <c:v>Rolling Stdev (30 Minute)</c:v>
                  </c:pt>
                  <c:pt idx="2091">
                    <c:v>Rolling Stdev (30 Minute)</c:v>
                  </c:pt>
                  <c:pt idx="2092">
                    <c:v>Rolling Stdev (30 Minute)</c:v>
                  </c:pt>
                  <c:pt idx="2093">
                    <c:v>Rolling Stdev (30 Minute)</c:v>
                  </c:pt>
                  <c:pt idx="2094">
                    <c:v>Rolling Stdev (30 Minute)</c:v>
                  </c:pt>
                  <c:pt idx="2095">
                    <c:v>Rolling Stdev (30 Minute)</c:v>
                  </c:pt>
                  <c:pt idx="2096">
                    <c:v>Rolling Stdev (30 Minute)</c:v>
                  </c:pt>
                  <c:pt idx="2097">
                    <c:v>Rolling Stdev (30 Minute)</c:v>
                  </c:pt>
                  <c:pt idx="2098">
                    <c:v>Rolling Stdev (30 Minute)</c:v>
                  </c:pt>
                  <c:pt idx="2099">
                    <c:v>Rolling Stdev (30 Minute)</c:v>
                  </c:pt>
                  <c:pt idx="2100">
                    <c:v>Rolling Stdev (30 Minute)</c:v>
                  </c:pt>
                  <c:pt idx="2101">
                    <c:v>Rolling Stdev (30 Minute)</c:v>
                  </c:pt>
                  <c:pt idx="2102">
                    <c:v>Rolling Stdev (30 Minute)</c:v>
                  </c:pt>
                  <c:pt idx="2103">
                    <c:v>Rolling Stdev (30 Minute)</c:v>
                  </c:pt>
                  <c:pt idx="2104">
                    <c:v>Rolling Stdev (30 Minute)</c:v>
                  </c:pt>
                  <c:pt idx="2105">
                    <c:v>Rolling Stdev (30 Minute)</c:v>
                  </c:pt>
                  <c:pt idx="2106">
                    <c:v>Rolling Stdev (30 Minute)</c:v>
                  </c:pt>
                  <c:pt idx="2107">
                    <c:v>Rolling Stdev (30 Minute)</c:v>
                  </c:pt>
                  <c:pt idx="2108">
                    <c:v>Rolling Stdev (30 Minute)</c:v>
                  </c:pt>
                  <c:pt idx="2109">
                    <c:v>Rolling Stdev (30 Minute)</c:v>
                  </c:pt>
                  <c:pt idx="2110">
                    <c:v>Rolling Stdev (30 Minute)</c:v>
                  </c:pt>
                  <c:pt idx="2111">
                    <c:v>Rolling Stdev (30 Minute)</c:v>
                  </c:pt>
                  <c:pt idx="2112">
                    <c:v>Rolling Stdev (30 Minute)</c:v>
                  </c:pt>
                  <c:pt idx="2113">
                    <c:v>Rolling Stdev (30 Minute)</c:v>
                  </c:pt>
                  <c:pt idx="2114">
                    <c:v>Rolling Stdev (30 Minute)</c:v>
                  </c:pt>
                  <c:pt idx="2115">
                    <c:v>Rolling Stdev (30 Minute)</c:v>
                  </c:pt>
                  <c:pt idx="2116">
                    <c:v>Rolling Stdev (30 Minute)</c:v>
                  </c:pt>
                  <c:pt idx="2117">
                    <c:v>Rolling Stdev (30 Minute)</c:v>
                  </c:pt>
                  <c:pt idx="2118">
                    <c:v>Rolling Stdev (30 Minute)</c:v>
                  </c:pt>
                  <c:pt idx="2119">
                    <c:v>Rolling Stdev (30 Minute)</c:v>
                  </c:pt>
                  <c:pt idx="2120">
                    <c:v>Rolling Stdev (30 Minute)</c:v>
                  </c:pt>
                  <c:pt idx="2121">
                    <c:v>Rolling Stdev (30 Minute)</c:v>
                  </c:pt>
                  <c:pt idx="2122">
                    <c:v>Rolling Stdev (30 Minute)</c:v>
                  </c:pt>
                  <c:pt idx="2123">
                    <c:v>Rolling Stdev (30 Minute)</c:v>
                  </c:pt>
                  <c:pt idx="2124">
                    <c:v>Rolling Stdev (30 Minute)</c:v>
                  </c:pt>
                  <c:pt idx="2125">
                    <c:v>Rolling Stdev (30 Minute)</c:v>
                  </c:pt>
                  <c:pt idx="2126">
                    <c:v>Rolling Stdev (30 Minute)</c:v>
                  </c:pt>
                  <c:pt idx="2127">
                    <c:v>Rolling Stdev (30 Minute)</c:v>
                  </c:pt>
                  <c:pt idx="2128">
                    <c:v>Rolling Stdev (30 Minute)</c:v>
                  </c:pt>
                  <c:pt idx="2129">
                    <c:v>Rolling Stdev (30 Minute)</c:v>
                  </c:pt>
                  <c:pt idx="2130">
                    <c:v>Rolling Stdev (30 Minute)</c:v>
                  </c:pt>
                  <c:pt idx="2131">
                    <c:v>Rolling Stdev (30 Minute)</c:v>
                  </c:pt>
                  <c:pt idx="2132">
                    <c:v>Rolling Stdev (30 Minute)</c:v>
                  </c:pt>
                  <c:pt idx="2133">
                    <c:v>Rolling Stdev (30 Minute)</c:v>
                  </c:pt>
                  <c:pt idx="2134">
                    <c:v>Rolling Stdev (30 Minute)</c:v>
                  </c:pt>
                  <c:pt idx="2135">
                    <c:v>Rolling Stdev (30 Minute)</c:v>
                  </c:pt>
                  <c:pt idx="2136">
                    <c:v>Rolling Stdev (30 Minute)</c:v>
                  </c:pt>
                  <c:pt idx="2137">
                    <c:v>Rolling Stdev (30 Minute)</c:v>
                  </c:pt>
                  <c:pt idx="2138">
                    <c:v>Rolling Stdev (30 Minute)</c:v>
                  </c:pt>
                  <c:pt idx="2139">
                    <c:v>Rolling Stdev (30 Minute)</c:v>
                  </c:pt>
                  <c:pt idx="2140">
                    <c:v>Rolling Stdev (30 Minute)</c:v>
                  </c:pt>
                  <c:pt idx="2141">
                    <c:v>Rolling Stdev (30 Minute)</c:v>
                  </c:pt>
                  <c:pt idx="2142">
                    <c:v>Rolling Stdev (30 Minute)</c:v>
                  </c:pt>
                  <c:pt idx="2143">
                    <c:v>Rolling Stdev (30 Minute)</c:v>
                  </c:pt>
                  <c:pt idx="2144">
                    <c:v>Rolling Stdev (30 Minute)</c:v>
                  </c:pt>
                  <c:pt idx="2145">
                    <c:v>Rolling Stdev (30 Minute)</c:v>
                  </c:pt>
                  <c:pt idx="2146">
                    <c:v>Rolling Stdev (30 Minute)</c:v>
                  </c:pt>
                  <c:pt idx="2147">
                    <c:v>Rolling Stdev (30 Minute)</c:v>
                  </c:pt>
                  <c:pt idx="2148">
                    <c:v>Rolling Stdev (30 Minute)</c:v>
                  </c:pt>
                  <c:pt idx="2149">
                    <c:v>Rolling Stdev (30 Minute)</c:v>
                  </c:pt>
                  <c:pt idx="2150">
                    <c:v>Rolling Stdev (30 Minute)</c:v>
                  </c:pt>
                  <c:pt idx="2151">
                    <c:v>Rolling Stdev (30 Minute)</c:v>
                  </c:pt>
                  <c:pt idx="2152">
                    <c:v>Rolling Stdev (30 Minute)</c:v>
                  </c:pt>
                  <c:pt idx="2153">
                    <c:v>Rolling Stdev (30 Minute)</c:v>
                  </c:pt>
                  <c:pt idx="2154">
                    <c:v>Rolling Stdev (30 Minute)</c:v>
                  </c:pt>
                  <c:pt idx="2155">
                    <c:v>Rolling Stdev (30 Minute)</c:v>
                  </c:pt>
                  <c:pt idx="2156">
                    <c:v>Rolling Stdev (30 Minute)</c:v>
                  </c:pt>
                  <c:pt idx="2157">
                    <c:v>Rolling Stdev (30 Minute)</c:v>
                  </c:pt>
                  <c:pt idx="2158">
                    <c:v>Rolling Stdev (30 Minute)</c:v>
                  </c:pt>
                  <c:pt idx="2159">
                    <c:v>Rolling Stdev (30 Minute)</c:v>
                  </c:pt>
                  <c:pt idx="2160">
                    <c:v>Rolling Stdev (30 Minute)</c:v>
                  </c:pt>
                  <c:pt idx="2161">
                    <c:v>Rolling Stdev (30 Minute)</c:v>
                  </c:pt>
                  <c:pt idx="2162">
                    <c:v>Rolling Stdev (30 Minute)</c:v>
                  </c:pt>
                  <c:pt idx="2163">
                    <c:v>Rolling Stdev (30 Minute)</c:v>
                  </c:pt>
                  <c:pt idx="2164">
                    <c:v>Rolling Stdev (30 Minute)</c:v>
                  </c:pt>
                  <c:pt idx="2165">
                    <c:v>Rolling Stdev (30 Minute)</c:v>
                  </c:pt>
                  <c:pt idx="2166">
                    <c:v>Rolling Stdev (30 Minute)</c:v>
                  </c:pt>
                  <c:pt idx="2167">
                    <c:v>Rolling Stdev (30 Minute)</c:v>
                  </c:pt>
                  <c:pt idx="2168">
                    <c:v>Rolling Stdev (30 Minute)</c:v>
                  </c:pt>
                  <c:pt idx="2169">
                    <c:v>Rolling Stdev (30 Minute)</c:v>
                  </c:pt>
                  <c:pt idx="2170">
                    <c:v>Rolling Stdev (30 Minute)</c:v>
                  </c:pt>
                  <c:pt idx="2171">
                    <c:v>Rolling Stdev (30 Minute)</c:v>
                  </c:pt>
                  <c:pt idx="2172">
                    <c:v>Rolling Stdev (30 Minute)</c:v>
                  </c:pt>
                  <c:pt idx="2173">
                    <c:v>Rolling Stdev (30 Minute)</c:v>
                  </c:pt>
                  <c:pt idx="2174">
                    <c:v>Rolling Stdev (30 Minute)</c:v>
                  </c:pt>
                  <c:pt idx="2175">
                    <c:v>Rolling Stdev (30 Minute)</c:v>
                  </c:pt>
                  <c:pt idx="2176">
                    <c:v>Rolling Stdev (30 Minute)</c:v>
                  </c:pt>
                  <c:pt idx="2177">
                    <c:v>Rolling Stdev (30 Minute)</c:v>
                  </c:pt>
                  <c:pt idx="2178">
                    <c:v>Rolling Stdev (30 Minute)</c:v>
                  </c:pt>
                  <c:pt idx="2179">
                    <c:v>Rolling Stdev (30 Minute)</c:v>
                  </c:pt>
                  <c:pt idx="2180">
                    <c:v>Rolling Stdev (30 Minute)</c:v>
                  </c:pt>
                  <c:pt idx="2181">
                    <c:v>Rolling Stdev (30 Minute)</c:v>
                  </c:pt>
                  <c:pt idx="2182">
                    <c:v>Rolling Stdev (30 Minute)</c:v>
                  </c:pt>
                  <c:pt idx="2183">
                    <c:v>Rolling Stdev (30 Minute)</c:v>
                  </c:pt>
                  <c:pt idx="2184">
                    <c:v>Rolling Stdev (30 Minute)</c:v>
                  </c:pt>
                  <c:pt idx="2185">
                    <c:v>Rolling Stdev (30 Minute)</c:v>
                  </c:pt>
                  <c:pt idx="2186">
                    <c:v>Rolling Stdev (30 Minute)</c:v>
                  </c:pt>
                  <c:pt idx="2187">
                    <c:v>Rolling Stdev (30 Minute)</c:v>
                  </c:pt>
                  <c:pt idx="2188">
                    <c:v>Rolling Stdev (30 Minute)</c:v>
                  </c:pt>
                  <c:pt idx="2189">
                    <c:v>Rolling Stdev (30 Minute)</c:v>
                  </c:pt>
                  <c:pt idx="2190">
                    <c:v>Rolling Stdev (30 Minute)</c:v>
                  </c:pt>
                  <c:pt idx="2191">
                    <c:v>Rolling Stdev (30 Minute)</c:v>
                  </c:pt>
                  <c:pt idx="2192">
                    <c:v>Rolling Stdev (30 Minute)</c:v>
                  </c:pt>
                  <c:pt idx="2193">
                    <c:v>Rolling Stdev (30 Minute)</c:v>
                  </c:pt>
                  <c:pt idx="2194">
                    <c:v>Rolling Stdev (30 Minute)</c:v>
                  </c:pt>
                  <c:pt idx="2195">
                    <c:v>Rolling Stdev (30 Minute)</c:v>
                  </c:pt>
                  <c:pt idx="2196">
                    <c:v>Rolling Stdev (30 Minute)</c:v>
                  </c:pt>
                  <c:pt idx="2197">
                    <c:v>Rolling Stdev (30 Minute)</c:v>
                  </c:pt>
                  <c:pt idx="2198">
                    <c:v>Rolling Stdev (30 Minute)</c:v>
                  </c:pt>
                  <c:pt idx="2199">
                    <c:v>Rolling Stdev (30 Minute)</c:v>
                  </c:pt>
                  <c:pt idx="2200">
                    <c:v>Rolling Stdev (30 Minute)</c:v>
                  </c:pt>
                  <c:pt idx="2201">
                    <c:v>Rolling Stdev (30 Minute)</c:v>
                  </c:pt>
                  <c:pt idx="2202">
                    <c:v>Rolling Stdev (30 Minute)</c:v>
                  </c:pt>
                  <c:pt idx="2203">
                    <c:v>Rolling Stdev (30 Minute)</c:v>
                  </c:pt>
                  <c:pt idx="2204">
                    <c:v>Rolling Stdev (30 Minute)</c:v>
                  </c:pt>
                  <c:pt idx="2205">
                    <c:v>Rolling Stdev (30 Minute)</c:v>
                  </c:pt>
                  <c:pt idx="2206">
                    <c:v>Rolling Stdev (30 Minute)</c:v>
                  </c:pt>
                  <c:pt idx="2207">
                    <c:v>Rolling Stdev (30 Minute)</c:v>
                  </c:pt>
                  <c:pt idx="2208">
                    <c:v>Rolling Stdev (30 Minute)</c:v>
                  </c:pt>
                  <c:pt idx="2209">
                    <c:v>Rolling Stdev (30 Minute)</c:v>
                  </c:pt>
                  <c:pt idx="2210">
                    <c:v>Rolling Stdev (30 Minute)</c:v>
                  </c:pt>
                  <c:pt idx="2211">
                    <c:v>Rolling Stdev (30 Minute)</c:v>
                  </c:pt>
                  <c:pt idx="2212">
                    <c:v>Rolling Stdev (30 Minute)</c:v>
                  </c:pt>
                  <c:pt idx="2213">
                    <c:v>Rolling Stdev (30 Minute)</c:v>
                  </c:pt>
                  <c:pt idx="2214">
                    <c:v>Rolling Stdev (30 Minute)</c:v>
                  </c:pt>
                  <c:pt idx="2215">
                    <c:v>Rolling Stdev (30 Minute)</c:v>
                  </c:pt>
                  <c:pt idx="2216">
                    <c:v>Rolling Stdev (30 Minute)</c:v>
                  </c:pt>
                  <c:pt idx="2217">
                    <c:v>Rolling Stdev (30 Minute)</c:v>
                  </c:pt>
                  <c:pt idx="2218">
                    <c:v>Rolling Stdev (30 Minute)</c:v>
                  </c:pt>
                  <c:pt idx="2219">
                    <c:v>Rolling Stdev (30 Minute)</c:v>
                  </c:pt>
                  <c:pt idx="2220">
                    <c:v>Rolling Stdev (30 Minute)</c:v>
                  </c:pt>
                  <c:pt idx="2221">
                    <c:v>Rolling Stdev (30 Minute)</c:v>
                  </c:pt>
                  <c:pt idx="2222">
                    <c:v>Rolling Stdev (30 Minute)</c:v>
                  </c:pt>
                  <c:pt idx="2223">
                    <c:v>Rolling Stdev (30 Minute)</c:v>
                  </c:pt>
                  <c:pt idx="2224">
                    <c:v>Rolling Stdev (30 Minute)</c:v>
                  </c:pt>
                  <c:pt idx="2225">
                    <c:v>Rolling Stdev (30 Minute)</c:v>
                  </c:pt>
                  <c:pt idx="2226">
                    <c:v>Rolling Stdev (30 Minute)</c:v>
                  </c:pt>
                  <c:pt idx="2227">
                    <c:v>Rolling Stdev (30 Minute)</c:v>
                  </c:pt>
                  <c:pt idx="2228">
                    <c:v>Rolling Stdev (30 Minute)</c:v>
                  </c:pt>
                  <c:pt idx="2229">
                    <c:v>Rolling Stdev (30 Minute)</c:v>
                  </c:pt>
                  <c:pt idx="2230">
                    <c:v>Rolling Stdev (30 Minute)</c:v>
                  </c:pt>
                  <c:pt idx="2231">
                    <c:v>Rolling Stdev (30 Minute)</c:v>
                  </c:pt>
                  <c:pt idx="2232">
                    <c:v>Rolling Stdev (30 Minute)</c:v>
                  </c:pt>
                  <c:pt idx="2233">
                    <c:v>Rolling Stdev (30 Minute)</c:v>
                  </c:pt>
                  <c:pt idx="2234">
                    <c:v>Rolling Stdev (30 Minute)</c:v>
                  </c:pt>
                  <c:pt idx="2235">
                    <c:v>Rolling Stdev (30 Minute)</c:v>
                  </c:pt>
                  <c:pt idx="2236">
                    <c:v>Rolling Stdev (30 Minute)</c:v>
                  </c:pt>
                  <c:pt idx="2237">
                    <c:v>Rolling Stdev (30 Minute)</c:v>
                  </c:pt>
                  <c:pt idx="2238">
                    <c:v>Rolling Stdev (30 Minute)</c:v>
                  </c:pt>
                  <c:pt idx="2239">
                    <c:v>Rolling Stdev (30 Minute)</c:v>
                  </c:pt>
                  <c:pt idx="2240">
                    <c:v>Rolling Stdev (30 Minute)</c:v>
                  </c:pt>
                  <c:pt idx="2241">
                    <c:v>Rolling Stdev (30 Minute)</c:v>
                  </c:pt>
                  <c:pt idx="2242">
                    <c:v>Rolling Stdev (30 Minute)</c:v>
                  </c:pt>
                  <c:pt idx="2243">
                    <c:v>Rolling Stdev (30 Minute)</c:v>
                  </c:pt>
                  <c:pt idx="2244">
                    <c:v>Rolling Stdev (30 Minute)</c:v>
                  </c:pt>
                  <c:pt idx="2245">
                    <c:v>Rolling Stdev (30 Minute)</c:v>
                  </c:pt>
                  <c:pt idx="2246">
                    <c:v>Rolling Stdev (30 Minute)</c:v>
                  </c:pt>
                  <c:pt idx="2247">
                    <c:v>Rolling Stdev (30 Minute)</c:v>
                  </c:pt>
                  <c:pt idx="2248">
                    <c:v>Rolling Stdev (30 Minute)</c:v>
                  </c:pt>
                  <c:pt idx="2249">
                    <c:v>Rolling Stdev (30 Minute)</c:v>
                  </c:pt>
                  <c:pt idx="2250">
                    <c:v>Rolling Stdev (30 Minute)</c:v>
                  </c:pt>
                  <c:pt idx="2251">
                    <c:v>Rolling Stdev (30 Minute)</c:v>
                  </c:pt>
                  <c:pt idx="2252">
                    <c:v>Rolling Stdev (30 Minute)</c:v>
                  </c:pt>
                  <c:pt idx="2253">
                    <c:v>Rolling Stdev (30 Minute)</c:v>
                  </c:pt>
                  <c:pt idx="2254">
                    <c:v>Rolling Stdev (30 Minute)</c:v>
                  </c:pt>
                  <c:pt idx="2255">
                    <c:v>Rolling Stdev (30 Minute)</c:v>
                  </c:pt>
                  <c:pt idx="2256">
                    <c:v>Rolling Stdev (30 Minute)</c:v>
                  </c:pt>
                  <c:pt idx="2257">
                    <c:v>Rolling Stdev (30 Minute)</c:v>
                  </c:pt>
                  <c:pt idx="2258">
                    <c:v>Rolling Stdev (30 Minute)</c:v>
                  </c:pt>
                  <c:pt idx="2259">
                    <c:v>Rolling Stdev (30 Minute)</c:v>
                  </c:pt>
                  <c:pt idx="2260">
                    <c:v>Rolling Stdev (30 Minute)</c:v>
                  </c:pt>
                  <c:pt idx="2261">
                    <c:v>Rolling Stdev (30 Minute)</c:v>
                  </c:pt>
                  <c:pt idx="2262">
                    <c:v>Rolling Stdev (30 Minute)</c:v>
                  </c:pt>
                  <c:pt idx="2263">
                    <c:v>Rolling Stdev (30 Minute)</c:v>
                  </c:pt>
                  <c:pt idx="2264">
                    <c:v>Rolling Stdev (30 Minute)</c:v>
                  </c:pt>
                  <c:pt idx="2265">
                    <c:v>Rolling Stdev (30 Minute)</c:v>
                  </c:pt>
                  <c:pt idx="2266">
                    <c:v>Rolling Stdev (30 Minute)</c:v>
                  </c:pt>
                  <c:pt idx="2267">
                    <c:v>Rolling Stdev (30 Minute)</c:v>
                  </c:pt>
                  <c:pt idx="2268">
                    <c:v>Rolling Stdev (30 Minute)</c:v>
                  </c:pt>
                  <c:pt idx="2269">
                    <c:v>Rolling Stdev (30 Minute)</c:v>
                  </c:pt>
                  <c:pt idx="2270">
                    <c:v>Rolling Stdev (30 Minute)</c:v>
                  </c:pt>
                  <c:pt idx="2271">
                    <c:v>Rolling Stdev (30 Minute)</c:v>
                  </c:pt>
                  <c:pt idx="2272">
                    <c:v>Rolling Stdev (30 Minute)</c:v>
                  </c:pt>
                  <c:pt idx="2273">
                    <c:v>Rolling Stdev (30 Minute)</c:v>
                  </c:pt>
                  <c:pt idx="2274">
                    <c:v>Rolling Stdev (30 Minute)</c:v>
                  </c:pt>
                  <c:pt idx="2275">
                    <c:v>Rolling Stdev (30 Minute)</c:v>
                  </c:pt>
                  <c:pt idx="2276">
                    <c:v>Rolling Stdev (30 Minute)</c:v>
                  </c:pt>
                  <c:pt idx="2277">
                    <c:v>Rolling Stdev (30 Minute)</c:v>
                  </c:pt>
                  <c:pt idx="2278">
                    <c:v>Rolling Stdev (30 Minute)</c:v>
                  </c:pt>
                  <c:pt idx="2279">
                    <c:v>Rolling Stdev (30 Minute)</c:v>
                  </c:pt>
                  <c:pt idx="2280">
                    <c:v>Rolling Stdev (30 Minute)</c:v>
                  </c:pt>
                  <c:pt idx="2281">
                    <c:v>Rolling Stdev (30 Minute)</c:v>
                  </c:pt>
                  <c:pt idx="2282">
                    <c:v>Rolling Stdev (30 Minute)</c:v>
                  </c:pt>
                  <c:pt idx="2283">
                    <c:v>Rolling Stdev (30 Minute)</c:v>
                  </c:pt>
                  <c:pt idx="2284">
                    <c:v>Rolling Stdev (30 Minute)</c:v>
                  </c:pt>
                  <c:pt idx="2285">
                    <c:v>Rolling Stdev (30 Minute)</c:v>
                  </c:pt>
                  <c:pt idx="2286">
                    <c:v>Rolling Stdev (30 Minute)</c:v>
                  </c:pt>
                  <c:pt idx="2287">
                    <c:v>Rolling Stdev (30 Minute)</c:v>
                  </c:pt>
                  <c:pt idx="2288">
                    <c:v>Rolling Stdev (30 Minute)</c:v>
                  </c:pt>
                  <c:pt idx="2289">
                    <c:v>Rolling Stdev (30 Minute)</c:v>
                  </c:pt>
                  <c:pt idx="2290">
                    <c:v>Rolling Stdev (30 Minute)</c:v>
                  </c:pt>
                  <c:pt idx="2291">
                    <c:v>Rolling Stdev (30 Minute)</c:v>
                  </c:pt>
                  <c:pt idx="2292">
                    <c:v>Rolling Stdev (30 Minute)</c:v>
                  </c:pt>
                  <c:pt idx="2293">
                    <c:v>Rolling Stdev (30 Minute)</c:v>
                  </c:pt>
                  <c:pt idx="2294">
                    <c:v>Rolling Stdev (30 Minute)</c:v>
                  </c:pt>
                  <c:pt idx="2295">
                    <c:v>Rolling Stdev (30 Minute)</c:v>
                  </c:pt>
                  <c:pt idx="2296">
                    <c:v>Rolling Stdev (30 Minute)</c:v>
                  </c:pt>
                  <c:pt idx="2297">
                    <c:v>Rolling Stdev (30 Minute)</c:v>
                  </c:pt>
                  <c:pt idx="2298">
                    <c:v>Rolling Stdev (30 Minute)</c:v>
                  </c:pt>
                  <c:pt idx="2299">
                    <c:v>Rolling Stdev (30 Minute)</c:v>
                  </c:pt>
                  <c:pt idx="2300">
                    <c:v>Rolling Stdev (30 Minute)</c:v>
                  </c:pt>
                  <c:pt idx="2301">
                    <c:v>Rolling Stdev (30 Minute)</c:v>
                  </c:pt>
                  <c:pt idx="2302">
                    <c:v>Rolling Stdev (30 Minute)</c:v>
                  </c:pt>
                  <c:pt idx="2303">
                    <c:v>Rolling Stdev (30 Minute)</c:v>
                  </c:pt>
                  <c:pt idx="2304">
                    <c:v>Rolling Stdev (30 Minute)</c:v>
                  </c:pt>
                  <c:pt idx="2305">
                    <c:v>Rolling Stdev (30 Minute)</c:v>
                  </c:pt>
                  <c:pt idx="2306">
                    <c:v>Rolling Stdev (30 Minute)</c:v>
                  </c:pt>
                  <c:pt idx="2307">
                    <c:v>Rolling Stdev (30 Minute)</c:v>
                  </c:pt>
                  <c:pt idx="2308">
                    <c:v>Rolling Stdev (30 Minute)</c:v>
                  </c:pt>
                  <c:pt idx="2309">
                    <c:v>Rolling Stdev (30 Minute)</c:v>
                  </c:pt>
                  <c:pt idx="2310">
                    <c:v>Rolling Stdev (30 Minute)</c:v>
                  </c:pt>
                  <c:pt idx="2311">
                    <c:v>Rolling Stdev (30 Minute)</c:v>
                  </c:pt>
                  <c:pt idx="2312">
                    <c:v>Rolling Stdev (30 Minute)</c:v>
                  </c:pt>
                  <c:pt idx="2313">
                    <c:v>Rolling Stdev (30 Minute)</c:v>
                  </c:pt>
                  <c:pt idx="2314">
                    <c:v>Rolling Stdev (30 Minute)</c:v>
                  </c:pt>
                  <c:pt idx="2315">
                    <c:v>Rolling Stdev (30 Minute)</c:v>
                  </c:pt>
                  <c:pt idx="2316">
                    <c:v>Rolling Stdev (30 Minute)</c:v>
                  </c:pt>
                  <c:pt idx="2317">
                    <c:v>Rolling Stdev (30 Minute)</c:v>
                  </c:pt>
                  <c:pt idx="2318">
                    <c:v>Rolling Stdev (30 Minute)</c:v>
                  </c:pt>
                  <c:pt idx="2319">
                    <c:v>Rolling Stdev (30 Minute)</c:v>
                  </c:pt>
                  <c:pt idx="2320">
                    <c:v>Rolling Stdev (30 Minute)</c:v>
                  </c:pt>
                  <c:pt idx="2321">
                    <c:v>Rolling Stdev (30 Minute)</c:v>
                  </c:pt>
                  <c:pt idx="2322">
                    <c:v>Rolling Stdev (30 Minute)</c:v>
                  </c:pt>
                  <c:pt idx="2323">
                    <c:v>Rolling Stdev (30 Minute)</c:v>
                  </c:pt>
                  <c:pt idx="2324">
                    <c:v>Rolling Stdev (30 Minute)</c:v>
                  </c:pt>
                  <c:pt idx="2325">
                    <c:v>Rolling Stdev (30 Minute)</c:v>
                  </c:pt>
                  <c:pt idx="2326">
                    <c:v>Rolling Stdev (30 Minute)</c:v>
                  </c:pt>
                  <c:pt idx="2327">
                    <c:v>Rolling Stdev (30 Minute)</c:v>
                  </c:pt>
                  <c:pt idx="2328">
                    <c:v>Rolling Stdev (30 Minute)</c:v>
                  </c:pt>
                  <c:pt idx="2329">
                    <c:v>Rolling Stdev (30 Minute)</c:v>
                  </c:pt>
                  <c:pt idx="2330">
                    <c:v>Rolling Stdev (30 Minute)</c:v>
                  </c:pt>
                  <c:pt idx="2331">
                    <c:v>Rolling Stdev (30 Minute)</c:v>
                  </c:pt>
                  <c:pt idx="2332">
                    <c:v>Rolling Stdev (30 Minute)</c:v>
                  </c:pt>
                  <c:pt idx="2333">
                    <c:v>Rolling Stdev (30 Minute)</c:v>
                  </c:pt>
                  <c:pt idx="2334">
                    <c:v>Rolling Stdev (30 Minute)</c:v>
                  </c:pt>
                  <c:pt idx="2335">
                    <c:v>Rolling Stdev (30 Minute)</c:v>
                  </c:pt>
                  <c:pt idx="2336">
                    <c:v>Rolling Stdev (30 Minute)</c:v>
                  </c:pt>
                  <c:pt idx="2337">
                    <c:v>Rolling Stdev (30 Minute)</c:v>
                  </c:pt>
                  <c:pt idx="2338">
                    <c:v>Rolling Stdev (30 Minute)</c:v>
                  </c:pt>
                  <c:pt idx="2339">
                    <c:v>Rolling Stdev (30 Minute)</c:v>
                  </c:pt>
                  <c:pt idx="2340">
                    <c:v>Rolling Stdev (30 Minute)</c:v>
                  </c:pt>
                  <c:pt idx="2341">
                    <c:v>Rolling Stdev (30 Minute)</c:v>
                  </c:pt>
                  <c:pt idx="2342">
                    <c:v>Rolling Stdev (30 Minute)</c:v>
                  </c:pt>
                  <c:pt idx="2343">
                    <c:v>Rolling Stdev (30 Minute)</c:v>
                  </c:pt>
                  <c:pt idx="2344">
                    <c:v>Rolling Stdev (30 Minute)</c:v>
                  </c:pt>
                  <c:pt idx="2345">
                    <c:v>Rolling Stdev (30 Minute)</c:v>
                  </c:pt>
                  <c:pt idx="2346">
                    <c:v>Rolling Stdev (30 Minute)</c:v>
                  </c:pt>
                  <c:pt idx="2347">
                    <c:v>Rolling Stdev (30 Minute)</c:v>
                  </c:pt>
                  <c:pt idx="2348">
                    <c:v>Rolling Stdev (30 Minute)</c:v>
                  </c:pt>
                  <c:pt idx="2349">
                    <c:v>Rolling Stdev (30 Minute)</c:v>
                  </c:pt>
                  <c:pt idx="2350">
                    <c:v>Rolling Stdev (30 Minute)</c:v>
                  </c:pt>
                  <c:pt idx="2351">
                    <c:v>Rolling Stdev (30 Minute)</c:v>
                  </c:pt>
                  <c:pt idx="2352">
                    <c:v>Rolling Stdev (30 Minute)</c:v>
                  </c:pt>
                  <c:pt idx="2353">
                    <c:v>Rolling Stdev (30 Minute)</c:v>
                  </c:pt>
                  <c:pt idx="2354">
                    <c:v>Rolling Stdev (30 Minute)</c:v>
                  </c:pt>
                  <c:pt idx="2355">
                    <c:v>Rolling Stdev (30 Minute)</c:v>
                  </c:pt>
                  <c:pt idx="2356">
                    <c:v>Rolling Stdev (30 Minute)</c:v>
                  </c:pt>
                  <c:pt idx="2357">
                    <c:v>Rolling Stdev (30 Minute)</c:v>
                  </c:pt>
                  <c:pt idx="2358">
                    <c:v>Rolling Stdev (30 Minute)</c:v>
                  </c:pt>
                  <c:pt idx="2359">
                    <c:v>Rolling Stdev (30 Minute)</c:v>
                  </c:pt>
                  <c:pt idx="2360">
                    <c:v>Rolling Stdev (30 Minute)</c:v>
                  </c:pt>
                  <c:pt idx="2361">
                    <c:v>Rolling Stdev (30 Minute)</c:v>
                  </c:pt>
                  <c:pt idx="2362">
                    <c:v>Rolling Stdev (30 Minute)</c:v>
                  </c:pt>
                  <c:pt idx="2363">
                    <c:v>Rolling Stdev (30 Minute)</c:v>
                  </c:pt>
                  <c:pt idx="2364">
                    <c:v>Rolling Stdev (30 Minute)</c:v>
                  </c:pt>
                  <c:pt idx="2365">
                    <c:v>Rolling Stdev (30 Minute)</c:v>
                  </c:pt>
                  <c:pt idx="2366">
                    <c:v>Rolling Stdev (30 Minute)</c:v>
                  </c:pt>
                  <c:pt idx="2367">
                    <c:v>Rolling Stdev (30 Minute)</c:v>
                  </c:pt>
                  <c:pt idx="2368">
                    <c:v>Rolling Stdev (30 Minute)</c:v>
                  </c:pt>
                  <c:pt idx="2369">
                    <c:v>Rolling Stdev (30 Minute)</c:v>
                  </c:pt>
                  <c:pt idx="2370">
                    <c:v>Rolling Stdev (30 Minute)</c:v>
                  </c:pt>
                  <c:pt idx="2371">
                    <c:v>Rolling Stdev (30 Minute)</c:v>
                  </c:pt>
                  <c:pt idx="2372">
                    <c:v>Rolling Stdev (30 Minute)</c:v>
                  </c:pt>
                  <c:pt idx="2373">
                    <c:v>Rolling Stdev (30 Minute)</c:v>
                  </c:pt>
                  <c:pt idx="2374">
                    <c:v>Rolling Stdev (30 Minute)</c:v>
                  </c:pt>
                  <c:pt idx="2375">
                    <c:v>Rolling Stdev (30 Minute)</c:v>
                  </c:pt>
                  <c:pt idx="2376">
                    <c:v>Rolling Stdev (30 Minute)</c:v>
                  </c:pt>
                  <c:pt idx="2377">
                    <c:v>Rolling Stdev (30 Minute)</c:v>
                  </c:pt>
                  <c:pt idx="2378">
                    <c:v>Rolling Stdev (30 Minute)</c:v>
                  </c:pt>
                  <c:pt idx="2379">
                    <c:v>Rolling Stdev (30 Minute)</c:v>
                  </c:pt>
                  <c:pt idx="2380">
                    <c:v>Rolling Stdev (30 Minute)</c:v>
                  </c:pt>
                  <c:pt idx="2381">
                    <c:v>Rolling Stdev (30 Minute)</c:v>
                  </c:pt>
                  <c:pt idx="2382">
                    <c:v>Rolling Stdev (30 Minute)</c:v>
                  </c:pt>
                  <c:pt idx="2383">
                    <c:v>Rolling Stdev (30 Minute)</c:v>
                  </c:pt>
                  <c:pt idx="2384">
                    <c:v>Rolling Stdev (30 Minute)</c:v>
                  </c:pt>
                  <c:pt idx="2385">
                    <c:v>Rolling Stdev (30 Minute)</c:v>
                  </c:pt>
                  <c:pt idx="2386">
                    <c:v>Rolling Stdev (30 Minute)</c:v>
                  </c:pt>
                  <c:pt idx="2387">
                    <c:v>Rolling Stdev (30 Minute)</c:v>
                  </c:pt>
                  <c:pt idx="2388">
                    <c:v>Rolling Stdev (30 Minute)</c:v>
                  </c:pt>
                  <c:pt idx="2389">
                    <c:v>Rolling Stdev (30 Minute)</c:v>
                  </c:pt>
                  <c:pt idx="2390">
                    <c:v>Rolling Stdev (30 Minute)</c:v>
                  </c:pt>
                  <c:pt idx="2391">
                    <c:v>Rolling Stdev (30 Minute)</c:v>
                  </c:pt>
                  <c:pt idx="2392">
                    <c:v>Rolling Stdev (30 Minute)</c:v>
                  </c:pt>
                  <c:pt idx="2393">
                    <c:v>Rolling Stdev (30 Minute)</c:v>
                  </c:pt>
                  <c:pt idx="2394">
                    <c:v>Rolling Stdev (30 Minute)</c:v>
                  </c:pt>
                  <c:pt idx="2395">
                    <c:v>Rolling Stdev (30 Minute)</c:v>
                  </c:pt>
                  <c:pt idx="2396">
                    <c:v>Rolling Stdev (30 Minute)</c:v>
                  </c:pt>
                  <c:pt idx="2397">
                    <c:v>Rolling Stdev (30 Minute)</c:v>
                  </c:pt>
                  <c:pt idx="2398">
                    <c:v>Rolling Stdev (30 Minute)</c:v>
                  </c:pt>
                  <c:pt idx="2399">
                    <c:v>Rolling Stdev (30 Minute)</c:v>
                  </c:pt>
                  <c:pt idx="2400">
                    <c:v>Rolling Stdev (30 Minute)</c:v>
                  </c:pt>
                  <c:pt idx="2401">
                    <c:v>Rolling Stdev (30 Minute)</c:v>
                  </c:pt>
                  <c:pt idx="2402">
                    <c:v>Rolling Stdev (30 Minute)</c:v>
                  </c:pt>
                  <c:pt idx="2403">
                    <c:v>Rolling Stdev (30 Minute)</c:v>
                  </c:pt>
                  <c:pt idx="2404">
                    <c:v>Rolling Stdev (30 Minute)</c:v>
                  </c:pt>
                  <c:pt idx="2405">
                    <c:v>Rolling Stdev (30 Minute)</c:v>
                  </c:pt>
                  <c:pt idx="2406">
                    <c:v>Rolling Stdev (30 Minute)</c:v>
                  </c:pt>
                  <c:pt idx="2407">
                    <c:v>Rolling Stdev (30 Minute)</c:v>
                  </c:pt>
                  <c:pt idx="2408">
                    <c:v>Rolling Stdev (30 Minute)</c:v>
                  </c:pt>
                  <c:pt idx="2409">
                    <c:v>Rolling Stdev (30 Minute)</c:v>
                  </c:pt>
                  <c:pt idx="2410">
                    <c:v>Rolling Stdev (30 Minute)</c:v>
                  </c:pt>
                  <c:pt idx="2411">
                    <c:v>Rolling Stdev (30 Minute)</c:v>
                  </c:pt>
                  <c:pt idx="2412">
                    <c:v>Rolling Stdev (30 Minute)</c:v>
                  </c:pt>
                  <c:pt idx="2413">
                    <c:v>Rolling Stdev (30 Minute)</c:v>
                  </c:pt>
                  <c:pt idx="2414">
                    <c:v>Rolling Stdev (30 Minute)</c:v>
                  </c:pt>
                  <c:pt idx="2415">
                    <c:v>Rolling Stdev (30 Minute)</c:v>
                  </c:pt>
                  <c:pt idx="2416">
                    <c:v>Rolling Stdev (30 Minute)</c:v>
                  </c:pt>
                  <c:pt idx="2417">
                    <c:v>Rolling Stdev (30 Minute)</c:v>
                  </c:pt>
                  <c:pt idx="2418">
                    <c:v>Rolling Stdev (30 Minute)</c:v>
                  </c:pt>
                  <c:pt idx="2419">
                    <c:v>Rolling Stdev (30 Minute)</c:v>
                  </c:pt>
                  <c:pt idx="2420">
                    <c:v>Rolling Stdev (30 Minute)</c:v>
                  </c:pt>
                  <c:pt idx="2421">
                    <c:v>Rolling Stdev (30 Minute)</c:v>
                  </c:pt>
                  <c:pt idx="2422">
                    <c:v>Rolling Stdev (30 Minute)</c:v>
                  </c:pt>
                  <c:pt idx="2423">
                    <c:v>Rolling Stdev (30 Minute)</c:v>
                  </c:pt>
                  <c:pt idx="2424">
                    <c:v>Rolling Stdev (30 Minute)</c:v>
                  </c:pt>
                  <c:pt idx="2425">
                    <c:v>Rolling Stdev (30 Minute)</c:v>
                  </c:pt>
                  <c:pt idx="2426">
                    <c:v>Rolling Stdev (30 Minute)</c:v>
                  </c:pt>
                  <c:pt idx="2427">
                    <c:v>Rolling Stdev (30 Minute)</c:v>
                  </c:pt>
                  <c:pt idx="2428">
                    <c:v>Rolling Stdev (30 Minute)</c:v>
                  </c:pt>
                  <c:pt idx="2429">
                    <c:v>Rolling Stdev (30 Minute)</c:v>
                  </c:pt>
                  <c:pt idx="2430">
                    <c:v>Rolling Stdev (30 Minute)</c:v>
                  </c:pt>
                  <c:pt idx="2431">
                    <c:v>Rolling Stdev (30 Minute)</c:v>
                  </c:pt>
                  <c:pt idx="2432">
                    <c:v>Rolling Stdev (30 Minute)</c:v>
                  </c:pt>
                  <c:pt idx="2433">
                    <c:v>Rolling Stdev (30 Minute)</c:v>
                  </c:pt>
                  <c:pt idx="2434">
                    <c:v>Rolling Stdev (30 Minute)</c:v>
                  </c:pt>
                  <c:pt idx="2435">
                    <c:v>Rolling Stdev (30 Minute)</c:v>
                  </c:pt>
                  <c:pt idx="2436">
                    <c:v>Rolling Stdev (30 Minute)</c:v>
                  </c:pt>
                  <c:pt idx="2437">
                    <c:v>Rolling Stdev (30 Minute)</c:v>
                  </c:pt>
                  <c:pt idx="2438">
                    <c:v>Rolling Stdev (30 Minute)</c:v>
                  </c:pt>
                  <c:pt idx="2439">
                    <c:v>Rolling Stdev (30 Minute)</c:v>
                  </c:pt>
                  <c:pt idx="2440">
                    <c:v>Rolling Stdev (30 Minute)</c:v>
                  </c:pt>
                  <c:pt idx="2441">
                    <c:v>Rolling Stdev (30 Minute)</c:v>
                  </c:pt>
                  <c:pt idx="2442">
                    <c:v>Rolling Stdev (30 Minute)</c:v>
                  </c:pt>
                  <c:pt idx="2443">
                    <c:v>Rolling Stdev (30 Minute)</c:v>
                  </c:pt>
                  <c:pt idx="2444">
                    <c:v>Rolling Stdev (30 Minute)</c:v>
                  </c:pt>
                  <c:pt idx="2445">
                    <c:v>Rolling Stdev (30 Minute)</c:v>
                  </c:pt>
                  <c:pt idx="2446">
                    <c:v>Rolling Stdev (30 Minute)</c:v>
                  </c:pt>
                  <c:pt idx="2447">
                    <c:v>Rolling Stdev (30 Minute)</c:v>
                  </c:pt>
                  <c:pt idx="2448">
                    <c:v>Rolling Stdev (30 Minute)</c:v>
                  </c:pt>
                  <c:pt idx="2449">
                    <c:v>Rolling Stdev (30 Minute)</c:v>
                  </c:pt>
                  <c:pt idx="2450">
                    <c:v>Rolling Stdev (30 Minute)</c:v>
                  </c:pt>
                  <c:pt idx="2451">
                    <c:v>Rolling Stdev (30 Minute)</c:v>
                  </c:pt>
                </c:lvl>
              </c:multiLvlStrCache>
            </c:multiLvlStrRef>
          </c:cat>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6785-41B4-BCE1-ECD89FF12F5A}"/>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multiLvlStrRef>
              <c:f>'DRT Rolling Stdev'!$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Stdev (30 Minute)</c:v>
                  </c:pt>
                  <c:pt idx="1">
                    <c:v>Rolling Stdev (30 Minute)</c:v>
                  </c:pt>
                  <c:pt idx="2">
                    <c:v>Rolling Stdev (30 Minute)</c:v>
                  </c:pt>
                  <c:pt idx="3">
                    <c:v>Rolling Stdev (30 Minute)</c:v>
                  </c:pt>
                  <c:pt idx="4">
                    <c:v>Rolling Stdev (30 Minute)</c:v>
                  </c:pt>
                  <c:pt idx="5">
                    <c:v>Rolling Stdev (30 Minute)</c:v>
                  </c:pt>
                  <c:pt idx="6">
                    <c:v>Rolling Stdev (30 Minute)</c:v>
                  </c:pt>
                  <c:pt idx="7">
                    <c:v>Rolling Stdev (30 Minute)</c:v>
                  </c:pt>
                  <c:pt idx="8">
                    <c:v>Rolling Stdev (30 Minute)</c:v>
                  </c:pt>
                  <c:pt idx="9">
                    <c:v>Rolling Stdev (30 Minute)</c:v>
                  </c:pt>
                  <c:pt idx="10">
                    <c:v>Rolling Stdev (30 Minute)</c:v>
                  </c:pt>
                  <c:pt idx="11">
                    <c:v>Rolling Stdev (30 Minute)</c:v>
                  </c:pt>
                  <c:pt idx="12">
                    <c:v>Rolling Stdev (30 Minute)</c:v>
                  </c:pt>
                  <c:pt idx="13">
                    <c:v>Rolling Stdev (30 Minute)</c:v>
                  </c:pt>
                  <c:pt idx="14">
                    <c:v>Rolling Stdev (30 Minute)</c:v>
                  </c:pt>
                  <c:pt idx="15">
                    <c:v>Rolling Stdev (30 Minute)</c:v>
                  </c:pt>
                  <c:pt idx="16">
                    <c:v>Rolling Stdev (30 Minute)</c:v>
                  </c:pt>
                  <c:pt idx="17">
                    <c:v>Rolling Stdev (30 Minute)</c:v>
                  </c:pt>
                  <c:pt idx="18">
                    <c:v>Rolling Stdev (30 Minute)</c:v>
                  </c:pt>
                  <c:pt idx="19">
                    <c:v>Rolling Stdev (30 Minute)</c:v>
                  </c:pt>
                  <c:pt idx="20">
                    <c:v>Rolling Stdev (30 Minute)</c:v>
                  </c:pt>
                  <c:pt idx="21">
                    <c:v>Rolling Stdev (30 Minute)</c:v>
                  </c:pt>
                  <c:pt idx="22">
                    <c:v>Rolling Stdev (30 Minute)</c:v>
                  </c:pt>
                  <c:pt idx="23">
                    <c:v>Rolling Stdev (30 Minute)</c:v>
                  </c:pt>
                  <c:pt idx="24">
                    <c:v>Rolling Stdev (30 Minute)</c:v>
                  </c:pt>
                  <c:pt idx="25">
                    <c:v>Rolling Stdev (30 Minute)</c:v>
                  </c:pt>
                  <c:pt idx="26">
                    <c:v>Rolling Stdev (30 Minute)</c:v>
                  </c:pt>
                  <c:pt idx="27">
                    <c:v>Rolling Stdev (30 Minute)</c:v>
                  </c:pt>
                  <c:pt idx="28">
                    <c:v>Rolling Stdev (30 Minute)</c:v>
                  </c:pt>
                  <c:pt idx="29">
                    <c:v>Rolling Stdev (30 Minute)</c:v>
                  </c:pt>
                  <c:pt idx="30">
                    <c:v>Rolling Stdev (30 Minute)</c:v>
                  </c:pt>
                  <c:pt idx="31">
                    <c:v>Rolling Stdev (30 Minute)</c:v>
                  </c:pt>
                  <c:pt idx="32">
                    <c:v>Rolling Stdev (30 Minute)</c:v>
                  </c:pt>
                  <c:pt idx="33">
                    <c:v>Rolling Stdev (30 Minute)</c:v>
                  </c:pt>
                  <c:pt idx="34">
                    <c:v>Rolling Stdev (30 Minute)</c:v>
                  </c:pt>
                  <c:pt idx="35">
                    <c:v>Rolling Stdev (30 Minute)</c:v>
                  </c:pt>
                  <c:pt idx="36">
                    <c:v>Rolling Stdev (30 Minute)</c:v>
                  </c:pt>
                  <c:pt idx="37">
                    <c:v>Rolling Stdev (30 Minute)</c:v>
                  </c:pt>
                  <c:pt idx="38">
                    <c:v>Rolling Stdev (30 Minute)</c:v>
                  </c:pt>
                  <c:pt idx="39">
                    <c:v>Rolling Stdev (30 Minute)</c:v>
                  </c:pt>
                  <c:pt idx="40">
                    <c:v>Rolling Stdev (30 Minute)</c:v>
                  </c:pt>
                  <c:pt idx="41">
                    <c:v>Rolling Stdev (30 Minute)</c:v>
                  </c:pt>
                  <c:pt idx="42">
                    <c:v>Rolling Stdev (30 Minute)</c:v>
                  </c:pt>
                  <c:pt idx="43">
                    <c:v>Rolling Stdev (30 Minute)</c:v>
                  </c:pt>
                  <c:pt idx="44">
                    <c:v>Rolling Stdev (30 Minute)</c:v>
                  </c:pt>
                  <c:pt idx="45">
                    <c:v>Rolling Stdev (30 Minute)</c:v>
                  </c:pt>
                  <c:pt idx="46">
                    <c:v>Rolling Stdev (30 Minute)</c:v>
                  </c:pt>
                  <c:pt idx="47">
                    <c:v>Rolling Stdev (30 Minute)</c:v>
                  </c:pt>
                  <c:pt idx="48">
                    <c:v>Rolling Stdev (30 Minute)</c:v>
                  </c:pt>
                  <c:pt idx="49">
                    <c:v>Rolling Stdev (30 Minute)</c:v>
                  </c:pt>
                  <c:pt idx="50">
                    <c:v>Rolling Stdev (30 Minute)</c:v>
                  </c:pt>
                  <c:pt idx="51">
                    <c:v>Rolling Stdev (30 Minute)</c:v>
                  </c:pt>
                  <c:pt idx="52">
                    <c:v>Rolling Stdev (30 Minute)</c:v>
                  </c:pt>
                  <c:pt idx="53">
                    <c:v>Rolling Stdev (30 Minute)</c:v>
                  </c:pt>
                  <c:pt idx="54">
                    <c:v>Rolling Stdev (30 Minute)</c:v>
                  </c:pt>
                  <c:pt idx="55">
                    <c:v>Rolling Stdev (30 Minute)</c:v>
                  </c:pt>
                  <c:pt idx="56">
                    <c:v>Rolling Stdev (30 Minute)</c:v>
                  </c:pt>
                  <c:pt idx="57">
                    <c:v>Rolling Stdev (30 Minute)</c:v>
                  </c:pt>
                  <c:pt idx="58">
                    <c:v>Rolling Stdev (30 Minute)</c:v>
                  </c:pt>
                  <c:pt idx="59">
                    <c:v>Rolling Stdev (30 Minute)</c:v>
                  </c:pt>
                  <c:pt idx="60">
                    <c:v>Rolling Stdev (30 Minute)</c:v>
                  </c:pt>
                  <c:pt idx="61">
                    <c:v>Rolling Stdev (30 Minute)</c:v>
                  </c:pt>
                  <c:pt idx="62">
                    <c:v>Rolling Stdev (30 Minute)</c:v>
                  </c:pt>
                  <c:pt idx="63">
                    <c:v>Rolling Stdev (30 Minute)</c:v>
                  </c:pt>
                  <c:pt idx="64">
                    <c:v>Rolling Stdev (30 Minute)</c:v>
                  </c:pt>
                  <c:pt idx="65">
                    <c:v>Rolling Stdev (30 Minute)</c:v>
                  </c:pt>
                  <c:pt idx="66">
                    <c:v>Rolling Stdev (30 Minute)</c:v>
                  </c:pt>
                  <c:pt idx="67">
                    <c:v>Rolling Stdev (30 Minute)</c:v>
                  </c:pt>
                  <c:pt idx="68">
                    <c:v>Rolling Stdev (30 Minute)</c:v>
                  </c:pt>
                  <c:pt idx="69">
                    <c:v>Rolling Stdev (30 Minute)</c:v>
                  </c:pt>
                  <c:pt idx="70">
                    <c:v>Rolling Stdev (30 Minute)</c:v>
                  </c:pt>
                  <c:pt idx="71">
                    <c:v>Rolling Stdev (30 Minute)</c:v>
                  </c:pt>
                  <c:pt idx="72">
                    <c:v>Rolling Stdev (30 Minute)</c:v>
                  </c:pt>
                  <c:pt idx="73">
                    <c:v>Rolling Stdev (30 Minute)</c:v>
                  </c:pt>
                  <c:pt idx="74">
                    <c:v>Rolling Stdev (30 Minute)</c:v>
                  </c:pt>
                  <c:pt idx="75">
                    <c:v>Rolling Stdev (30 Minute)</c:v>
                  </c:pt>
                  <c:pt idx="76">
                    <c:v>Rolling Stdev (30 Minute)</c:v>
                  </c:pt>
                  <c:pt idx="77">
                    <c:v>Rolling Stdev (30 Minute)</c:v>
                  </c:pt>
                  <c:pt idx="78">
                    <c:v>Rolling Stdev (30 Minute)</c:v>
                  </c:pt>
                  <c:pt idx="79">
                    <c:v>Rolling Stdev (30 Minute)</c:v>
                  </c:pt>
                  <c:pt idx="80">
                    <c:v>Rolling Stdev (30 Minute)</c:v>
                  </c:pt>
                  <c:pt idx="81">
                    <c:v>Rolling Stdev (30 Minute)</c:v>
                  </c:pt>
                  <c:pt idx="82">
                    <c:v>Rolling Stdev (30 Minute)</c:v>
                  </c:pt>
                  <c:pt idx="83">
                    <c:v>Rolling Stdev (30 Minute)</c:v>
                  </c:pt>
                  <c:pt idx="84">
                    <c:v>Rolling Stdev (30 Minute)</c:v>
                  </c:pt>
                  <c:pt idx="85">
                    <c:v>Rolling Stdev (30 Minute)</c:v>
                  </c:pt>
                  <c:pt idx="86">
                    <c:v>Rolling Stdev (30 Minute)</c:v>
                  </c:pt>
                  <c:pt idx="87">
                    <c:v>Rolling Stdev (30 Minute)</c:v>
                  </c:pt>
                  <c:pt idx="88">
                    <c:v>Rolling Stdev (30 Minute)</c:v>
                  </c:pt>
                  <c:pt idx="89">
                    <c:v>Rolling Stdev (30 Minute)</c:v>
                  </c:pt>
                  <c:pt idx="90">
                    <c:v>Rolling Stdev (30 Minute)</c:v>
                  </c:pt>
                  <c:pt idx="91">
                    <c:v>Rolling Stdev (30 Minute)</c:v>
                  </c:pt>
                  <c:pt idx="92">
                    <c:v>Rolling Stdev (30 Minute)</c:v>
                  </c:pt>
                  <c:pt idx="93">
                    <c:v>Rolling Stdev (30 Minute)</c:v>
                  </c:pt>
                  <c:pt idx="94">
                    <c:v>Rolling Stdev (30 Minute)</c:v>
                  </c:pt>
                  <c:pt idx="95">
                    <c:v>Rolling Stdev (30 Minute)</c:v>
                  </c:pt>
                  <c:pt idx="96">
                    <c:v>Rolling Stdev (30 Minute)</c:v>
                  </c:pt>
                  <c:pt idx="97">
                    <c:v>Rolling Stdev (30 Minute)</c:v>
                  </c:pt>
                  <c:pt idx="98">
                    <c:v>Rolling Stdev (30 Minute)</c:v>
                  </c:pt>
                  <c:pt idx="99">
                    <c:v>Rolling Stdev (30 Minute)</c:v>
                  </c:pt>
                  <c:pt idx="100">
                    <c:v>Rolling Stdev (30 Minute)</c:v>
                  </c:pt>
                  <c:pt idx="101">
                    <c:v>Rolling Stdev (30 Minute)</c:v>
                  </c:pt>
                  <c:pt idx="102">
                    <c:v>Rolling Stdev (30 Minute)</c:v>
                  </c:pt>
                  <c:pt idx="103">
                    <c:v>Rolling Stdev (30 Minute)</c:v>
                  </c:pt>
                  <c:pt idx="104">
                    <c:v>Rolling Stdev (30 Minute)</c:v>
                  </c:pt>
                  <c:pt idx="105">
                    <c:v>Rolling Stdev (30 Minute)</c:v>
                  </c:pt>
                  <c:pt idx="106">
                    <c:v>Rolling Stdev (30 Minute)</c:v>
                  </c:pt>
                  <c:pt idx="107">
                    <c:v>Rolling Stdev (30 Minute)</c:v>
                  </c:pt>
                  <c:pt idx="108">
                    <c:v>Rolling Stdev (30 Minute)</c:v>
                  </c:pt>
                  <c:pt idx="109">
                    <c:v>Rolling Stdev (30 Minute)</c:v>
                  </c:pt>
                  <c:pt idx="110">
                    <c:v>Rolling Stdev (30 Minute)</c:v>
                  </c:pt>
                  <c:pt idx="111">
                    <c:v>Rolling Stdev (30 Minute)</c:v>
                  </c:pt>
                  <c:pt idx="112">
                    <c:v>Rolling Stdev (30 Minute)</c:v>
                  </c:pt>
                  <c:pt idx="113">
                    <c:v>Rolling Stdev (30 Minute)</c:v>
                  </c:pt>
                  <c:pt idx="114">
                    <c:v>Rolling Stdev (30 Minute)</c:v>
                  </c:pt>
                  <c:pt idx="115">
                    <c:v>Rolling Stdev (30 Minute)</c:v>
                  </c:pt>
                  <c:pt idx="116">
                    <c:v>Rolling Stdev (30 Minute)</c:v>
                  </c:pt>
                  <c:pt idx="117">
                    <c:v>Rolling Stdev (30 Minute)</c:v>
                  </c:pt>
                  <c:pt idx="118">
                    <c:v>Rolling Stdev (30 Minute)</c:v>
                  </c:pt>
                  <c:pt idx="119">
                    <c:v>Rolling Stdev (30 Minute)</c:v>
                  </c:pt>
                  <c:pt idx="120">
                    <c:v>Rolling Stdev (30 Minute)</c:v>
                  </c:pt>
                  <c:pt idx="121">
                    <c:v>Rolling Stdev (30 Minute)</c:v>
                  </c:pt>
                  <c:pt idx="122">
                    <c:v>Rolling Stdev (30 Minute)</c:v>
                  </c:pt>
                  <c:pt idx="123">
                    <c:v>Rolling Stdev (30 Minute)</c:v>
                  </c:pt>
                  <c:pt idx="124">
                    <c:v>Rolling Stdev (30 Minute)</c:v>
                  </c:pt>
                  <c:pt idx="125">
                    <c:v>Rolling Stdev (30 Minute)</c:v>
                  </c:pt>
                  <c:pt idx="126">
                    <c:v>Rolling Stdev (30 Minute)</c:v>
                  </c:pt>
                  <c:pt idx="127">
                    <c:v>Rolling Stdev (30 Minute)</c:v>
                  </c:pt>
                  <c:pt idx="128">
                    <c:v>Rolling Stdev (30 Minute)</c:v>
                  </c:pt>
                  <c:pt idx="129">
                    <c:v>Rolling Stdev (30 Minute)</c:v>
                  </c:pt>
                  <c:pt idx="130">
                    <c:v>Rolling Stdev (30 Minute)</c:v>
                  </c:pt>
                  <c:pt idx="131">
                    <c:v>Rolling Stdev (30 Minute)</c:v>
                  </c:pt>
                  <c:pt idx="132">
                    <c:v>Rolling Stdev (30 Minute)</c:v>
                  </c:pt>
                  <c:pt idx="133">
                    <c:v>Rolling Stdev (30 Minute)</c:v>
                  </c:pt>
                  <c:pt idx="134">
                    <c:v>Rolling Stdev (30 Minute)</c:v>
                  </c:pt>
                  <c:pt idx="135">
                    <c:v>Rolling Stdev (30 Minute)</c:v>
                  </c:pt>
                  <c:pt idx="136">
                    <c:v>Rolling Stdev (30 Minute)</c:v>
                  </c:pt>
                  <c:pt idx="137">
                    <c:v>Rolling Stdev (30 Minute)</c:v>
                  </c:pt>
                  <c:pt idx="138">
                    <c:v>Rolling Stdev (30 Minute)</c:v>
                  </c:pt>
                  <c:pt idx="139">
                    <c:v>Rolling Stdev (30 Minute)</c:v>
                  </c:pt>
                  <c:pt idx="140">
                    <c:v>Rolling Stdev (30 Minute)</c:v>
                  </c:pt>
                  <c:pt idx="141">
                    <c:v>Rolling Stdev (30 Minute)</c:v>
                  </c:pt>
                  <c:pt idx="142">
                    <c:v>Rolling Stdev (30 Minute)</c:v>
                  </c:pt>
                  <c:pt idx="143">
                    <c:v>Rolling Stdev (30 Minute)</c:v>
                  </c:pt>
                  <c:pt idx="144">
                    <c:v>Rolling Stdev (30 Minute)</c:v>
                  </c:pt>
                  <c:pt idx="145">
                    <c:v>Rolling Stdev (30 Minute)</c:v>
                  </c:pt>
                  <c:pt idx="146">
                    <c:v>Rolling Stdev (30 Minute)</c:v>
                  </c:pt>
                  <c:pt idx="147">
                    <c:v>Rolling Stdev (30 Minute)</c:v>
                  </c:pt>
                  <c:pt idx="148">
                    <c:v>Rolling Stdev (30 Minute)</c:v>
                  </c:pt>
                  <c:pt idx="149">
                    <c:v>Rolling Stdev (30 Minute)</c:v>
                  </c:pt>
                  <c:pt idx="150">
                    <c:v>Rolling Stdev (30 Minute)</c:v>
                  </c:pt>
                  <c:pt idx="151">
                    <c:v>Rolling Stdev (30 Minute)</c:v>
                  </c:pt>
                  <c:pt idx="152">
                    <c:v>Rolling Stdev (30 Minute)</c:v>
                  </c:pt>
                  <c:pt idx="153">
                    <c:v>Rolling Stdev (30 Minute)</c:v>
                  </c:pt>
                  <c:pt idx="154">
                    <c:v>Rolling Stdev (30 Minute)</c:v>
                  </c:pt>
                  <c:pt idx="155">
                    <c:v>Rolling Stdev (30 Minute)</c:v>
                  </c:pt>
                  <c:pt idx="156">
                    <c:v>Rolling Stdev (30 Minute)</c:v>
                  </c:pt>
                  <c:pt idx="157">
                    <c:v>Rolling Stdev (30 Minute)</c:v>
                  </c:pt>
                  <c:pt idx="158">
                    <c:v>Rolling Stdev (30 Minute)</c:v>
                  </c:pt>
                  <c:pt idx="159">
                    <c:v>Rolling Stdev (30 Minute)</c:v>
                  </c:pt>
                  <c:pt idx="160">
                    <c:v>Rolling Stdev (30 Minute)</c:v>
                  </c:pt>
                  <c:pt idx="161">
                    <c:v>Rolling Stdev (30 Minute)</c:v>
                  </c:pt>
                  <c:pt idx="162">
                    <c:v>Rolling Stdev (30 Minute)</c:v>
                  </c:pt>
                  <c:pt idx="163">
                    <c:v>Rolling Stdev (30 Minute)</c:v>
                  </c:pt>
                  <c:pt idx="164">
                    <c:v>Rolling Stdev (30 Minute)</c:v>
                  </c:pt>
                  <c:pt idx="165">
                    <c:v>Rolling Stdev (30 Minute)</c:v>
                  </c:pt>
                  <c:pt idx="166">
                    <c:v>Rolling Stdev (30 Minute)</c:v>
                  </c:pt>
                  <c:pt idx="167">
                    <c:v>Rolling Stdev (30 Minute)</c:v>
                  </c:pt>
                  <c:pt idx="168">
                    <c:v>Rolling Stdev (30 Minute)</c:v>
                  </c:pt>
                  <c:pt idx="169">
                    <c:v>Rolling Stdev (30 Minute)</c:v>
                  </c:pt>
                  <c:pt idx="170">
                    <c:v>Rolling Stdev (30 Minute)</c:v>
                  </c:pt>
                  <c:pt idx="171">
                    <c:v>Rolling Stdev (30 Minute)</c:v>
                  </c:pt>
                  <c:pt idx="172">
                    <c:v>Rolling Stdev (30 Minute)</c:v>
                  </c:pt>
                  <c:pt idx="173">
                    <c:v>Rolling Stdev (30 Minute)</c:v>
                  </c:pt>
                  <c:pt idx="174">
                    <c:v>Rolling Stdev (30 Minute)</c:v>
                  </c:pt>
                  <c:pt idx="175">
                    <c:v>Rolling Stdev (30 Minute)</c:v>
                  </c:pt>
                  <c:pt idx="176">
                    <c:v>Rolling Stdev (30 Minute)</c:v>
                  </c:pt>
                  <c:pt idx="177">
                    <c:v>Rolling Stdev (30 Minute)</c:v>
                  </c:pt>
                  <c:pt idx="178">
                    <c:v>Rolling Stdev (30 Minute)</c:v>
                  </c:pt>
                  <c:pt idx="179">
                    <c:v>Rolling Stdev (30 Minute)</c:v>
                  </c:pt>
                  <c:pt idx="180">
                    <c:v>Rolling Stdev (30 Minute)</c:v>
                  </c:pt>
                  <c:pt idx="181">
                    <c:v>Rolling Stdev (30 Minute)</c:v>
                  </c:pt>
                  <c:pt idx="182">
                    <c:v>Rolling Stdev (30 Minute)</c:v>
                  </c:pt>
                  <c:pt idx="183">
                    <c:v>Rolling Stdev (30 Minute)</c:v>
                  </c:pt>
                  <c:pt idx="184">
                    <c:v>Rolling Stdev (30 Minute)</c:v>
                  </c:pt>
                  <c:pt idx="185">
                    <c:v>Rolling Stdev (30 Minute)</c:v>
                  </c:pt>
                  <c:pt idx="186">
                    <c:v>Rolling Stdev (30 Minute)</c:v>
                  </c:pt>
                  <c:pt idx="187">
                    <c:v>Rolling Stdev (30 Minute)</c:v>
                  </c:pt>
                  <c:pt idx="188">
                    <c:v>Rolling Stdev (30 Minute)</c:v>
                  </c:pt>
                  <c:pt idx="189">
                    <c:v>Rolling Stdev (30 Minute)</c:v>
                  </c:pt>
                  <c:pt idx="190">
                    <c:v>Rolling Stdev (30 Minute)</c:v>
                  </c:pt>
                  <c:pt idx="191">
                    <c:v>Rolling Stdev (30 Minute)</c:v>
                  </c:pt>
                  <c:pt idx="192">
                    <c:v>Rolling Stdev (30 Minute)</c:v>
                  </c:pt>
                  <c:pt idx="193">
                    <c:v>Rolling Stdev (30 Minute)</c:v>
                  </c:pt>
                  <c:pt idx="194">
                    <c:v>Rolling Stdev (30 Minute)</c:v>
                  </c:pt>
                  <c:pt idx="195">
                    <c:v>Rolling Stdev (30 Minute)</c:v>
                  </c:pt>
                  <c:pt idx="196">
                    <c:v>Rolling Stdev (30 Minute)</c:v>
                  </c:pt>
                  <c:pt idx="197">
                    <c:v>Rolling Stdev (30 Minute)</c:v>
                  </c:pt>
                  <c:pt idx="198">
                    <c:v>Rolling Stdev (30 Minute)</c:v>
                  </c:pt>
                  <c:pt idx="199">
                    <c:v>Rolling Stdev (30 Minute)</c:v>
                  </c:pt>
                  <c:pt idx="200">
                    <c:v>Rolling Stdev (30 Minute)</c:v>
                  </c:pt>
                  <c:pt idx="201">
                    <c:v>Rolling Stdev (30 Minute)</c:v>
                  </c:pt>
                  <c:pt idx="202">
                    <c:v>Rolling Stdev (30 Minute)</c:v>
                  </c:pt>
                  <c:pt idx="203">
                    <c:v>Rolling Stdev (30 Minute)</c:v>
                  </c:pt>
                  <c:pt idx="204">
                    <c:v>Rolling Stdev (30 Minute)</c:v>
                  </c:pt>
                  <c:pt idx="205">
                    <c:v>Rolling Stdev (30 Minute)</c:v>
                  </c:pt>
                  <c:pt idx="206">
                    <c:v>Rolling Stdev (30 Minute)</c:v>
                  </c:pt>
                  <c:pt idx="207">
                    <c:v>Rolling Stdev (30 Minute)</c:v>
                  </c:pt>
                  <c:pt idx="208">
                    <c:v>Rolling Stdev (30 Minute)</c:v>
                  </c:pt>
                  <c:pt idx="209">
                    <c:v>Rolling Stdev (30 Minute)</c:v>
                  </c:pt>
                  <c:pt idx="210">
                    <c:v>Rolling Stdev (30 Minute)</c:v>
                  </c:pt>
                  <c:pt idx="211">
                    <c:v>Rolling Stdev (30 Minute)</c:v>
                  </c:pt>
                  <c:pt idx="212">
                    <c:v>Rolling Stdev (30 Minute)</c:v>
                  </c:pt>
                  <c:pt idx="213">
                    <c:v>Rolling Stdev (30 Minute)</c:v>
                  </c:pt>
                  <c:pt idx="214">
                    <c:v>Rolling Stdev (30 Minute)</c:v>
                  </c:pt>
                  <c:pt idx="215">
                    <c:v>Rolling Stdev (30 Minute)</c:v>
                  </c:pt>
                  <c:pt idx="216">
                    <c:v>Rolling Stdev (30 Minute)</c:v>
                  </c:pt>
                  <c:pt idx="217">
                    <c:v>Rolling Stdev (30 Minute)</c:v>
                  </c:pt>
                  <c:pt idx="218">
                    <c:v>Rolling Stdev (30 Minute)</c:v>
                  </c:pt>
                  <c:pt idx="219">
                    <c:v>Rolling Stdev (30 Minute)</c:v>
                  </c:pt>
                  <c:pt idx="220">
                    <c:v>Rolling Stdev (30 Minute)</c:v>
                  </c:pt>
                  <c:pt idx="221">
                    <c:v>Rolling Stdev (30 Minute)</c:v>
                  </c:pt>
                  <c:pt idx="222">
                    <c:v>Rolling Stdev (30 Minute)</c:v>
                  </c:pt>
                  <c:pt idx="223">
                    <c:v>Rolling Stdev (30 Minute)</c:v>
                  </c:pt>
                  <c:pt idx="224">
                    <c:v>Rolling Stdev (30 Minute)</c:v>
                  </c:pt>
                  <c:pt idx="225">
                    <c:v>Rolling Stdev (30 Minute)</c:v>
                  </c:pt>
                  <c:pt idx="226">
                    <c:v>Rolling Stdev (30 Minute)</c:v>
                  </c:pt>
                  <c:pt idx="227">
                    <c:v>Rolling Stdev (30 Minute)</c:v>
                  </c:pt>
                  <c:pt idx="228">
                    <c:v>Rolling Stdev (30 Minute)</c:v>
                  </c:pt>
                  <c:pt idx="229">
                    <c:v>Rolling Stdev (30 Minute)</c:v>
                  </c:pt>
                  <c:pt idx="230">
                    <c:v>Rolling Stdev (30 Minute)</c:v>
                  </c:pt>
                  <c:pt idx="231">
                    <c:v>Rolling Stdev (30 Minute)</c:v>
                  </c:pt>
                  <c:pt idx="232">
                    <c:v>Rolling Stdev (30 Minute)</c:v>
                  </c:pt>
                  <c:pt idx="233">
                    <c:v>Rolling Stdev (30 Minute)</c:v>
                  </c:pt>
                  <c:pt idx="234">
                    <c:v>Rolling Stdev (30 Minute)</c:v>
                  </c:pt>
                  <c:pt idx="235">
                    <c:v>Rolling Stdev (30 Minute)</c:v>
                  </c:pt>
                  <c:pt idx="236">
                    <c:v>Rolling Stdev (30 Minute)</c:v>
                  </c:pt>
                  <c:pt idx="237">
                    <c:v>Rolling Stdev (30 Minute)</c:v>
                  </c:pt>
                  <c:pt idx="238">
                    <c:v>Rolling Stdev (30 Minute)</c:v>
                  </c:pt>
                  <c:pt idx="239">
                    <c:v>Rolling Stdev (30 Minute)</c:v>
                  </c:pt>
                  <c:pt idx="240">
                    <c:v>Rolling Stdev (30 Minute)</c:v>
                  </c:pt>
                  <c:pt idx="241">
                    <c:v>Rolling Stdev (30 Minute)</c:v>
                  </c:pt>
                  <c:pt idx="242">
                    <c:v>Rolling Stdev (30 Minute)</c:v>
                  </c:pt>
                  <c:pt idx="243">
                    <c:v>Rolling Stdev (30 Minute)</c:v>
                  </c:pt>
                  <c:pt idx="244">
                    <c:v>Rolling Stdev (30 Minute)</c:v>
                  </c:pt>
                  <c:pt idx="245">
                    <c:v>Rolling Stdev (30 Minute)</c:v>
                  </c:pt>
                  <c:pt idx="246">
                    <c:v>Rolling Stdev (30 Minute)</c:v>
                  </c:pt>
                  <c:pt idx="247">
                    <c:v>Rolling Stdev (30 Minute)</c:v>
                  </c:pt>
                  <c:pt idx="248">
                    <c:v>Rolling Stdev (30 Minute)</c:v>
                  </c:pt>
                  <c:pt idx="249">
                    <c:v>Rolling Stdev (30 Minute)</c:v>
                  </c:pt>
                  <c:pt idx="250">
                    <c:v>Rolling Stdev (30 Minute)</c:v>
                  </c:pt>
                  <c:pt idx="251">
                    <c:v>Rolling Stdev (30 Minute)</c:v>
                  </c:pt>
                  <c:pt idx="252">
                    <c:v>Rolling Stdev (30 Minute)</c:v>
                  </c:pt>
                  <c:pt idx="253">
                    <c:v>Rolling Stdev (30 Minute)</c:v>
                  </c:pt>
                  <c:pt idx="254">
                    <c:v>Rolling Stdev (30 Minute)</c:v>
                  </c:pt>
                  <c:pt idx="255">
                    <c:v>Rolling Stdev (30 Minute)</c:v>
                  </c:pt>
                  <c:pt idx="256">
                    <c:v>Rolling Stdev (30 Minute)</c:v>
                  </c:pt>
                  <c:pt idx="257">
                    <c:v>Rolling Stdev (30 Minute)</c:v>
                  </c:pt>
                  <c:pt idx="258">
                    <c:v>Rolling Stdev (30 Minute)</c:v>
                  </c:pt>
                  <c:pt idx="259">
                    <c:v>Rolling Stdev (30 Minute)</c:v>
                  </c:pt>
                  <c:pt idx="260">
                    <c:v>Rolling Stdev (30 Minute)</c:v>
                  </c:pt>
                  <c:pt idx="261">
                    <c:v>Rolling Stdev (30 Minute)</c:v>
                  </c:pt>
                  <c:pt idx="262">
                    <c:v>Rolling Stdev (30 Minute)</c:v>
                  </c:pt>
                  <c:pt idx="263">
                    <c:v>Rolling Stdev (30 Minute)</c:v>
                  </c:pt>
                  <c:pt idx="264">
                    <c:v>Rolling Stdev (30 Minute)</c:v>
                  </c:pt>
                  <c:pt idx="265">
                    <c:v>Rolling Stdev (30 Minute)</c:v>
                  </c:pt>
                  <c:pt idx="266">
                    <c:v>Rolling Stdev (30 Minute)</c:v>
                  </c:pt>
                  <c:pt idx="267">
                    <c:v>Rolling Stdev (30 Minute)</c:v>
                  </c:pt>
                  <c:pt idx="268">
                    <c:v>Rolling Stdev (30 Minute)</c:v>
                  </c:pt>
                  <c:pt idx="269">
                    <c:v>Rolling Stdev (30 Minute)</c:v>
                  </c:pt>
                  <c:pt idx="270">
                    <c:v>Rolling Stdev (30 Minute)</c:v>
                  </c:pt>
                  <c:pt idx="271">
                    <c:v>Rolling Stdev (30 Minute)</c:v>
                  </c:pt>
                  <c:pt idx="272">
                    <c:v>Rolling Stdev (30 Minute)</c:v>
                  </c:pt>
                  <c:pt idx="273">
                    <c:v>Rolling Stdev (30 Minute)</c:v>
                  </c:pt>
                  <c:pt idx="274">
                    <c:v>Rolling Stdev (30 Minute)</c:v>
                  </c:pt>
                  <c:pt idx="275">
                    <c:v>Rolling Stdev (30 Minute)</c:v>
                  </c:pt>
                  <c:pt idx="276">
                    <c:v>Rolling Stdev (30 Minute)</c:v>
                  </c:pt>
                  <c:pt idx="277">
                    <c:v>Rolling Stdev (30 Minute)</c:v>
                  </c:pt>
                  <c:pt idx="278">
                    <c:v>Rolling Stdev (30 Minute)</c:v>
                  </c:pt>
                  <c:pt idx="279">
                    <c:v>Rolling Stdev (30 Minute)</c:v>
                  </c:pt>
                  <c:pt idx="280">
                    <c:v>Rolling Stdev (30 Minute)</c:v>
                  </c:pt>
                  <c:pt idx="281">
                    <c:v>Rolling Stdev (30 Minute)</c:v>
                  </c:pt>
                  <c:pt idx="282">
                    <c:v>Rolling Stdev (30 Minute)</c:v>
                  </c:pt>
                  <c:pt idx="283">
                    <c:v>Rolling Stdev (30 Minute)</c:v>
                  </c:pt>
                  <c:pt idx="284">
                    <c:v>Rolling Stdev (30 Minute)</c:v>
                  </c:pt>
                  <c:pt idx="285">
                    <c:v>Rolling Stdev (30 Minute)</c:v>
                  </c:pt>
                  <c:pt idx="286">
                    <c:v>Rolling Stdev (30 Minute)</c:v>
                  </c:pt>
                  <c:pt idx="287">
                    <c:v>Rolling Stdev (30 Minute)</c:v>
                  </c:pt>
                  <c:pt idx="288">
                    <c:v>Rolling Stdev (30 Minute)</c:v>
                  </c:pt>
                  <c:pt idx="289">
                    <c:v>Rolling Stdev (30 Minute)</c:v>
                  </c:pt>
                  <c:pt idx="290">
                    <c:v>Rolling Stdev (30 Minute)</c:v>
                  </c:pt>
                  <c:pt idx="291">
                    <c:v>Rolling Stdev (30 Minute)</c:v>
                  </c:pt>
                  <c:pt idx="292">
                    <c:v>Rolling Stdev (30 Minute)</c:v>
                  </c:pt>
                  <c:pt idx="293">
                    <c:v>Rolling Stdev (30 Minute)</c:v>
                  </c:pt>
                  <c:pt idx="294">
                    <c:v>Rolling Stdev (30 Minute)</c:v>
                  </c:pt>
                  <c:pt idx="295">
                    <c:v>Rolling Stdev (30 Minute)</c:v>
                  </c:pt>
                  <c:pt idx="296">
                    <c:v>Rolling Stdev (30 Minute)</c:v>
                  </c:pt>
                  <c:pt idx="297">
                    <c:v>Rolling Stdev (30 Minute)</c:v>
                  </c:pt>
                  <c:pt idx="298">
                    <c:v>Rolling Stdev (30 Minute)</c:v>
                  </c:pt>
                  <c:pt idx="299">
                    <c:v>Rolling Stdev (30 Minute)</c:v>
                  </c:pt>
                  <c:pt idx="300">
                    <c:v>Rolling Stdev (30 Minute)</c:v>
                  </c:pt>
                  <c:pt idx="301">
                    <c:v>Rolling Stdev (30 Minute)</c:v>
                  </c:pt>
                  <c:pt idx="302">
                    <c:v>Rolling Stdev (30 Minute)</c:v>
                  </c:pt>
                  <c:pt idx="303">
                    <c:v>Rolling Stdev (30 Minute)</c:v>
                  </c:pt>
                  <c:pt idx="304">
                    <c:v>Rolling Stdev (30 Minute)</c:v>
                  </c:pt>
                  <c:pt idx="305">
                    <c:v>Rolling Stdev (30 Minute)</c:v>
                  </c:pt>
                  <c:pt idx="306">
                    <c:v>Rolling Stdev (30 Minute)</c:v>
                  </c:pt>
                  <c:pt idx="307">
                    <c:v>Rolling Stdev (30 Minute)</c:v>
                  </c:pt>
                  <c:pt idx="308">
                    <c:v>Rolling Stdev (30 Minute)</c:v>
                  </c:pt>
                  <c:pt idx="309">
                    <c:v>Rolling Stdev (30 Minute)</c:v>
                  </c:pt>
                  <c:pt idx="310">
                    <c:v>Rolling Stdev (30 Minute)</c:v>
                  </c:pt>
                  <c:pt idx="311">
                    <c:v>Rolling Stdev (30 Minute)</c:v>
                  </c:pt>
                  <c:pt idx="312">
                    <c:v>Rolling Stdev (30 Minute)</c:v>
                  </c:pt>
                  <c:pt idx="313">
                    <c:v>Rolling Stdev (30 Minute)</c:v>
                  </c:pt>
                  <c:pt idx="314">
                    <c:v>Rolling Stdev (30 Minute)</c:v>
                  </c:pt>
                  <c:pt idx="315">
                    <c:v>Rolling Stdev (30 Minute)</c:v>
                  </c:pt>
                  <c:pt idx="316">
                    <c:v>Rolling Stdev (30 Minute)</c:v>
                  </c:pt>
                  <c:pt idx="317">
                    <c:v>Rolling Stdev (30 Minute)</c:v>
                  </c:pt>
                  <c:pt idx="318">
                    <c:v>Rolling Stdev (30 Minute)</c:v>
                  </c:pt>
                  <c:pt idx="319">
                    <c:v>Rolling Stdev (30 Minute)</c:v>
                  </c:pt>
                  <c:pt idx="320">
                    <c:v>Rolling Stdev (30 Minute)</c:v>
                  </c:pt>
                  <c:pt idx="321">
                    <c:v>Rolling Stdev (30 Minute)</c:v>
                  </c:pt>
                  <c:pt idx="322">
                    <c:v>Rolling Stdev (30 Minute)</c:v>
                  </c:pt>
                  <c:pt idx="323">
                    <c:v>Rolling Stdev (30 Minute)</c:v>
                  </c:pt>
                  <c:pt idx="324">
                    <c:v>Rolling Stdev (30 Minute)</c:v>
                  </c:pt>
                  <c:pt idx="325">
                    <c:v>Rolling Stdev (30 Minute)</c:v>
                  </c:pt>
                  <c:pt idx="326">
                    <c:v>Rolling Stdev (30 Minute)</c:v>
                  </c:pt>
                  <c:pt idx="327">
                    <c:v>Rolling Stdev (30 Minute)</c:v>
                  </c:pt>
                  <c:pt idx="328">
                    <c:v>Rolling Stdev (30 Minute)</c:v>
                  </c:pt>
                  <c:pt idx="329">
                    <c:v>Rolling Stdev (30 Minute)</c:v>
                  </c:pt>
                  <c:pt idx="330">
                    <c:v>Rolling Stdev (30 Minute)</c:v>
                  </c:pt>
                  <c:pt idx="331">
                    <c:v>Rolling Stdev (30 Minute)</c:v>
                  </c:pt>
                  <c:pt idx="332">
                    <c:v>Rolling Stdev (30 Minute)</c:v>
                  </c:pt>
                  <c:pt idx="333">
                    <c:v>Rolling Stdev (30 Minute)</c:v>
                  </c:pt>
                  <c:pt idx="334">
                    <c:v>Rolling Stdev (30 Minute)</c:v>
                  </c:pt>
                  <c:pt idx="335">
                    <c:v>Rolling Stdev (30 Minute)</c:v>
                  </c:pt>
                  <c:pt idx="336">
                    <c:v>Rolling Stdev (30 Minute)</c:v>
                  </c:pt>
                  <c:pt idx="337">
                    <c:v>Rolling Stdev (30 Minute)</c:v>
                  </c:pt>
                  <c:pt idx="338">
                    <c:v>Rolling Stdev (30 Minute)</c:v>
                  </c:pt>
                  <c:pt idx="339">
                    <c:v>Rolling Stdev (30 Minute)</c:v>
                  </c:pt>
                  <c:pt idx="340">
                    <c:v>Rolling Stdev (30 Minute)</c:v>
                  </c:pt>
                  <c:pt idx="341">
                    <c:v>Rolling Stdev (30 Minute)</c:v>
                  </c:pt>
                  <c:pt idx="342">
                    <c:v>Rolling Stdev (30 Minute)</c:v>
                  </c:pt>
                  <c:pt idx="343">
                    <c:v>Rolling Stdev (30 Minute)</c:v>
                  </c:pt>
                  <c:pt idx="344">
                    <c:v>Rolling Stdev (30 Minute)</c:v>
                  </c:pt>
                  <c:pt idx="345">
                    <c:v>Rolling Stdev (30 Minute)</c:v>
                  </c:pt>
                  <c:pt idx="346">
                    <c:v>Rolling Stdev (30 Minute)</c:v>
                  </c:pt>
                  <c:pt idx="347">
                    <c:v>Rolling Stdev (30 Minute)</c:v>
                  </c:pt>
                  <c:pt idx="348">
                    <c:v>Rolling Stdev (30 Minute)</c:v>
                  </c:pt>
                  <c:pt idx="349">
                    <c:v>Rolling Stdev (30 Minute)</c:v>
                  </c:pt>
                  <c:pt idx="350">
                    <c:v>Rolling Stdev (30 Minute)</c:v>
                  </c:pt>
                  <c:pt idx="351">
                    <c:v>Rolling Stdev (30 Minute)</c:v>
                  </c:pt>
                  <c:pt idx="352">
                    <c:v>Rolling Stdev (30 Minute)</c:v>
                  </c:pt>
                  <c:pt idx="353">
                    <c:v>Rolling Stdev (30 Minute)</c:v>
                  </c:pt>
                  <c:pt idx="354">
                    <c:v>Rolling Stdev (30 Minute)</c:v>
                  </c:pt>
                  <c:pt idx="355">
                    <c:v>Rolling Stdev (30 Minute)</c:v>
                  </c:pt>
                  <c:pt idx="356">
                    <c:v>Rolling Stdev (30 Minute)</c:v>
                  </c:pt>
                  <c:pt idx="357">
                    <c:v>Rolling Stdev (30 Minute)</c:v>
                  </c:pt>
                  <c:pt idx="358">
                    <c:v>Rolling Stdev (30 Minute)</c:v>
                  </c:pt>
                  <c:pt idx="359">
                    <c:v>Rolling Stdev (30 Minute)</c:v>
                  </c:pt>
                  <c:pt idx="360">
                    <c:v>Rolling Stdev (30 Minute)</c:v>
                  </c:pt>
                  <c:pt idx="361">
                    <c:v>Rolling Stdev (30 Minute)</c:v>
                  </c:pt>
                  <c:pt idx="362">
                    <c:v>Rolling Stdev (30 Minute)</c:v>
                  </c:pt>
                  <c:pt idx="363">
                    <c:v>Rolling Stdev (30 Minute)</c:v>
                  </c:pt>
                  <c:pt idx="364">
                    <c:v>Rolling Stdev (30 Minute)</c:v>
                  </c:pt>
                  <c:pt idx="365">
                    <c:v>Rolling Stdev (30 Minute)</c:v>
                  </c:pt>
                  <c:pt idx="366">
                    <c:v>Rolling Stdev (30 Minute)</c:v>
                  </c:pt>
                  <c:pt idx="367">
                    <c:v>Rolling Stdev (30 Minute)</c:v>
                  </c:pt>
                  <c:pt idx="368">
                    <c:v>Rolling Stdev (30 Minute)</c:v>
                  </c:pt>
                  <c:pt idx="369">
                    <c:v>Rolling Stdev (30 Minute)</c:v>
                  </c:pt>
                  <c:pt idx="370">
                    <c:v>Rolling Stdev (30 Minute)</c:v>
                  </c:pt>
                  <c:pt idx="371">
                    <c:v>Rolling Stdev (30 Minute)</c:v>
                  </c:pt>
                  <c:pt idx="372">
                    <c:v>Rolling Stdev (30 Minute)</c:v>
                  </c:pt>
                  <c:pt idx="373">
                    <c:v>Rolling Stdev (30 Minute)</c:v>
                  </c:pt>
                  <c:pt idx="374">
                    <c:v>Rolling Stdev (30 Minute)</c:v>
                  </c:pt>
                  <c:pt idx="375">
                    <c:v>Rolling Stdev (30 Minute)</c:v>
                  </c:pt>
                  <c:pt idx="376">
                    <c:v>Rolling Stdev (30 Minute)</c:v>
                  </c:pt>
                  <c:pt idx="377">
                    <c:v>Rolling Stdev (30 Minute)</c:v>
                  </c:pt>
                  <c:pt idx="378">
                    <c:v>Rolling Stdev (30 Minute)</c:v>
                  </c:pt>
                  <c:pt idx="379">
                    <c:v>Rolling Stdev (30 Minute)</c:v>
                  </c:pt>
                  <c:pt idx="380">
                    <c:v>Rolling Stdev (30 Minute)</c:v>
                  </c:pt>
                  <c:pt idx="381">
                    <c:v>Rolling Stdev (30 Minute)</c:v>
                  </c:pt>
                  <c:pt idx="382">
                    <c:v>Rolling Stdev (30 Minute)</c:v>
                  </c:pt>
                  <c:pt idx="383">
                    <c:v>Rolling Stdev (30 Minute)</c:v>
                  </c:pt>
                  <c:pt idx="384">
                    <c:v>Rolling Stdev (30 Minute)</c:v>
                  </c:pt>
                  <c:pt idx="385">
                    <c:v>Rolling Stdev (30 Minute)</c:v>
                  </c:pt>
                  <c:pt idx="386">
                    <c:v>Rolling Stdev (30 Minute)</c:v>
                  </c:pt>
                  <c:pt idx="387">
                    <c:v>Rolling Stdev (30 Minute)</c:v>
                  </c:pt>
                  <c:pt idx="388">
                    <c:v>Rolling Stdev (30 Minute)</c:v>
                  </c:pt>
                  <c:pt idx="389">
                    <c:v>Rolling Stdev (30 Minute)</c:v>
                  </c:pt>
                  <c:pt idx="390">
                    <c:v>Rolling Stdev (30 Minute)</c:v>
                  </c:pt>
                  <c:pt idx="391">
                    <c:v>Rolling Stdev (30 Minute)</c:v>
                  </c:pt>
                  <c:pt idx="392">
                    <c:v>Rolling Stdev (30 Minute)</c:v>
                  </c:pt>
                  <c:pt idx="393">
                    <c:v>Rolling Stdev (30 Minute)</c:v>
                  </c:pt>
                  <c:pt idx="394">
                    <c:v>Rolling Stdev (30 Minute)</c:v>
                  </c:pt>
                  <c:pt idx="395">
                    <c:v>Rolling Stdev (30 Minute)</c:v>
                  </c:pt>
                  <c:pt idx="396">
                    <c:v>Rolling Stdev (30 Minute)</c:v>
                  </c:pt>
                  <c:pt idx="397">
                    <c:v>Rolling Stdev (30 Minute)</c:v>
                  </c:pt>
                  <c:pt idx="398">
                    <c:v>Rolling Stdev (30 Minute)</c:v>
                  </c:pt>
                  <c:pt idx="399">
                    <c:v>Rolling Stdev (30 Minute)</c:v>
                  </c:pt>
                  <c:pt idx="400">
                    <c:v>Rolling Stdev (30 Minute)</c:v>
                  </c:pt>
                  <c:pt idx="401">
                    <c:v>Rolling Stdev (30 Minute)</c:v>
                  </c:pt>
                  <c:pt idx="402">
                    <c:v>Rolling Stdev (30 Minute)</c:v>
                  </c:pt>
                  <c:pt idx="403">
                    <c:v>Rolling Stdev (30 Minute)</c:v>
                  </c:pt>
                  <c:pt idx="404">
                    <c:v>Rolling Stdev (30 Minute)</c:v>
                  </c:pt>
                  <c:pt idx="405">
                    <c:v>Rolling Stdev (30 Minute)</c:v>
                  </c:pt>
                  <c:pt idx="406">
                    <c:v>Rolling Stdev (30 Minute)</c:v>
                  </c:pt>
                  <c:pt idx="407">
                    <c:v>Rolling Stdev (30 Minute)</c:v>
                  </c:pt>
                  <c:pt idx="408">
                    <c:v>Rolling Stdev (30 Minute)</c:v>
                  </c:pt>
                  <c:pt idx="409">
                    <c:v>Rolling Stdev (30 Minute)</c:v>
                  </c:pt>
                  <c:pt idx="410">
                    <c:v>Rolling Stdev (30 Minute)</c:v>
                  </c:pt>
                  <c:pt idx="411">
                    <c:v>Rolling Stdev (30 Minute)</c:v>
                  </c:pt>
                  <c:pt idx="412">
                    <c:v>Rolling Stdev (30 Minute)</c:v>
                  </c:pt>
                  <c:pt idx="413">
                    <c:v>Rolling Stdev (30 Minute)</c:v>
                  </c:pt>
                  <c:pt idx="414">
                    <c:v>Rolling Stdev (30 Minute)</c:v>
                  </c:pt>
                  <c:pt idx="415">
                    <c:v>Rolling Stdev (30 Minute)</c:v>
                  </c:pt>
                  <c:pt idx="416">
                    <c:v>Rolling Stdev (30 Minute)</c:v>
                  </c:pt>
                  <c:pt idx="417">
                    <c:v>Rolling Stdev (30 Minute)</c:v>
                  </c:pt>
                  <c:pt idx="418">
                    <c:v>Rolling Stdev (30 Minute)</c:v>
                  </c:pt>
                  <c:pt idx="419">
                    <c:v>Rolling Stdev (30 Minute)</c:v>
                  </c:pt>
                  <c:pt idx="420">
                    <c:v>Rolling Stdev (30 Minute)</c:v>
                  </c:pt>
                  <c:pt idx="421">
                    <c:v>Rolling Stdev (30 Minute)</c:v>
                  </c:pt>
                  <c:pt idx="422">
                    <c:v>Rolling Stdev (30 Minute)</c:v>
                  </c:pt>
                  <c:pt idx="423">
                    <c:v>Rolling Stdev (30 Minute)</c:v>
                  </c:pt>
                  <c:pt idx="424">
                    <c:v>Rolling Stdev (30 Minute)</c:v>
                  </c:pt>
                  <c:pt idx="425">
                    <c:v>Rolling Stdev (30 Minute)</c:v>
                  </c:pt>
                  <c:pt idx="426">
                    <c:v>Rolling Stdev (30 Minute)</c:v>
                  </c:pt>
                  <c:pt idx="427">
                    <c:v>Rolling Stdev (30 Minute)</c:v>
                  </c:pt>
                  <c:pt idx="428">
                    <c:v>Rolling Stdev (30 Minute)</c:v>
                  </c:pt>
                  <c:pt idx="429">
                    <c:v>Rolling Stdev (30 Minute)</c:v>
                  </c:pt>
                  <c:pt idx="430">
                    <c:v>Rolling Stdev (30 Minute)</c:v>
                  </c:pt>
                  <c:pt idx="431">
                    <c:v>Rolling Stdev (30 Minute)</c:v>
                  </c:pt>
                  <c:pt idx="432">
                    <c:v>Rolling Stdev (30 Minute)</c:v>
                  </c:pt>
                  <c:pt idx="433">
                    <c:v>Rolling Stdev (30 Minute)</c:v>
                  </c:pt>
                  <c:pt idx="434">
                    <c:v>Rolling Stdev (30 Minute)</c:v>
                  </c:pt>
                  <c:pt idx="435">
                    <c:v>Rolling Stdev (30 Minute)</c:v>
                  </c:pt>
                  <c:pt idx="436">
                    <c:v>Rolling Stdev (30 Minute)</c:v>
                  </c:pt>
                  <c:pt idx="437">
                    <c:v>Rolling Stdev (30 Minute)</c:v>
                  </c:pt>
                  <c:pt idx="438">
                    <c:v>Rolling Stdev (30 Minute)</c:v>
                  </c:pt>
                  <c:pt idx="439">
                    <c:v>Rolling Stdev (30 Minute)</c:v>
                  </c:pt>
                  <c:pt idx="440">
                    <c:v>Rolling Stdev (30 Minute)</c:v>
                  </c:pt>
                  <c:pt idx="441">
                    <c:v>Rolling Stdev (30 Minute)</c:v>
                  </c:pt>
                  <c:pt idx="442">
                    <c:v>Rolling Stdev (30 Minute)</c:v>
                  </c:pt>
                  <c:pt idx="443">
                    <c:v>Rolling Stdev (30 Minute)</c:v>
                  </c:pt>
                  <c:pt idx="444">
                    <c:v>Rolling Stdev (30 Minute)</c:v>
                  </c:pt>
                  <c:pt idx="445">
                    <c:v>Rolling Stdev (30 Minute)</c:v>
                  </c:pt>
                  <c:pt idx="446">
                    <c:v>Rolling Stdev (30 Minute)</c:v>
                  </c:pt>
                  <c:pt idx="447">
                    <c:v>Rolling Stdev (30 Minute)</c:v>
                  </c:pt>
                  <c:pt idx="448">
                    <c:v>Rolling Stdev (30 Minute)</c:v>
                  </c:pt>
                  <c:pt idx="449">
                    <c:v>Rolling Stdev (30 Minute)</c:v>
                  </c:pt>
                  <c:pt idx="450">
                    <c:v>Rolling Stdev (30 Minute)</c:v>
                  </c:pt>
                  <c:pt idx="451">
                    <c:v>Rolling Stdev (30 Minute)</c:v>
                  </c:pt>
                  <c:pt idx="452">
                    <c:v>Rolling Stdev (30 Minute)</c:v>
                  </c:pt>
                  <c:pt idx="453">
                    <c:v>Rolling Stdev (30 Minute)</c:v>
                  </c:pt>
                  <c:pt idx="454">
                    <c:v>Rolling Stdev (30 Minute)</c:v>
                  </c:pt>
                  <c:pt idx="455">
                    <c:v>Rolling Stdev (30 Minute)</c:v>
                  </c:pt>
                  <c:pt idx="456">
                    <c:v>Rolling Stdev (30 Minute)</c:v>
                  </c:pt>
                  <c:pt idx="457">
                    <c:v>Rolling Stdev (30 Minute)</c:v>
                  </c:pt>
                  <c:pt idx="458">
                    <c:v>Rolling Stdev (30 Minute)</c:v>
                  </c:pt>
                  <c:pt idx="459">
                    <c:v>Rolling Stdev (30 Minute)</c:v>
                  </c:pt>
                  <c:pt idx="460">
                    <c:v>Rolling Stdev (30 Minute)</c:v>
                  </c:pt>
                  <c:pt idx="461">
                    <c:v>Rolling Stdev (30 Minute)</c:v>
                  </c:pt>
                  <c:pt idx="462">
                    <c:v>Rolling Stdev (30 Minute)</c:v>
                  </c:pt>
                  <c:pt idx="463">
                    <c:v>Rolling Stdev (30 Minute)</c:v>
                  </c:pt>
                  <c:pt idx="464">
                    <c:v>Rolling Stdev (30 Minute)</c:v>
                  </c:pt>
                  <c:pt idx="465">
                    <c:v>Rolling Stdev (30 Minute)</c:v>
                  </c:pt>
                  <c:pt idx="466">
                    <c:v>Rolling Stdev (30 Minute)</c:v>
                  </c:pt>
                  <c:pt idx="467">
                    <c:v>Rolling Stdev (30 Minute)</c:v>
                  </c:pt>
                  <c:pt idx="468">
                    <c:v>Rolling Stdev (30 Minute)</c:v>
                  </c:pt>
                  <c:pt idx="469">
                    <c:v>Rolling Stdev (30 Minute)</c:v>
                  </c:pt>
                  <c:pt idx="470">
                    <c:v>Rolling Stdev (30 Minute)</c:v>
                  </c:pt>
                  <c:pt idx="471">
                    <c:v>Rolling Stdev (30 Minute)</c:v>
                  </c:pt>
                  <c:pt idx="472">
                    <c:v>Rolling Stdev (30 Minute)</c:v>
                  </c:pt>
                  <c:pt idx="473">
                    <c:v>Rolling Stdev (30 Minute)</c:v>
                  </c:pt>
                  <c:pt idx="474">
                    <c:v>Rolling Stdev (30 Minute)</c:v>
                  </c:pt>
                  <c:pt idx="475">
                    <c:v>Rolling Stdev (30 Minute)</c:v>
                  </c:pt>
                  <c:pt idx="476">
                    <c:v>Rolling Stdev (30 Minute)</c:v>
                  </c:pt>
                  <c:pt idx="477">
                    <c:v>Rolling Stdev (30 Minute)</c:v>
                  </c:pt>
                  <c:pt idx="478">
                    <c:v>Rolling Stdev (30 Minute)</c:v>
                  </c:pt>
                  <c:pt idx="479">
                    <c:v>Rolling Stdev (30 Minute)</c:v>
                  </c:pt>
                  <c:pt idx="480">
                    <c:v>Rolling Stdev (30 Minute)</c:v>
                  </c:pt>
                  <c:pt idx="481">
                    <c:v>Rolling Stdev (30 Minute)</c:v>
                  </c:pt>
                  <c:pt idx="482">
                    <c:v>Rolling Stdev (30 Minute)</c:v>
                  </c:pt>
                  <c:pt idx="483">
                    <c:v>Rolling Stdev (30 Minute)</c:v>
                  </c:pt>
                  <c:pt idx="484">
                    <c:v>Rolling Stdev (30 Minute)</c:v>
                  </c:pt>
                  <c:pt idx="485">
                    <c:v>Rolling Stdev (30 Minute)</c:v>
                  </c:pt>
                  <c:pt idx="486">
                    <c:v>Rolling Stdev (30 Minute)</c:v>
                  </c:pt>
                  <c:pt idx="487">
                    <c:v>Rolling Stdev (30 Minute)</c:v>
                  </c:pt>
                  <c:pt idx="488">
                    <c:v>Rolling Stdev (30 Minute)</c:v>
                  </c:pt>
                  <c:pt idx="489">
                    <c:v>Rolling Stdev (30 Minute)</c:v>
                  </c:pt>
                  <c:pt idx="490">
                    <c:v>Rolling Stdev (30 Minute)</c:v>
                  </c:pt>
                  <c:pt idx="491">
                    <c:v>Rolling Stdev (30 Minute)</c:v>
                  </c:pt>
                  <c:pt idx="492">
                    <c:v>Rolling Stdev (30 Minute)</c:v>
                  </c:pt>
                  <c:pt idx="493">
                    <c:v>Rolling Stdev (30 Minute)</c:v>
                  </c:pt>
                  <c:pt idx="494">
                    <c:v>Rolling Stdev (30 Minute)</c:v>
                  </c:pt>
                  <c:pt idx="495">
                    <c:v>Rolling Stdev (30 Minute)</c:v>
                  </c:pt>
                  <c:pt idx="496">
                    <c:v>Rolling Stdev (30 Minute)</c:v>
                  </c:pt>
                  <c:pt idx="497">
                    <c:v>Rolling Stdev (30 Minute)</c:v>
                  </c:pt>
                  <c:pt idx="498">
                    <c:v>Rolling Stdev (30 Minute)</c:v>
                  </c:pt>
                  <c:pt idx="499">
                    <c:v>Rolling Stdev (30 Minute)</c:v>
                  </c:pt>
                  <c:pt idx="500">
                    <c:v>Rolling Stdev (30 Minute)</c:v>
                  </c:pt>
                  <c:pt idx="501">
                    <c:v>Rolling Stdev (30 Minute)</c:v>
                  </c:pt>
                  <c:pt idx="502">
                    <c:v>Rolling Stdev (30 Minute)</c:v>
                  </c:pt>
                  <c:pt idx="503">
                    <c:v>Rolling Stdev (30 Minute)</c:v>
                  </c:pt>
                  <c:pt idx="504">
                    <c:v>Rolling Stdev (30 Minute)</c:v>
                  </c:pt>
                  <c:pt idx="505">
                    <c:v>Rolling Stdev (30 Minute)</c:v>
                  </c:pt>
                  <c:pt idx="506">
                    <c:v>Rolling Stdev (30 Minute)</c:v>
                  </c:pt>
                  <c:pt idx="507">
                    <c:v>Rolling Stdev (30 Minute)</c:v>
                  </c:pt>
                  <c:pt idx="508">
                    <c:v>Rolling Stdev (30 Minute)</c:v>
                  </c:pt>
                  <c:pt idx="509">
                    <c:v>Rolling Stdev (30 Minute)</c:v>
                  </c:pt>
                  <c:pt idx="510">
                    <c:v>Rolling Stdev (30 Minute)</c:v>
                  </c:pt>
                  <c:pt idx="511">
                    <c:v>Rolling Stdev (30 Minute)</c:v>
                  </c:pt>
                  <c:pt idx="512">
                    <c:v>Rolling Stdev (30 Minute)</c:v>
                  </c:pt>
                  <c:pt idx="513">
                    <c:v>Rolling Stdev (30 Minute)</c:v>
                  </c:pt>
                  <c:pt idx="514">
                    <c:v>Rolling Stdev (30 Minute)</c:v>
                  </c:pt>
                  <c:pt idx="515">
                    <c:v>Rolling Stdev (30 Minute)</c:v>
                  </c:pt>
                  <c:pt idx="516">
                    <c:v>Rolling Stdev (30 Minute)</c:v>
                  </c:pt>
                  <c:pt idx="517">
                    <c:v>Rolling Stdev (30 Minute)</c:v>
                  </c:pt>
                  <c:pt idx="518">
                    <c:v>Rolling Stdev (30 Minute)</c:v>
                  </c:pt>
                  <c:pt idx="519">
                    <c:v>Rolling Stdev (30 Minute)</c:v>
                  </c:pt>
                  <c:pt idx="520">
                    <c:v>Rolling Stdev (30 Minute)</c:v>
                  </c:pt>
                  <c:pt idx="521">
                    <c:v>Rolling Stdev (30 Minute)</c:v>
                  </c:pt>
                  <c:pt idx="522">
                    <c:v>Rolling Stdev (30 Minute)</c:v>
                  </c:pt>
                  <c:pt idx="523">
                    <c:v>Rolling Stdev (30 Minute)</c:v>
                  </c:pt>
                  <c:pt idx="524">
                    <c:v>Rolling Stdev (30 Minute)</c:v>
                  </c:pt>
                  <c:pt idx="525">
                    <c:v>Rolling Stdev (30 Minute)</c:v>
                  </c:pt>
                  <c:pt idx="526">
                    <c:v>Rolling Stdev (30 Minute)</c:v>
                  </c:pt>
                  <c:pt idx="527">
                    <c:v>Rolling Stdev (30 Minute)</c:v>
                  </c:pt>
                  <c:pt idx="528">
                    <c:v>Rolling Stdev (30 Minute)</c:v>
                  </c:pt>
                  <c:pt idx="529">
                    <c:v>Rolling Stdev (30 Minute)</c:v>
                  </c:pt>
                  <c:pt idx="530">
                    <c:v>Rolling Stdev (30 Minute)</c:v>
                  </c:pt>
                  <c:pt idx="531">
                    <c:v>Rolling Stdev (30 Minute)</c:v>
                  </c:pt>
                  <c:pt idx="532">
                    <c:v>Rolling Stdev (30 Minute)</c:v>
                  </c:pt>
                  <c:pt idx="533">
                    <c:v>Rolling Stdev (30 Minute)</c:v>
                  </c:pt>
                  <c:pt idx="534">
                    <c:v>Rolling Stdev (30 Minute)</c:v>
                  </c:pt>
                  <c:pt idx="535">
                    <c:v>Rolling Stdev (30 Minute)</c:v>
                  </c:pt>
                  <c:pt idx="536">
                    <c:v>Rolling Stdev (30 Minute)</c:v>
                  </c:pt>
                  <c:pt idx="537">
                    <c:v>Rolling Stdev (30 Minute)</c:v>
                  </c:pt>
                  <c:pt idx="538">
                    <c:v>Rolling Stdev (30 Minute)</c:v>
                  </c:pt>
                  <c:pt idx="539">
                    <c:v>Rolling Stdev (30 Minute)</c:v>
                  </c:pt>
                  <c:pt idx="540">
                    <c:v>Rolling Stdev (30 Minute)</c:v>
                  </c:pt>
                  <c:pt idx="541">
                    <c:v>Rolling Stdev (30 Minute)</c:v>
                  </c:pt>
                  <c:pt idx="542">
                    <c:v>Rolling Stdev (30 Minute)</c:v>
                  </c:pt>
                  <c:pt idx="543">
                    <c:v>Rolling Stdev (30 Minute)</c:v>
                  </c:pt>
                  <c:pt idx="544">
                    <c:v>Rolling Stdev (30 Minute)</c:v>
                  </c:pt>
                  <c:pt idx="545">
                    <c:v>Rolling Stdev (30 Minute)</c:v>
                  </c:pt>
                  <c:pt idx="546">
                    <c:v>Rolling Stdev (30 Minute)</c:v>
                  </c:pt>
                  <c:pt idx="547">
                    <c:v>Rolling Stdev (30 Minute)</c:v>
                  </c:pt>
                  <c:pt idx="548">
                    <c:v>Rolling Stdev (30 Minute)</c:v>
                  </c:pt>
                  <c:pt idx="549">
                    <c:v>Rolling Stdev (30 Minute)</c:v>
                  </c:pt>
                  <c:pt idx="550">
                    <c:v>Rolling Stdev (30 Minute)</c:v>
                  </c:pt>
                  <c:pt idx="551">
                    <c:v>Rolling Stdev (30 Minute)</c:v>
                  </c:pt>
                  <c:pt idx="552">
                    <c:v>Rolling Stdev (30 Minute)</c:v>
                  </c:pt>
                  <c:pt idx="553">
                    <c:v>Rolling Stdev (30 Minute)</c:v>
                  </c:pt>
                  <c:pt idx="554">
                    <c:v>Rolling Stdev (30 Minute)</c:v>
                  </c:pt>
                  <c:pt idx="555">
                    <c:v>Rolling Stdev (30 Minute)</c:v>
                  </c:pt>
                  <c:pt idx="556">
                    <c:v>Rolling Stdev (30 Minute)</c:v>
                  </c:pt>
                  <c:pt idx="557">
                    <c:v>Rolling Stdev (30 Minute)</c:v>
                  </c:pt>
                  <c:pt idx="558">
                    <c:v>Rolling Stdev (30 Minute)</c:v>
                  </c:pt>
                  <c:pt idx="559">
                    <c:v>Rolling Stdev (30 Minute)</c:v>
                  </c:pt>
                  <c:pt idx="560">
                    <c:v>Rolling Stdev (30 Minute)</c:v>
                  </c:pt>
                  <c:pt idx="561">
                    <c:v>Rolling Stdev (30 Minute)</c:v>
                  </c:pt>
                  <c:pt idx="562">
                    <c:v>Rolling Stdev (30 Minute)</c:v>
                  </c:pt>
                  <c:pt idx="563">
                    <c:v>Rolling Stdev (30 Minute)</c:v>
                  </c:pt>
                  <c:pt idx="564">
                    <c:v>Rolling Stdev (30 Minute)</c:v>
                  </c:pt>
                  <c:pt idx="565">
                    <c:v>Rolling Stdev (30 Minute)</c:v>
                  </c:pt>
                  <c:pt idx="566">
                    <c:v>Rolling Stdev (30 Minute)</c:v>
                  </c:pt>
                  <c:pt idx="567">
                    <c:v>Rolling Stdev (30 Minute)</c:v>
                  </c:pt>
                  <c:pt idx="568">
                    <c:v>Rolling Stdev (30 Minute)</c:v>
                  </c:pt>
                  <c:pt idx="569">
                    <c:v>Rolling Stdev (30 Minute)</c:v>
                  </c:pt>
                  <c:pt idx="570">
                    <c:v>Rolling Stdev (30 Minute)</c:v>
                  </c:pt>
                  <c:pt idx="571">
                    <c:v>Rolling Stdev (30 Minute)</c:v>
                  </c:pt>
                  <c:pt idx="572">
                    <c:v>Rolling Stdev (30 Minute)</c:v>
                  </c:pt>
                  <c:pt idx="573">
                    <c:v>Rolling Stdev (30 Minute)</c:v>
                  </c:pt>
                  <c:pt idx="574">
                    <c:v>Rolling Stdev (30 Minute)</c:v>
                  </c:pt>
                  <c:pt idx="575">
                    <c:v>Rolling Stdev (30 Minute)</c:v>
                  </c:pt>
                  <c:pt idx="576">
                    <c:v>Rolling Stdev (30 Minute)</c:v>
                  </c:pt>
                  <c:pt idx="577">
                    <c:v>Rolling Stdev (30 Minute)</c:v>
                  </c:pt>
                  <c:pt idx="578">
                    <c:v>Rolling Stdev (30 Minute)</c:v>
                  </c:pt>
                  <c:pt idx="579">
                    <c:v>Rolling Stdev (30 Minute)</c:v>
                  </c:pt>
                  <c:pt idx="580">
                    <c:v>Rolling Stdev (30 Minute)</c:v>
                  </c:pt>
                  <c:pt idx="581">
                    <c:v>Rolling Stdev (30 Minute)</c:v>
                  </c:pt>
                  <c:pt idx="582">
                    <c:v>Rolling Stdev (30 Minute)</c:v>
                  </c:pt>
                  <c:pt idx="583">
                    <c:v>Rolling Stdev (30 Minute)</c:v>
                  </c:pt>
                  <c:pt idx="584">
                    <c:v>Rolling Stdev (30 Minute)</c:v>
                  </c:pt>
                  <c:pt idx="585">
                    <c:v>Rolling Stdev (30 Minute)</c:v>
                  </c:pt>
                  <c:pt idx="586">
                    <c:v>Rolling Stdev (30 Minute)</c:v>
                  </c:pt>
                  <c:pt idx="587">
                    <c:v>Rolling Stdev (30 Minute)</c:v>
                  </c:pt>
                  <c:pt idx="588">
                    <c:v>Rolling Stdev (30 Minute)</c:v>
                  </c:pt>
                  <c:pt idx="589">
                    <c:v>Rolling Stdev (30 Minute)</c:v>
                  </c:pt>
                  <c:pt idx="590">
                    <c:v>Rolling Stdev (30 Minute)</c:v>
                  </c:pt>
                  <c:pt idx="591">
                    <c:v>Rolling Stdev (30 Minute)</c:v>
                  </c:pt>
                  <c:pt idx="592">
                    <c:v>Rolling Stdev (30 Minute)</c:v>
                  </c:pt>
                  <c:pt idx="593">
                    <c:v>Rolling Stdev (30 Minute)</c:v>
                  </c:pt>
                  <c:pt idx="594">
                    <c:v>Rolling Stdev (30 Minute)</c:v>
                  </c:pt>
                  <c:pt idx="595">
                    <c:v>Rolling Stdev (30 Minute)</c:v>
                  </c:pt>
                  <c:pt idx="596">
                    <c:v>Rolling Stdev (30 Minute)</c:v>
                  </c:pt>
                  <c:pt idx="597">
                    <c:v>Rolling Stdev (30 Minute)</c:v>
                  </c:pt>
                  <c:pt idx="598">
                    <c:v>Rolling Stdev (30 Minute)</c:v>
                  </c:pt>
                  <c:pt idx="599">
                    <c:v>Rolling Stdev (30 Minute)</c:v>
                  </c:pt>
                  <c:pt idx="600">
                    <c:v>Rolling Stdev (30 Minute)</c:v>
                  </c:pt>
                  <c:pt idx="601">
                    <c:v>Rolling Stdev (30 Minute)</c:v>
                  </c:pt>
                  <c:pt idx="602">
                    <c:v>Rolling Stdev (30 Minute)</c:v>
                  </c:pt>
                  <c:pt idx="603">
                    <c:v>Rolling Stdev (30 Minute)</c:v>
                  </c:pt>
                  <c:pt idx="604">
                    <c:v>Rolling Stdev (30 Minute)</c:v>
                  </c:pt>
                  <c:pt idx="605">
                    <c:v>Rolling Stdev (30 Minute)</c:v>
                  </c:pt>
                  <c:pt idx="606">
                    <c:v>Rolling Stdev (30 Minute)</c:v>
                  </c:pt>
                  <c:pt idx="607">
                    <c:v>Rolling Stdev (30 Minute)</c:v>
                  </c:pt>
                  <c:pt idx="608">
                    <c:v>Rolling Stdev (30 Minute)</c:v>
                  </c:pt>
                  <c:pt idx="609">
                    <c:v>Rolling Stdev (30 Minute)</c:v>
                  </c:pt>
                  <c:pt idx="610">
                    <c:v>Rolling Stdev (30 Minute)</c:v>
                  </c:pt>
                  <c:pt idx="611">
                    <c:v>Rolling Stdev (30 Minute)</c:v>
                  </c:pt>
                  <c:pt idx="612">
                    <c:v>Rolling Stdev (30 Minute)</c:v>
                  </c:pt>
                  <c:pt idx="613">
                    <c:v>Rolling Stdev (30 Minute)</c:v>
                  </c:pt>
                  <c:pt idx="614">
                    <c:v>Rolling Stdev (30 Minute)</c:v>
                  </c:pt>
                  <c:pt idx="615">
                    <c:v>Rolling Stdev (30 Minute)</c:v>
                  </c:pt>
                  <c:pt idx="616">
                    <c:v>Rolling Stdev (30 Minute)</c:v>
                  </c:pt>
                  <c:pt idx="617">
                    <c:v>Rolling Stdev (30 Minute)</c:v>
                  </c:pt>
                  <c:pt idx="618">
                    <c:v>Rolling Stdev (30 Minute)</c:v>
                  </c:pt>
                  <c:pt idx="619">
                    <c:v>Rolling Stdev (30 Minute)</c:v>
                  </c:pt>
                  <c:pt idx="620">
                    <c:v>Rolling Stdev (30 Minute)</c:v>
                  </c:pt>
                  <c:pt idx="621">
                    <c:v>Rolling Stdev (30 Minute)</c:v>
                  </c:pt>
                  <c:pt idx="622">
                    <c:v>Rolling Stdev (30 Minute)</c:v>
                  </c:pt>
                  <c:pt idx="623">
                    <c:v>Rolling Stdev (30 Minute)</c:v>
                  </c:pt>
                  <c:pt idx="624">
                    <c:v>Rolling Stdev (30 Minute)</c:v>
                  </c:pt>
                  <c:pt idx="625">
                    <c:v>Rolling Stdev (30 Minute)</c:v>
                  </c:pt>
                  <c:pt idx="626">
                    <c:v>Rolling Stdev (30 Minute)</c:v>
                  </c:pt>
                  <c:pt idx="627">
                    <c:v>Rolling Stdev (30 Minute)</c:v>
                  </c:pt>
                  <c:pt idx="628">
                    <c:v>Rolling Stdev (30 Minute)</c:v>
                  </c:pt>
                  <c:pt idx="629">
                    <c:v>Rolling Stdev (30 Minute)</c:v>
                  </c:pt>
                  <c:pt idx="630">
                    <c:v>Rolling Stdev (30 Minute)</c:v>
                  </c:pt>
                  <c:pt idx="631">
                    <c:v>Rolling Stdev (30 Minute)</c:v>
                  </c:pt>
                  <c:pt idx="632">
                    <c:v>Rolling Stdev (30 Minute)</c:v>
                  </c:pt>
                  <c:pt idx="633">
                    <c:v>Rolling Stdev (30 Minute)</c:v>
                  </c:pt>
                  <c:pt idx="634">
                    <c:v>Rolling Stdev (30 Minute)</c:v>
                  </c:pt>
                  <c:pt idx="635">
                    <c:v>Rolling Stdev (30 Minute)</c:v>
                  </c:pt>
                  <c:pt idx="636">
                    <c:v>Rolling Stdev (30 Minute)</c:v>
                  </c:pt>
                  <c:pt idx="637">
                    <c:v>Rolling Stdev (30 Minute)</c:v>
                  </c:pt>
                  <c:pt idx="638">
                    <c:v>Rolling Stdev (30 Minute)</c:v>
                  </c:pt>
                  <c:pt idx="639">
                    <c:v>Rolling Stdev (30 Minute)</c:v>
                  </c:pt>
                  <c:pt idx="640">
                    <c:v>Rolling Stdev (30 Minute)</c:v>
                  </c:pt>
                  <c:pt idx="641">
                    <c:v>Rolling Stdev (30 Minute)</c:v>
                  </c:pt>
                  <c:pt idx="642">
                    <c:v>Rolling Stdev (30 Minute)</c:v>
                  </c:pt>
                  <c:pt idx="643">
                    <c:v>Rolling Stdev (30 Minute)</c:v>
                  </c:pt>
                  <c:pt idx="644">
                    <c:v>Rolling Stdev (30 Minute)</c:v>
                  </c:pt>
                  <c:pt idx="645">
                    <c:v>Rolling Stdev (30 Minute)</c:v>
                  </c:pt>
                  <c:pt idx="646">
                    <c:v>Rolling Stdev (30 Minute)</c:v>
                  </c:pt>
                  <c:pt idx="647">
                    <c:v>Rolling Stdev (30 Minute)</c:v>
                  </c:pt>
                  <c:pt idx="648">
                    <c:v>Rolling Stdev (30 Minute)</c:v>
                  </c:pt>
                  <c:pt idx="649">
                    <c:v>Rolling Stdev (30 Minute)</c:v>
                  </c:pt>
                  <c:pt idx="650">
                    <c:v>Rolling Stdev (30 Minute)</c:v>
                  </c:pt>
                  <c:pt idx="651">
                    <c:v>Rolling Stdev (30 Minute)</c:v>
                  </c:pt>
                  <c:pt idx="652">
                    <c:v>Rolling Stdev (30 Minute)</c:v>
                  </c:pt>
                  <c:pt idx="653">
                    <c:v>Rolling Stdev (30 Minute)</c:v>
                  </c:pt>
                  <c:pt idx="654">
                    <c:v>Rolling Stdev (30 Minute)</c:v>
                  </c:pt>
                  <c:pt idx="655">
                    <c:v>Rolling Stdev (30 Minute)</c:v>
                  </c:pt>
                  <c:pt idx="656">
                    <c:v>Rolling Stdev (30 Minute)</c:v>
                  </c:pt>
                  <c:pt idx="657">
                    <c:v>Rolling Stdev (30 Minute)</c:v>
                  </c:pt>
                  <c:pt idx="658">
                    <c:v>Rolling Stdev (30 Minute)</c:v>
                  </c:pt>
                  <c:pt idx="659">
                    <c:v>Rolling Stdev (30 Minute)</c:v>
                  </c:pt>
                  <c:pt idx="660">
                    <c:v>Rolling Stdev (30 Minute)</c:v>
                  </c:pt>
                  <c:pt idx="661">
                    <c:v>Rolling Stdev (30 Minute)</c:v>
                  </c:pt>
                  <c:pt idx="662">
                    <c:v>Rolling Stdev (30 Minute)</c:v>
                  </c:pt>
                  <c:pt idx="663">
                    <c:v>Rolling Stdev (30 Minute)</c:v>
                  </c:pt>
                  <c:pt idx="664">
                    <c:v>Rolling Stdev (30 Minute)</c:v>
                  </c:pt>
                  <c:pt idx="665">
                    <c:v>Rolling Stdev (30 Minute)</c:v>
                  </c:pt>
                  <c:pt idx="666">
                    <c:v>Rolling Stdev (30 Minute)</c:v>
                  </c:pt>
                  <c:pt idx="667">
                    <c:v>Rolling Stdev (30 Minute)</c:v>
                  </c:pt>
                  <c:pt idx="668">
                    <c:v>Rolling Stdev (30 Minute)</c:v>
                  </c:pt>
                  <c:pt idx="669">
                    <c:v>Rolling Stdev (30 Minute)</c:v>
                  </c:pt>
                  <c:pt idx="670">
                    <c:v>Rolling Stdev (30 Minute)</c:v>
                  </c:pt>
                  <c:pt idx="671">
                    <c:v>Rolling Stdev (30 Minute)</c:v>
                  </c:pt>
                  <c:pt idx="672">
                    <c:v>Rolling Stdev (30 Minute)</c:v>
                  </c:pt>
                  <c:pt idx="673">
                    <c:v>Rolling Stdev (30 Minute)</c:v>
                  </c:pt>
                  <c:pt idx="674">
                    <c:v>Rolling Stdev (30 Minute)</c:v>
                  </c:pt>
                  <c:pt idx="675">
                    <c:v>Rolling Stdev (30 Minute)</c:v>
                  </c:pt>
                  <c:pt idx="676">
                    <c:v>Rolling Stdev (30 Minute)</c:v>
                  </c:pt>
                  <c:pt idx="677">
                    <c:v>Rolling Stdev (30 Minute)</c:v>
                  </c:pt>
                  <c:pt idx="678">
                    <c:v>Rolling Stdev (30 Minute)</c:v>
                  </c:pt>
                  <c:pt idx="679">
                    <c:v>Rolling Stdev (30 Minute)</c:v>
                  </c:pt>
                  <c:pt idx="680">
                    <c:v>Rolling Stdev (30 Minute)</c:v>
                  </c:pt>
                  <c:pt idx="681">
                    <c:v>Rolling Stdev (30 Minute)</c:v>
                  </c:pt>
                  <c:pt idx="682">
                    <c:v>Rolling Stdev (30 Minute)</c:v>
                  </c:pt>
                  <c:pt idx="683">
                    <c:v>Rolling Stdev (30 Minute)</c:v>
                  </c:pt>
                  <c:pt idx="684">
                    <c:v>Rolling Stdev (30 Minute)</c:v>
                  </c:pt>
                  <c:pt idx="685">
                    <c:v>Rolling Stdev (30 Minute)</c:v>
                  </c:pt>
                  <c:pt idx="686">
                    <c:v>Rolling Stdev (30 Minute)</c:v>
                  </c:pt>
                  <c:pt idx="687">
                    <c:v>Rolling Stdev (30 Minute)</c:v>
                  </c:pt>
                  <c:pt idx="688">
                    <c:v>Rolling Stdev (30 Minute)</c:v>
                  </c:pt>
                  <c:pt idx="689">
                    <c:v>Rolling Stdev (30 Minute)</c:v>
                  </c:pt>
                  <c:pt idx="690">
                    <c:v>Rolling Stdev (30 Minute)</c:v>
                  </c:pt>
                  <c:pt idx="691">
                    <c:v>Rolling Stdev (30 Minute)</c:v>
                  </c:pt>
                  <c:pt idx="692">
                    <c:v>Rolling Stdev (30 Minute)</c:v>
                  </c:pt>
                  <c:pt idx="693">
                    <c:v>Rolling Stdev (30 Minute)</c:v>
                  </c:pt>
                  <c:pt idx="694">
                    <c:v>Rolling Stdev (30 Minute)</c:v>
                  </c:pt>
                  <c:pt idx="695">
                    <c:v>Rolling Stdev (30 Minute)</c:v>
                  </c:pt>
                  <c:pt idx="696">
                    <c:v>Rolling Stdev (30 Minute)</c:v>
                  </c:pt>
                  <c:pt idx="697">
                    <c:v>Rolling Stdev (30 Minute)</c:v>
                  </c:pt>
                  <c:pt idx="698">
                    <c:v>Rolling Stdev (30 Minute)</c:v>
                  </c:pt>
                  <c:pt idx="699">
                    <c:v>Rolling Stdev (30 Minute)</c:v>
                  </c:pt>
                  <c:pt idx="700">
                    <c:v>Rolling Stdev (30 Minute)</c:v>
                  </c:pt>
                  <c:pt idx="701">
                    <c:v>Rolling Stdev (30 Minute)</c:v>
                  </c:pt>
                  <c:pt idx="702">
                    <c:v>Rolling Stdev (30 Minute)</c:v>
                  </c:pt>
                  <c:pt idx="703">
                    <c:v>Rolling Stdev (30 Minute)</c:v>
                  </c:pt>
                  <c:pt idx="704">
                    <c:v>Rolling Stdev (30 Minute)</c:v>
                  </c:pt>
                  <c:pt idx="705">
                    <c:v>Rolling Stdev (30 Minute)</c:v>
                  </c:pt>
                  <c:pt idx="706">
                    <c:v>Rolling Stdev (30 Minute)</c:v>
                  </c:pt>
                  <c:pt idx="707">
                    <c:v>Rolling Stdev (30 Minute)</c:v>
                  </c:pt>
                  <c:pt idx="708">
                    <c:v>Rolling Stdev (30 Minute)</c:v>
                  </c:pt>
                  <c:pt idx="709">
                    <c:v>Rolling Stdev (30 Minute)</c:v>
                  </c:pt>
                  <c:pt idx="710">
                    <c:v>Rolling Stdev (30 Minute)</c:v>
                  </c:pt>
                  <c:pt idx="711">
                    <c:v>Rolling Stdev (30 Minute)</c:v>
                  </c:pt>
                  <c:pt idx="712">
                    <c:v>Rolling Stdev (30 Minute)</c:v>
                  </c:pt>
                  <c:pt idx="713">
                    <c:v>Rolling Stdev (30 Minute)</c:v>
                  </c:pt>
                  <c:pt idx="714">
                    <c:v>Rolling Stdev (30 Minute)</c:v>
                  </c:pt>
                  <c:pt idx="715">
                    <c:v>Rolling Stdev (30 Minute)</c:v>
                  </c:pt>
                  <c:pt idx="716">
                    <c:v>Rolling Stdev (30 Minute)</c:v>
                  </c:pt>
                  <c:pt idx="717">
                    <c:v>Rolling Stdev (30 Minute)</c:v>
                  </c:pt>
                  <c:pt idx="718">
                    <c:v>Rolling Stdev (30 Minute)</c:v>
                  </c:pt>
                  <c:pt idx="719">
                    <c:v>Rolling Stdev (30 Minute)</c:v>
                  </c:pt>
                  <c:pt idx="720">
                    <c:v>Rolling Stdev (30 Minute)</c:v>
                  </c:pt>
                  <c:pt idx="721">
                    <c:v>Rolling Stdev (30 Minute)</c:v>
                  </c:pt>
                  <c:pt idx="722">
                    <c:v>Rolling Stdev (30 Minute)</c:v>
                  </c:pt>
                  <c:pt idx="723">
                    <c:v>Rolling Stdev (30 Minute)</c:v>
                  </c:pt>
                  <c:pt idx="724">
                    <c:v>Rolling Stdev (30 Minute)</c:v>
                  </c:pt>
                  <c:pt idx="725">
                    <c:v>Rolling Stdev (30 Minute)</c:v>
                  </c:pt>
                  <c:pt idx="726">
                    <c:v>Rolling Stdev (30 Minute)</c:v>
                  </c:pt>
                  <c:pt idx="727">
                    <c:v>Rolling Stdev (30 Minute)</c:v>
                  </c:pt>
                  <c:pt idx="728">
                    <c:v>Rolling Stdev (30 Minute)</c:v>
                  </c:pt>
                  <c:pt idx="729">
                    <c:v>Rolling Stdev (30 Minute)</c:v>
                  </c:pt>
                  <c:pt idx="730">
                    <c:v>Rolling Stdev (30 Minute)</c:v>
                  </c:pt>
                  <c:pt idx="731">
                    <c:v>Rolling Stdev (30 Minute)</c:v>
                  </c:pt>
                  <c:pt idx="732">
                    <c:v>Rolling Stdev (30 Minute)</c:v>
                  </c:pt>
                  <c:pt idx="733">
                    <c:v>Rolling Stdev (30 Minute)</c:v>
                  </c:pt>
                  <c:pt idx="734">
                    <c:v>Rolling Stdev (30 Minute)</c:v>
                  </c:pt>
                  <c:pt idx="735">
                    <c:v>Rolling Stdev (30 Minute)</c:v>
                  </c:pt>
                  <c:pt idx="736">
                    <c:v>Rolling Stdev (30 Minute)</c:v>
                  </c:pt>
                  <c:pt idx="737">
                    <c:v>Rolling Stdev (30 Minute)</c:v>
                  </c:pt>
                  <c:pt idx="738">
                    <c:v>Rolling Stdev (30 Minute)</c:v>
                  </c:pt>
                  <c:pt idx="739">
                    <c:v>Rolling Stdev (30 Minute)</c:v>
                  </c:pt>
                  <c:pt idx="740">
                    <c:v>Rolling Stdev (30 Minute)</c:v>
                  </c:pt>
                  <c:pt idx="741">
                    <c:v>Rolling Stdev (30 Minute)</c:v>
                  </c:pt>
                  <c:pt idx="742">
                    <c:v>Rolling Stdev (30 Minute)</c:v>
                  </c:pt>
                  <c:pt idx="743">
                    <c:v>Rolling Stdev (30 Minute)</c:v>
                  </c:pt>
                  <c:pt idx="744">
                    <c:v>Rolling Stdev (30 Minute)</c:v>
                  </c:pt>
                  <c:pt idx="745">
                    <c:v>Rolling Stdev (30 Minute)</c:v>
                  </c:pt>
                  <c:pt idx="746">
                    <c:v>Rolling Stdev (30 Minute)</c:v>
                  </c:pt>
                  <c:pt idx="747">
                    <c:v>Rolling Stdev (30 Minute)</c:v>
                  </c:pt>
                  <c:pt idx="748">
                    <c:v>Rolling Stdev (30 Minute)</c:v>
                  </c:pt>
                  <c:pt idx="749">
                    <c:v>Rolling Stdev (30 Minute)</c:v>
                  </c:pt>
                  <c:pt idx="750">
                    <c:v>Rolling Stdev (30 Minute)</c:v>
                  </c:pt>
                  <c:pt idx="751">
                    <c:v>Rolling Stdev (30 Minute)</c:v>
                  </c:pt>
                  <c:pt idx="752">
                    <c:v>Rolling Stdev (30 Minute)</c:v>
                  </c:pt>
                  <c:pt idx="753">
                    <c:v>Rolling Stdev (30 Minute)</c:v>
                  </c:pt>
                  <c:pt idx="754">
                    <c:v>Rolling Stdev (30 Minute)</c:v>
                  </c:pt>
                  <c:pt idx="755">
                    <c:v>Rolling Stdev (30 Minute)</c:v>
                  </c:pt>
                  <c:pt idx="756">
                    <c:v>Rolling Stdev (30 Minute)</c:v>
                  </c:pt>
                  <c:pt idx="757">
                    <c:v>Rolling Stdev (30 Minute)</c:v>
                  </c:pt>
                  <c:pt idx="758">
                    <c:v>Rolling Stdev (30 Minute)</c:v>
                  </c:pt>
                  <c:pt idx="759">
                    <c:v>Rolling Stdev (30 Minute)</c:v>
                  </c:pt>
                  <c:pt idx="760">
                    <c:v>Rolling Stdev (30 Minute)</c:v>
                  </c:pt>
                  <c:pt idx="761">
                    <c:v>Rolling Stdev (30 Minute)</c:v>
                  </c:pt>
                  <c:pt idx="762">
                    <c:v>Rolling Stdev (30 Minute)</c:v>
                  </c:pt>
                  <c:pt idx="763">
                    <c:v>Rolling Stdev (30 Minute)</c:v>
                  </c:pt>
                  <c:pt idx="764">
                    <c:v>Rolling Stdev (30 Minute)</c:v>
                  </c:pt>
                  <c:pt idx="765">
                    <c:v>Rolling Stdev (30 Minute)</c:v>
                  </c:pt>
                  <c:pt idx="766">
                    <c:v>Rolling Stdev (30 Minute)</c:v>
                  </c:pt>
                  <c:pt idx="767">
                    <c:v>Rolling Stdev (30 Minute)</c:v>
                  </c:pt>
                  <c:pt idx="768">
                    <c:v>Rolling Stdev (30 Minute)</c:v>
                  </c:pt>
                  <c:pt idx="769">
                    <c:v>Rolling Stdev (30 Minute)</c:v>
                  </c:pt>
                  <c:pt idx="770">
                    <c:v>Rolling Stdev (30 Minute)</c:v>
                  </c:pt>
                  <c:pt idx="771">
                    <c:v>Rolling Stdev (30 Minute)</c:v>
                  </c:pt>
                  <c:pt idx="772">
                    <c:v>Rolling Stdev (30 Minute)</c:v>
                  </c:pt>
                  <c:pt idx="773">
                    <c:v>Rolling Stdev (30 Minute)</c:v>
                  </c:pt>
                  <c:pt idx="774">
                    <c:v>Rolling Stdev (30 Minute)</c:v>
                  </c:pt>
                  <c:pt idx="775">
                    <c:v>Rolling Stdev (30 Minute)</c:v>
                  </c:pt>
                  <c:pt idx="776">
                    <c:v>Rolling Stdev (30 Minute)</c:v>
                  </c:pt>
                  <c:pt idx="777">
                    <c:v>Rolling Stdev (30 Minute)</c:v>
                  </c:pt>
                  <c:pt idx="778">
                    <c:v>Rolling Stdev (30 Minute)</c:v>
                  </c:pt>
                  <c:pt idx="779">
                    <c:v>Rolling Stdev (30 Minute)</c:v>
                  </c:pt>
                  <c:pt idx="780">
                    <c:v>Rolling Stdev (30 Minute)</c:v>
                  </c:pt>
                  <c:pt idx="781">
                    <c:v>Rolling Stdev (30 Minute)</c:v>
                  </c:pt>
                  <c:pt idx="782">
                    <c:v>Rolling Stdev (30 Minute)</c:v>
                  </c:pt>
                  <c:pt idx="783">
                    <c:v>Rolling Stdev (30 Minute)</c:v>
                  </c:pt>
                  <c:pt idx="784">
                    <c:v>Rolling Stdev (30 Minute)</c:v>
                  </c:pt>
                  <c:pt idx="785">
                    <c:v>Rolling Stdev (30 Minute)</c:v>
                  </c:pt>
                  <c:pt idx="786">
                    <c:v>Rolling Stdev (30 Minute)</c:v>
                  </c:pt>
                  <c:pt idx="787">
                    <c:v>Rolling Stdev (30 Minute)</c:v>
                  </c:pt>
                  <c:pt idx="788">
                    <c:v>Rolling Stdev (30 Minute)</c:v>
                  </c:pt>
                  <c:pt idx="789">
                    <c:v>Rolling Stdev (30 Minute)</c:v>
                  </c:pt>
                  <c:pt idx="790">
                    <c:v>Rolling Stdev (30 Minute)</c:v>
                  </c:pt>
                  <c:pt idx="791">
                    <c:v>Rolling Stdev (30 Minute)</c:v>
                  </c:pt>
                  <c:pt idx="792">
                    <c:v>Rolling Stdev (30 Minute)</c:v>
                  </c:pt>
                  <c:pt idx="793">
                    <c:v>Rolling Stdev (30 Minute)</c:v>
                  </c:pt>
                  <c:pt idx="794">
                    <c:v>Rolling Stdev (30 Minute)</c:v>
                  </c:pt>
                  <c:pt idx="795">
                    <c:v>Rolling Stdev (30 Minute)</c:v>
                  </c:pt>
                  <c:pt idx="796">
                    <c:v>Rolling Stdev (30 Minute)</c:v>
                  </c:pt>
                  <c:pt idx="797">
                    <c:v>Rolling Stdev (30 Minute)</c:v>
                  </c:pt>
                  <c:pt idx="798">
                    <c:v>Rolling Stdev (30 Minute)</c:v>
                  </c:pt>
                  <c:pt idx="799">
                    <c:v>Rolling Stdev (30 Minute)</c:v>
                  </c:pt>
                  <c:pt idx="800">
                    <c:v>Rolling Stdev (30 Minute)</c:v>
                  </c:pt>
                  <c:pt idx="801">
                    <c:v>Rolling Stdev (30 Minute)</c:v>
                  </c:pt>
                  <c:pt idx="802">
                    <c:v>Rolling Stdev (30 Minute)</c:v>
                  </c:pt>
                  <c:pt idx="803">
                    <c:v>Rolling Stdev (30 Minute)</c:v>
                  </c:pt>
                  <c:pt idx="804">
                    <c:v>Rolling Stdev (30 Minute)</c:v>
                  </c:pt>
                  <c:pt idx="805">
                    <c:v>Rolling Stdev (30 Minute)</c:v>
                  </c:pt>
                  <c:pt idx="806">
                    <c:v>Rolling Stdev (30 Minute)</c:v>
                  </c:pt>
                  <c:pt idx="807">
                    <c:v>Rolling Stdev (30 Minute)</c:v>
                  </c:pt>
                  <c:pt idx="808">
                    <c:v>Rolling Stdev (30 Minute)</c:v>
                  </c:pt>
                  <c:pt idx="809">
                    <c:v>Rolling Stdev (30 Minute)</c:v>
                  </c:pt>
                  <c:pt idx="810">
                    <c:v>Rolling Stdev (30 Minute)</c:v>
                  </c:pt>
                  <c:pt idx="811">
                    <c:v>Rolling Stdev (30 Minute)</c:v>
                  </c:pt>
                  <c:pt idx="812">
                    <c:v>Rolling Stdev (30 Minute)</c:v>
                  </c:pt>
                  <c:pt idx="813">
                    <c:v>Rolling Stdev (30 Minute)</c:v>
                  </c:pt>
                  <c:pt idx="814">
                    <c:v>Rolling Stdev (30 Minute)</c:v>
                  </c:pt>
                  <c:pt idx="815">
                    <c:v>Rolling Stdev (30 Minute)</c:v>
                  </c:pt>
                  <c:pt idx="816">
                    <c:v>Rolling Stdev (30 Minute)</c:v>
                  </c:pt>
                  <c:pt idx="817">
                    <c:v>Rolling Stdev (30 Minute)</c:v>
                  </c:pt>
                  <c:pt idx="818">
                    <c:v>Rolling Stdev (30 Minute)</c:v>
                  </c:pt>
                  <c:pt idx="819">
                    <c:v>Rolling Stdev (30 Minute)</c:v>
                  </c:pt>
                  <c:pt idx="820">
                    <c:v>Rolling Stdev (30 Minute)</c:v>
                  </c:pt>
                  <c:pt idx="821">
                    <c:v>Rolling Stdev (30 Minute)</c:v>
                  </c:pt>
                  <c:pt idx="822">
                    <c:v>Rolling Stdev (30 Minute)</c:v>
                  </c:pt>
                  <c:pt idx="823">
                    <c:v>Rolling Stdev (30 Minute)</c:v>
                  </c:pt>
                  <c:pt idx="824">
                    <c:v>Rolling Stdev (30 Minute)</c:v>
                  </c:pt>
                  <c:pt idx="825">
                    <c:v>Rolling Stdev (30 Minute)</c:v>
                  </c:pt>
                  <c:pt idx="826">
                    <c:v>Rolling Stdev (30 Minute)</c:v>
                  </c:pt>
                  <c:pt idx="827">
                    <c:v>Rolling Stdev (30 Minute)</c:v>
                  </c:pt>
                  <c:pt idx="828">
                    <c:v>Rolling Stdev (30 Minute)</c:v>
                  </c:pt>
                  <c:pt idx="829">
                    <c:v>Rolling Stdev (30 Minute)</c:v>
                  </c:pt>
                  <c:pt idx="830">
                    <c:v>Rolling Stdev (30 Minute)</c:v>
                  </c:pt>
                  <c:pt idx="831">
                    <c:v>Rolling Stdev (30 Minute)</c:v>
                  </c:pt>
                  <c:pt idx="832">
                    <c:v>Rolling Stdev (30 Minute)</c:v>
                  </c:pt>
                  <c:pt idx="833">
                    <c:v>Rolling Stdev (30 Minute)</c:v>
                  </c:pt>
                  <c:pt idx="834">
                    <c:v>Rolling Stdev (30 Minute)</c:v>
                  </c:pt>
                  <c:pt idx="835">
                    <c:v>Rolling Stdev (30 Minute)</c:v>
                  </c:pt>
                  <c:pt idx="836">
                    <c:v>Rolling Stdev (30 Minute)</c:v>
                  </c:pt>
                  <c:pt idx="837">
                    <c:v>Rolling Stdev (30 Minute)</c:v>
                  </c:pt>
                  <c:pt idx="838">
                    <c:v>Rolling Stdev (30 Minute)</c:v>
                  </c:pt>
                  <c:pt idx="839">
                    <c:v>Rolling Stdev (30 Minute)</c:v>
                  </c:pt>
                  <c:pt idx="840">
                    <c:v>Rolling Stdev (30 Minute)</c:v>
                  </c:pt>
                  <c:pt idx="841">
                    <c:v>Rolling Stdev (30 Minute)</c:v>
                  </c:pt>
                  <c:pt idx="842">
                    <c:v>Rolling Stdev (30 Minute)</c:v>
                  </c:pt>
                  <c:pt idx="843">
                    <c:v>Rolling Stdev (30 Minute)</c:v>
                  </c:pt>
                  <c:pt idx="844">
                    <c:v>Rolling Stdev (30 Minute)</c:v>
                  </c:pt>
                  <c:pt idx="845">
                    <c:v>Rolling Stdev (30 Minute)</c:v>
                  </c:pt>
                  <c:pt idx="846">
                    <c:v>Rolling Stdev (30 Minute)</c:v>
                  </c:pt>
                  <c:pt idx="847">
                    <c:v>Rolling Stdev (30 Minute)</c:v>
                  </c:pt>
                  <c:pt idx="848">
                    <c:v>Rolling Stdev (30 Minute)</c:v>
                  </c:pt>
                  <c:pt idx="849">
                    <c:v>Rolling Stdev (30 Minute)</c:v>
                  </c:pt>
                  <c:pt idx="850">
                    <c:v>Rolling Stdev (30 Minute)</c:v>
                  </c:pt>
                  <c:pt idx="851">
                    <c:v>Rolling Stdev (30 Minute)</c:v>
                  </c:pt>
                  <c:pt idx="852">
                    <c:v>Rolling Stdev (30 Minute)</c:v>
                  </c:pt>
                  <c:pt idx="853">
                    <c:v>Rolling Stdev (30 Minute)</c:v>
                  </c:pt>
                  <c:pt idx="854">
                    <c:v>Rolling Stdev (30 Minute)</c:v>
                  </c:pt>
                  <c:pt idx="855">
                    <c:v>Rolling Stdev (30 Minute)</c:v>
                  </c:pt>
                  <c:pt idx="856">
                    <c:v>Rolling Stdev (30 Minute)</c:v>
                  </c:pt>
                  <c:pt idx="857">
                    <c:v>Rolling Stdev (30 Minute)</c:v>
                  </c:pt>
                  <c:pt idx="858">
                    <c:v>Rolling Stdev (30 Minute)</c:v>
                  </c:pt>
                  <c:pt idx="859">
                    <c:v>Rolling Stdev (30 Minute)</c:v>
                  </c:pt>
                  <c:pt idx="860">
                    <c:v>Rolling Stdev (30 Minute)</c:v>
                  </c:pt>
                  <c:pt idx="861">
                    <c:v>Rolling Stdev (30 Minute)</c:v>
                  </c:pt>
                  <c:pt idx="862">
                    <c:v>Rolling Stdev (30 Minute)</c:v>
                  </c:pt>
                  <c:pt idx="863">
                    <c:v>Rolling Stdev (30 Minute)</c:v>
                  </c:pt>
                  <c:pt idx="864">
                    <c:v>Rolling Stdev (30 Minute)</c:v>
                  </c:pt>
                  <c:pt idx="865">
                    <c:v>Rolling Stdev (30 Minute)</c:v>
                  </c:pt>
                  <c:pt idx="866">
                    <c:v>Rolling Stdev (30 Minute)</c:v>
                  </c:pt>
                  <c:pt idx="867">
                    <c:v>Rolling Stdev (30 Minute)</c:v>
                  </c:pt>
                  <c:pt idx="868">
                    <c:v>Rolling Stdev (30 Minute)</c:v>
                  </c:pt>
                  <c:pt idx="869">
                    <c:v>Rolling Stdev (30 Minute)</c:v>
                  </c:pt>
                  <c:pt idx="870">
                    <c:v>Rolling Stdev (30 Minute)</c:v>
                  </c:pt>
                  <c:pt idx="871">
                    <c:v>Rolling Stdev (30 Minute)</c:v>
                  </c:pt>
                  <c:pt idx="872">
                    <c:v>Rolling Stdev (30 Minute)</c:v>
                  </c:pt>
                  <c:pt idx="873">
                    <c:v>Rolling Stdev (30 Minute)</c:v>
                  </c:pt>
                  <c:pt idx="874">
                    <c:v>Rolling Stdev (30 Minute)</c:v>
                  </c:pt>
                  <c:pt idx="875">
                    <c:v>Rolling Stdev (30 Minute)</c:v>
                  </c:pt>
                  <c:pt idx="876">
                    <c:v>Rolling Stdev (30 Minute)</c:v>
                  </c:pt>
                  <c:pt idx="877">
                    <c:v>Rolling Stdev (30 Minute)</c:v>
                  </c:pt>
                  <c:pt idx="878">
                    <c:v>Rolling Stdev (30 Minute)</c:v>
                  </c:pt>
                  <c:pt idx="879">
                    <c:v>Rolling Stdev (30 Minute)</c:v>
                  </c:pt>
                  <c:pt idx="880">
                    <c:v>Rolling Stdev (30 Minute)</c:v>
                  </c:pt>
                  <c:pt idx="881">
                    <c:v>Rolling Stdev (30 Minute)</c:v>
                  </c:pt>
                  <c:pt idx="882">
                    <c:v>Rolling Stdev (30 Minute)</c:v>
                  </c:pt>
                  <c:pt idx="883">
                    <c:v>Rolling Stdev (30 Minute)</c:v>
                  </c:pt>
                  <c:pt idx="884">
                    <c:v>Rolling Stdev (30 Minute)</c:v>
                  </c:pt>
                  <c:pt idx="885">
                    <c:v>Rolling Stdev (30 Minute)</c:v>
                  </c:pt>
                  <c:pt idx="886">
                    <c:v>Rolling Stdev (30 Minute)</c:v>
                  </c:pt>
                  <c:pt idx="887">
                    <c:v>Rolling Stdev (30 Minute)</c:v>
                  </c:pt>
                  <c:pt idx="888">
                    <c:v>Rolling Stdev (30 Minute)</c:v>
                  </c:pt>
                  <c:pt idx="889">
                    <c:v>Rolling Stdev (30 Minute)</c:v>
                  </c:pt>
                  <c:pt idx="890">
                    <c:v>Rolling Stdev (30 Minute)</c:v>
                  </c:pt>
                  <c:pt idx="891">
                    <c:v>Rolling Stdev (30 Minute)</c:v>
                  </c:pt>
                  <c:pt idx="892">
                    <c:v>Rolling Stdev (30 Minute)</c:v>
                  </c:pt>
                  <c:pt idx="893">
                    <c:v>Rolling Stdev (30 Minute)</c:v>
                  </c:pt>
                  <c:pt idx="894">
                    <c:v>Rolling Stdev (30 Minute)</c:v>
                  </c:pt>
                  <c:pt idx="895">
                    <c:v>Rolling Stdev (30 Minute)</c:v>
                  </c:pt>
                  <c:pt idx="896">
                    <c:v>Rolling Stdev (30 Minute)</c:v>
                  </c:pt>
                  <c:pt idx="897">
                    <c:v>Rolling Stdev (30 Minute)</c:v>
                  </c:pt>
                  <c:pt idx="898">
                    <c:v>Rolling Stdev (30 Minute)</c:v>
                  </c:pt>
                  <c:pt idx="899">
                    <c:v>Rolling Stdev (30 Minute)</c:v>
                  </c:pt>
                  <c:pt idx="900">
                    <c:v>Rolling Stdev (30 Minute)</c:v>
                  </c:pt>
                  <c:pt idx="901">
                    <c:v>Rolling Stdev (30 Minute)</c:v>
                  </c:pt>
                  <c:pt idx="902">
                    <c:v>Rolling Stdev (30 Minute)</c:v>
                  </c:pt>
                  <c:pt idx="903">
                    <c:v>Rolling Stdev (30 Minute)</c:v>
                  </c:pt>
                  <c:pt idx="904">
                    <c:v>Rolling Stdev (30 Minute)</c:v>
                  </c:pt>
                  <c:pt idx="905">
                    <c:v>Rolling Stdev (30 Minute)</c:v>
                  </c:pt>
                  <c:pt idx="906">
                    <c:v>Rolling Stdev (30 Minute)</c:v>
                  </c:pt>
                  <c:pt idx="907">
                    <c:v>Rolling Stdev (30 Minute)</c:v>
                  </c:pt>
                  <c:pt idx="908">
                    <c:v>Rolling Stdev (30 Minute)</c:v>
                  </c:pt>
                  <c:pt idx="909">
                    <c:v>Rolling Stdev (30 Minute)</c:v>
                  </c:pt>
                  <c:pt idx="910">
                    <c:v>Rolling Stdev (30 Minute)</c:v>
                  </c:pt>
                  <c:pt idx="911">
                    <c:v>Rolling Stdev (30 Minute)</c:v>
                  </c:pt>
                  <c:pt idx="912">
                    <c:v>Rolling Stdev (30 Minute)</c:v>
                  </c:pt>
                  <c:pt idx="913">
                    <c:v>Rolling Stdev (30 Minute)</c:v>
                  </c:pt>
                  <c:pt idx="914">
                    <c:v>Rolling Stdev (30 Minute)</c:v>
                  </c:pt>
                  <c:pt idx="915">
                    <c:v>Rolling Stdev (30 Minute)</c:v>
                  </c:pt>
                  <c:pt idx="916">
                    <c:v>Rolling Stdev (30 Minute)</c:v>
                  </c:pt>
                  <c:pt idx="917">
                    <c:v>Rolling Stdev (30 Minute)</c:v>
                  </c:pt>
                  <c:pt idx="918">
                    <c:v>Rolling Stdev (30 Minute)</c:v>
                  </c:pt>
                  <c:pt idx="919">
                    <c:v>Rolling Stdev (30 Minute)</c:v>
                  </c:pt>
                  <c:pt idx="920">
                    <c:v>Rolling Stdev (30 Minute)</c:v>
                  </c:pt>
                  <c:pt idx="921">
                    <c:v>Rolling Stdev (30 Minute)</c:v>
                  </c:pt>
                  <c:pt idx="922">
                    <c:v>Rolling Stdev (30 Minute)</c:v>
                  </c:pt>
                  <c:pt idx="923">
                    <c:v>Rolling Stdev (30 Minute)</c:v>
                  </c:pt>
                  <c:pt idx="924">
                    <c:v>Rolling Stdev (30 Minute)</c:v>
                  </c:pt>
                  <c:pt idx="925">
                    <c:v>Rolling Stdev (30 Minute)</c:v>
                  </c:pt>
                  <c:pt idx="926">
                    <c:v>Rolling Stdev (30 Minute)</c:v>
                  </c:pt>
                  <c:pt idx="927">
                    <c:v>Rolling Stdev (30 Minute)</c:v>
                  </c:pt>
                  <c:pt idx="928">
                    <c:v>Rolling Stdev (30 Minute)</c:v>
                  </c:pt>
                  <c:pt idx="929">
                    <c:v>Rolling Stdev (30 Minute)</c:v>
                  </c:pt>
                  <c:pt idx="930">
                    <c:v>Rolling Stdev (30 Minute)</c:v>
                  </c:pt>
                  <c:pt idx="931">
                    <c:v>Rolling Stdev (30 Minute)</c:v>
                  </c:pt>
                  <c:pt idx="932">
                    <c:v>Rolling Stdev (30 Minute)</c:v>
                  </c:pt>
                  <c:pt idx="933">
                    <c:v>Rolling Stdev (30 Minute)</c:v>
                  </c:pt>
                  <c:pt idx="934">
                    <c:v>Rolling Stdev (30 Minute)</c:v>
                  </c:pt>
                  <c:pt idx="935">
                    <c:v>Rolling Stdev (30 Minute)</c:v>
                  </c:pt>
                  <c:pt idx="936">
                    <c:v>Rolling Stdev (30 Minute)</c:v>
                  </c:pt>
                  <c:pt idx="937">
                    <c:v>Rolling Stdev (30 Minute)</c:v>
                  </c:pt>
                  <c:pt idx="938">
                    <c:v>Rolling Stdev (30 Minute)</c:v>
                  </c:pt>
                  <c:pt idx="939">
                    <c:v>Rolling Stdev (30 Minute)</c:v>
                  </c:pt>
                  <c:pt idx="940">
                    <c:v>Rolling Stdev (30 Minute)</c:v>
                  </c:pt>
                  <c:pt idx="941">
                    <c:v>Rolling Stdev (30 Minute)</c:v>
                  </c:pt>
                  <c:pt idx="942">
                    <c:v>Rolling Stdev (30 Minute)</c:v>
                  </c:pt>
                  <c:pt idx="943">
                    <c:v>Rolling Stdev (30 Minute)</c:v>
                  </c:pt>
                  <c:pt idx="944">
                    <c:v>Rolling Stdev (30 Minute)</c:v>
                  </c:pt>
                  <c:pt idx="945">
                    <c:v>Rolling Stdev (30 Minute)</c:v>
                  </c:pt>
                  <c:pt idx="946">
                    <c:v>Rolling Stdev (30 Minute)</c:v>
                  </c:pt>
                  <c:pt idx="947">
                    <c:v>Rolling Stdev (30 Minute)</c:v>
                  </c:pt>
                  <c:pt idx="948">
                    <c:v>Rolling Stdev (30 Minute)</c:v>
                  </c:pt>
                  <c:pt idx="949">
                    <c:v>Rolling Stdev (30 Minute)</c:v>
                  </c:pt>
                  <c:pt idx="950">
                    <c:v>Rolling Stdev (30 Minute)</c:v>
                  </c:pt>
                  <c:pt idx="951">
                    <c:v>Rolling Stdev (30 Minute)</c:v>
                  </c:pt>
                  <c:pt idx="952">
                    <c:v>Rolling Stdev (30 Minute)</c:v>
                  </c:pt>
                  <c:pt idx="953">
                    <c:v>Rolling Stdev (30 Minute)</c:v>
                  </c:pt>
                  <c:pt idx="954">
                    <c:v>Rolling Stdev (30 Minute)</c:v>
                  </c:pt>
                  <c:pt idx="955">
                    <c:v>Rolling Stdev (30 Minute)</c:v>
                  </c:pt>
                  <c:pt idx="956">
                    <c:v>Rolling Stdev (30 Minute)</c:v>
                  </c:pt>
                  <c:pt idx="957">
                    <c:v>Rolling Stdev (30 Minute)</c:v>
                  </c:pt>
                  <c:pt idx="958">
                    <c:v>Rolling Stdev (30 Minute)</c:v>
                  </c:pt>
                  <c:pt idx="959">
                    <c:v>Rolling Stdev (30 Minute)</c:v>
                  </c:pt>
                  <c:pt idx="960">
                    <c:v>Rolling Stdev (30 Minute)</c:v>
                  </c:pt>
                  <c:pt idx="961">
                    <c:v>Rolling Stdev (30 Minute)</c:v>
                  </c:pt>
                  <c:pt idx="962">
                    <c:v>Rolling Stdev (30 Minute)</c:v>
                  </c:pt>
                  <c:pt idx="963">
                    <c:v>Rolling Stdev (30 Minute)</c:v>
                  </c:pt>
                  <c:pt idx="964">
                    <c:v>Rolling Stdev (30 Minute)</c:v>
                  </c:pt>
                  <c:pt idx="965">
                    <c:v>Rolling Stdev (30 Minute)</c:v>
                  </c:pt>
                  <c:pt idx="966">
                    <c:v>Rolling Stdev (30 Minute)</c:v>
                  </c:pt>
                  <c:pt idx="967">
                    <c:v>Rolling Stdev (30 Minute)</c:v>
                  </c:pt>
                  <c:pt idx="968">
                    <c:v>Rolling Stdev (30 Minute)</c:v>
                  </c:pt>
                  <c:pt idx="969">
                    <c:v>Rolling Stdev (30 Minute)</c:v>
                  </c:pt>
                  <c:pt idx="970">
                    <c:v>Rolling Stdev (30 Minute)</c:v>
                  </c:pt>
                  <c:pt idx="971">
                    <c:v>Rolling Stdev (30 Minute)</c:v>
                  </c:pt>
                  <c:pt idx="972">
                    <c:v>Rolling Stdev (30 Minute)</c:v>
                  </c:pt>
                  <c:pt idx="973">
                    <c:v>Rolling Stdev (30 Minute)</c:v>
                  </c:pt>
                  <c:pt idx="974">
                    <c:v>Rolling Stdev (30 Minute)</c:v>
                  </c:pt>
                  <c:pt idx="975">
                    <c:v>Rolling Stdev (30 Minute)</c:v>
                  </c:pt>
                  <c:pt idx="976">
                    <c:v>Rolling Stdev (30 Minute)</c:v>
                  </c:pt>
                  <c:pt idx="977">
                    <c:v>Rolling Stdev (30 Minute)</c:v>
                  </c:pt>
                  <c:pt idx="978">
                    <c:v>Rolling Stdev (30 Minute)</c:v>
                  </c:pt>
                  <c:pt idx="979">
                    <c:v>Rolling Stdev (30 Minute)</c:v>
                  </c:pt>
                  <c:pt idx="980">
                    <c:v>Rolling Stdev (30 Minute)</c:v>
                  </c:pt>
                  <c:pt idx="981">
                    <c:v>Rolling Stdev (30 Minute)</c:v>
                  </c:pt>
                  <c:pt idx="982">
                    <c:v>Rolling Stdev (30 Minute)</c:v>
                  </c:pt>
                  <c:pt idx="983">
                    <c:v>Rolling Stdev (30 Minute)</c:v>
                  </c:pt>
                  <c:pt idx="984">
                    <c:v>Rolling Stdev (30 Minute)</c:v>
                  </c:pt>
                  <c:pt idx="985">
                    <c:v>Rolling Stdev (30 Minute)</c:v>
                  </c:pt>
                  <c:pt idx="986">
                    <c:v>Rolling Stdev (30 Minute)</c:v>
                  </c:pt>
                  <c:pt idx="987">
                    <c:v>Rolling Stdev (30 Minute)</c:v>
                  </c:pt>
                  <c:pt idx="988">
                    <c:v>Rolling Stdev (30 Minute)</c:v>
                  </c:pt>
                  <c:pt idx="989">
                    <c:v>Rolling Stdev (30 Minute)</c:v>
                  </c:pt>
                  <c:pt idx="990">
                    <c:v>Rolling Stdev (30 Minute)</c:v>
                  </c:pt>
                  <c:pt idx="991">
                    <c:v>Rolling Stdev (30 Minute)</c:v>
                  </c:pt>
                  <c:pt idx="992">
                    <c:v>Rolling Stdev (30 Minute)</c:v>
                  </c:pt>
                  <c:pt idx="993">
                    <c:v>Rolling Stdev (30 Minute)</c:v>
                  </c:pt>
                  <c:pt idx="994">
                    <c:v>Rolling Stdev (30 Minute)</c:v>
                  </c:pt>
                  <c:pt idx="995">
                    <c:v>Rolling Stdev (30 Minute)</c:v>
                  </c:pt>
                  <c:pt idx="996">
                    <c:v>Rolling Stdev (30 Minute)</c:v>
                  </c:pt>
                  <c:pt idx="997">
                    <c:v>Rolling Stdev (30 Minute)</c:v>
                  </c:pt>
                  <c:pt idx="998">
                    <c:v>Rolling Stdev (30 Minute)</c:v>
                  </c:pt>
                  <c:pt idx="999">
                    <c:v>Rolling Stdev (30 Minute)</c:v>
                  </c:pt>
                  <c:pt idx="1000">
                    <c:v>Rolling Stdev (30 Minute)</c:v>
                  </c:pt>
                  <c:pt idx="1001">
                    <c:v>Rolling Stdev (30 Minute)</c:v>
                  </c:pt>
                  <c:pt idx="1002">
                    <c:v>Rolling Stdev (30 Minute)</c:v>
                  </c:pt>
                  <c:pt idx="1003">
                    <c:v>Rolling Stdev (30 Minute)</c:v>
                  </c:pt>
                  <c:pt idx="1004">
                    <c:v>Rolling Stdev (30 Minute)</c:v>
                  </c:pt>
                  <c:pt idx="1005">
                    <c:v>Rolling Stdev (30 Minute)</c:v>
                  </c:pt>
                  <c:pt idx="1006">
                    <c:v>Rolling Stdev (30 Minute)</c:v>
                  </c:pt>
                  <c:pt idx="1007">
                    <c:v>Rolling Stdev (30 Minute)</c:v>
                  </c:pt>
                  <c:pt idx="1008">
                    <c:v>Rolling Stdev (30 Minute)</c:v>
                  </c:pt>
                  <c:pt idx="1009">
                    <c:v>Rolling Stdev (30 Minute)</c:v>
                  </c:pt>
                  <c:pt idx="1010">
                    <c:v>Rolling Stdev (30 Minute)</c:v>
                  </c:pt>
                  <c:pt idx="1011">
                    <c:v>Rolling Stdev (30 Minute)</c:v>
                  </c:pt>
                  <c:pt idx="1012">
                    <c:v>Rolling Stdev (30 Minute)</c:v>
                  </c:pt>
                  <c:pt idx="1013">
                    <c:v>Rolling Stdev (30 Minute)</c:v>
                  </c:pt>
                  <c:pt idx="1014">
                    <c:v>Rolling Stdev (30 Minute)</c:v>
                  </c:pt>
                  <c:pt idx="1015">
                    <c:v>Rolling Stdev (30 Minute)</c:v>
                  </c:pt>
                  <c:pt idx="1016">
                    <c:v>Rolling Stdev (30 Minute)</c:v>
                  </c:pt>
                  <c:pt idx="1017">
                    <c:v>Rolling Stdev (30 Minute)</c:v>
                  </c:pt>
                  <c:pt idx="1018">
                    <c:v>Rolling Stdev (30 Minute)</c:v>
                  </c:pt>
                  <c:pt idx="1019">
                    <c:v>Rolling Stdev (30 Minute)</c:v>
                  </c:pt>
                  <c:pt idx="1020">
                    <c:v>Rolling Stdev (30 Minute)</c:v>
                  </c:pt>
                  <c:pt idx="1021">
                    <c:v>Rolling Stdev (30 Minute)</c:v>
                  </c:pt>
                  <c:pt idx="1022">
                    <c:v>Rolling Stdev (30 Minute)</c:v>
                  </c:pt>
                  <c:pt idx="1023">
                    <c:v>Rolling Stdev (30 Minute)</c:v>
                  </c:pt>
                  <c:pt idx="1024">
                    <c:v>Rolling Stdev (30 Minute)</c:v>
                  </c:pt>
                  <c:pt idx="1025">
                    <c:v>Rolling Stdev (30 Minute)</c:v>
                  </c:pt>
                  <c:pt idx="1026">
                    <c:v>Rolling Stdev (30 Minute)</c:v>
                  </c:pt>
                  <c:pt idx="1027">
                    <c:v>Rolling Stdev (30 Minute)</c:v>
                  </c:pt>
                  <c:pt idx="1028">
                    <c:v>Rolling Stdev (30 Minute)</c:v>
                  </c:pt>
                  <c:pt idx="1029">
                    <c:v>Rolling Stdev (30 Minute)</c:v>
                  </c:pt>
                  <c:pt idx="1030">
                    <c:v>Rolling Stdev (30 Minute)</c:v>
                  </c:pt>
                  <c:pt idx="1031">
                    <c:v>Rolling Stdev (30 Minute)</c:v>
                  </c:pt>
                  <c:pt idx="1032">
                    <c:v>Rolling Stdev (30 Minute)</c:v>
                  </c:pt>
                  <c:pt idx="1033">
                    <c:v>Rolling Stdev (30 Minute)</c:v>
                  </c:pt>
                  <c:pt idx="1034">
                    <c:v>Rolling Stdev (30 Minute)</c:v>
                  </c:pt>
                  <c:pt idx="1035">
                    <c:v>Rolling Stdev (30 Minute)</c:v>
                  </c:pt>
                  <c:pt idx="1036">
                    <c:v>Rolling Stdev (30 Minute)</c:v>
                  </c:pt>
                  <c:pt idx="1037">
                    <c:v>Rolling Stdev (30 Minute)</c:v>
                  </c:pt>
                  <c:pt idx="1038">
                    <c:v>Rolling Stdev (30 Minute)</c:v>
                  </c:pt>
                  <c:pt idx="1039">
                    <c:v>Rolling Stdev (30 Minute)</c:v>
                  </c:pt>
                  <c:pt idx="1040">
                    <c:v>Rolling Stdev (30 Minute)</c:v>
                  </c:pt>
                  <c:pt idx="1041">
                    <c:v>Rolling Stdev (30 Minute)</c:v>
                  </c:pt>
                  <c:pt idx="1042">
                    <c:v>Rolling Stdev (30 Minute)</c:v>
                  </c:pt>
                  <c:pt idx="1043">
                    <c:v>Rolling Stdev (30 Minute)</c:v>
                  </c:pt>
                  <c:pt idx="1044">
                    <c:v>Rolling Stdev (30 Minute)</c:v>
                  </c:pt>
                  <c:pt idx="1045">
                    <c:v>Rolling Stdev (30 Minute)</c:v>
                  </c:pt>
                  <c:pt idx="1046">
                    <c:v>Rolling Stdev (30 Minute)</c:v>
                  </c:pt>
                  <c:pt idx="1047">
                    <c:v>Rolling Stdev (30 Minute)</c:v>
                  </c:pt>
                  <c:pt idx="1048">
                    <c:v>Rolling Stdev (30 Minute)</c:v>
                  </c:pt>
                  <c:pt idx="1049">
                    <c:v>Rolling Stdev (30 Minute)</c:v>
                  </c:pt>
                  <c:pt idx="1050">
                    <c:v>Rolling Stdev (30 Minute)</c:v>
                  </c:pt>
                  <c:pt idx="1051">
                    <c:v>Rolling Stdev (30 Minute)</c:v>
                  </c:pt>
                  <c:pt idx="1052">
                    <c:v>Rolling Stdev (30 Minute)</c:v>
                  </c:pt>
                  <c:pt idx="1053">
                    <c:v>Rolling Stdev (30 Minute)</c:v>
                  </c:pt>
                  <c:pt idx="1054">
                    <c:v>Rolling Stdev (30 Minute)</c:v>
                  </c:pt>
                  <c:pt idx="1055">
                    <c:v>Rolling Stdev (30 Minute)</c:v>
                  </c:pt>
                  <c:pt idx="1056">
                    <c:v>Rolling Stdev (30 Minute)</c:v>
                  </c:pt>
                  <c:pt idx="1057">
                    <c:v>Rolling Stdev (30 Minute)</c:v>
                  </c:pt>
                  <c:pt idx="1058">
                    <c:v>Rolling Stdev (30 Minute)</c:v>
                  </c:pt>
                  <c:pt idx="1059">
                    <c:v>Rolling Stdev (30 Minute)</c:v>
                  </c:pt>
                  <c:pt idx="1060">
                    <c:v>Rolling Stdev (30 Minute)</c:v>
                  </c:pt>
                  <c:pt idx="1061">
                    <c:v>Rolling Stdev (30 Minute)</c:v>
                  </c:pt>
                  <c:pt idx="1062">
                    <c:v>Rolling Stdev (30 Minute)</c:v>
                  </c:pt>
                  <c:pt idx="1063">
                    <c:v>Rolling Stdev (30 Minute)</c:v>
                  </c:pt>
                  <c:pt idx="1064">
                    <c:v>Rolling Stdev (30 Minute)</c:v>
                  </c:pt>
                  <c:pt idx="1065">
                    <c:v>Rolling Stdev (30 Minute)</c:v>
                  </c:pt>
                  <c:pt idx="1066">
                    <c:v>Rolling Stdev (30 Minute)</c:v>
                  </c:pt>
                  <c:pt idx="1067">
                    <c:v>Rolling Stdev (30 Minute)</c:v>
                  </c:pt>
                  <c:pt idx="1068">
                    <c:v>Rolling Stdev (30 Minute)</c:v>
                  </c:pt>
                  <c:pt idx="1069">
                    <c:v>Rolling Stdev (30 Minute)</c:v>
                  </c:pt>
                  <c:pt idx="1070">
                    <c:v>Rolling Stdev (30 Minute)</c:v>
                  </c:pt>
                  <c:pt idx="1071">
                    <c:v>Rolling Stdev (30 Minute)</c:v>
                  </c:pt>
                  <c:pt idx="1072">
                    <c:v>Rolling Stdev (30 Minute)</c:v>
                  </c:pt>
                  <c:pt idx="1073">
                    <c:v>Rolling Stdev (30 Minute)</c:v>
                  </c:pt>
                  <c:pt idx="1074">
                    <c:v>Rolling Stdev (30 Minute)</c:v>
                  </c:pt>
                  <c:pt idx="1075">
                    <c:v>Rolling Stdev (30 Minute)</c:v>
                  </c:pt>
                  <c:pt idx="1076">
                    <c:v>Rolling Stdev (30 Minute)</c:v>
                  </c:pt>
                  <c:pt idx="1077">
                    <c:v>Rolling Stdev (30 Minute)</c:v>
                  </c:pt>
                  <c:pt idx="1078">
                    <c:v>Rolling Stdev (30 Minute)</c:v>
                  </c:pt>
                  <c:pt idx="1079">
                    <c:v>Rolling Stdev (30 Minute)</c:v>
                  </c:pt>
                  <c:pt idx="1080">
                    <c:v>Rolling Stdev (30 Minute)</c:v>
                  </c:pt>
                  <c:pt idx="1081">
                    <c:v>Rolling Stdev (30 Minute)</c:v>
                  </c:pt>
                  <c:pt idx="1082">
                    <c:v>Rolling Stdev (30 Minute)</c:v>
                  </c:pt>
                  <c:pt idx="1083">
                    <c:v>Rolling Stdev (30 Minute)</c:v>
                  </c:pt>
                  <c:pt idx="1084">
                    <c:v>Rolling Stdev (30 Minute)</c:v>
                  </c:pt>
                  <c:pt idx="1085">
                    <c:v>Rolling Stdev (30 Minute)</c:v>
                  </c:pt>
                  <c:pt idx="1086">
                    <c:v>Rolling Stdev (30 Minute)</c:v>
                  </c:pt>
                  <c:pt idx="1087">
                    <c:v>Rolling Stdev (30 Minute)</c:v>
                  </c:pt>
                  <c:pt idx="1088">
                    <c:v>Rolling Stdev (30 Minute)</c:v>
                  </c:pt>
                  <c:pt idx="1089">
                    <c:v>Rolling Stdev (30 Minute)</c:v>
                  </c:pt>
                  <c:pt idx="1090">
                    <c:v>Rolling Stdev (30 Minute)</c:v>
                  </c:pt>
                  <c:pt idx="1091">
                    <c:v>Rolling Stdev (30 Minute)</c:v>
                  </c:pt>
                  <c:pt idx="1092">
                    <c:v>Rolling Stdev (30 Minute)</c:v>
                  </c:pt>
                  <c:pt idx="1093">
                    <c:v>Rolling Stdev (30 Minute)</c:v>
                  </c:pt>
                  <c:pt idx="1094">
                    <c:v>Rolling Stdev (30 Minute)</c:v>
                  </c:pt>
                  <c:pt idx="1095">
                    <c:v>Rolling Stdev (30 Minute)</c:v>
                  </c:pt>
                  <c:pt idx="1096">
                    <c:v>Rolling Stdev (30 Minute)</c:v>
                  </c:pt>
                  <c:pt idx="1097">
                    <c:v>Rolling Stdev (30 Minute)</c:v>
                  </c:pt>
                  <c:pt idx="1098">
                    <c:v>Rolling Stdev (30 Minute)</c:v>
                  </c:pt>
                  <c:pt idx="1099">
                    <c:v>Rolling Stdev (30 Minute)</c:v>
                  </c:pt>
                  <c:pt idx="1100">
                    <c:v>Rolling Stdev (30 Minute)</c:v>
                  </c:pt>
                  <c:pt idx="1101">
                    <c:v>Rolling Stdev (30 Minute)</c:v>
                  </c:pt>
                  <c:pt idx="1102">
                    <c:v>Rolling Stdev (30 Minute)</c:v>
                  </c:pt>
                  <c:pt idx="1103">
                    <c:v>Rolling Stdev (30 Minute)</c:v>
                  </c:pt>
                  <c:pt idx="1104">
                    <c:v>Rolling Stdev (30 Minute)</c:v>
                  </c:pt>
                  <c:pt idx="1105">
                    <c:v>Rolling Stdev (30 Minute)</c:v>
                  </c:pt>
                  <c:pt idx="1106">
                    <c:v>Rolling Stdev (30 Minute)</c:v>
                  </c:pt>
                  <c:pt idx="1107">
                    <c:v>Rolling Stdev (30 Minute)</c:v>
                  </c:pt>
                  <c:pt idx="1108">
                    <c:v>Rolling Stdev (30 Minute)</c:v>
                  </c:pt>
                  <c:pt idx="1109">
                    <c:v>Rolling Stdev (30 Minute)</c:v>
                  </c:pt>
                  <c:pt idx="1110">
                    <c:v>Rolling Stdev (30 Minute)</c:v>
                  </c:pt>
                  <c:pt idx="1111">
                    <c:v>Rolling Stdev (30 Minute)</c:v>
                  </c:pt>
                  <c:pt idx="1112">
                    <c:v>Rolling Stdev (30 Minute)</c:v>
                  </c:pt>
                  <c:pt idx="1113">
                    <c:v>Rolling Stdev (30 Minute)</c:v>
                  </c:pt>
                  <c:pt idx="1114">
                    <c:v>Rolling Stdev (30 Minute)</c:v>
                  </c:pt>
                  <c:pt idx="1115">
                    <c:v>Rolling Stdev (30 Minute)</c:v>
                  </c:pt>
                  <c:pt idx="1116">
                    <c:v>Rolling Stdev (30 Minute)</c:v>
                  </c:pt>
                  <c:pt idx="1117">
                    <c:v>Rolling Stdev (30 Minute)</c:v>
                  </c:pt>
                  <c:pt idx="1118">
                    <c:v>Rolling Stdev (30 Minute)</c:v>
                  </c:pt>
                  <c:pt idx="1119">
                    <c:v>Rolling Stdev (30 Minute)</c:v>
                  </c:pt>
                  <c:pt idx="1120">
                    <c:v>Rolling Stdev (30 Minute)</c:v>
                  </c:pt>
                  <c:pt idx="1121">
                    <c:v>Rolling Stdev (30 Minute)</c:v>
                  </c:pt>
                  <c:pt idx="1122">
                    <c:v>Rolling Stdev (30 Minute)</c:v>
                  </c:pt>
                  <c:pt idx="1123">
                    <c:v>Rolling Stdev (30 Minute)</c:v>
                  </c:pt>
                  <c:pt idx="1124">
                    <c:v>Rolling Stdev (30 Minute)</c:v>
                  </c:pt>
                  <c:pt idx="1125">
                    <c:v>Rolling Stdev (30 Minute)</c:v>
                  </c:pt>
                  <c:pt idx="1126">
                    <c:v>Rolling Stdev (30 Minute)</c:v>
                  </c:pt>
                  <c:pt idx="1127">
                    <c:v>Rolling Stdev (30 Minute)</c:v>
                  </c:pt>
                  <c:pt idx="1128">
                    <c:v>Rolling Stdev (30 Minute)</c:v>
                  </c:pt>
                  <c:pt idx="1129">
                    <c:v>Rolling Stdev (30 Minute)</c:v>
                  </c:pt>
                  <c:pt idx="1130">
                    <c:v>Rolling Stdev (30 Minute)</c:v>
                  </c:pt>
                  <c:pt idx="1131">
                    <c:v>Rolling Stdev (30 Minute)</c:v>
                  </c:pt>
                  <c:pt idx="1132">
                    <c:v>Rolling Stdev (30 Minute)</c:v>
                  </c:pt>
                  <c:pt idx="1133">
                    <c:v>Rolling Stdev (30 Minute)</c:v>
                  </c:pt>
                  <c:pt idx="1134">
                    <c:v>Rolling Stdev (30 Minute)</c:v>
                  </c:pt>
                  <c:pt idx="1135">
                    <c:v>Rolling Stdev (30 Minute)</c:v>
                  </c:pt>
                  <c:pt idx="1136">
                    <c:v>Rolling Stdev (30 Minute)</c:v>
                  </c:pt>
                  <c:pt idx="1137">
                    <c:v>Rolling Stdev (30 Minute)</c:v>
                  </c:pt>
                  <c:pt idx="1138">
                    <c:v>Rolling Stdev (30 Minute)</c:v>
                  </c:pt>
                  <c:pt idx="1139">
                    <c:v>Rolling Stdev (30 Minute)</c:v>
                  </c:pt>
                  <c:pt idx="1140">
                    <c:v>Rolling Stdev (30 Minute)</c:v>
                  </c:pt>
                  <c:pt idx="1141">
                    <c:v>Rolling Stdev (30 Minute)</c:v>
                  </c:pt>
                  <c:pt idx="1142">
                    <c:v>Rolling Stdev (30 Minute)</c:v>
                  </c:pt>
                  <c:pt idx="1143">
                    <c:v>Rolling Stdev (30 Minute)</c:v>
                  </c:pt>
                  <c:pt idx="1144">
                    <c:v>Rolling Stdev (30 Minute)</c:v>
                  </c:pt>
                  <c:pt idx="1145">
                    <c:v>Rolling Stdev (30 Minute)</c:v>
                  </c:pt>
                  <c:pt idx="1146">
                    <c:v>Rolling Stdev (30 Minute)</c:v>
                  </c:pt>
                  <c:pt idx="1147">
                    <c:v>Rolling Stdev (30 Minute)</c:v>
                  </c:pt>
                  <c:pt idx="1148">
                    <c:v>Rolling Stdev (30 Minute)</c:v>
                  </c:pt>
                  <c:pt idx="1149">
                    <c:v>Rolling Stdev (30 Minute)</c:v>
                  </c:pt>
                  <c:pt idx="1150">
                    <c:v>Rolling Stdev (30 Minute)</c:v>
                  </c:pt>
                  <c:pt idx="1151">
                    <c:v>Rolling Stdev (30 Minute)</c:v>
                  </c:pt>
                  <c:pt idx="1152">
                    <c:v>Rolling Stdev (30 Minute)</c:v>
                  </c:pt>
                  <c:pt idx="1153">
                    <c:v>Rolling Stdev (30 Minute)</c:v>
                  </c:pt>
                  <c:pt idx="1154">
                    <c:v>Rolling Stdev (30 Minute)</c:v>
                  </c:pt>
                  <c:pt idx="1155">
                    <c:v>Rolling Stdev (30 Minute)</c:v>
                  </c:pt>
                  <c:pt idx="1156">
                    <c:v>Rolling Stdev (30 Minute)</c:v>
                  </c:pt>
                  <c:pt idx="1157">
                    <c:v>Rolling Stdev (30 Minute)</c:v>
                  </c:pt>
                  <c:pt idx="1158">
                    <c:v>Rolling Stdev (30 Minute)</c:v>
                  </c:pt>
                  <c:pt idx="1159">
                    <c:v>Rolling Stdev (30 Minute)</c:v>
                  </c:pt>
                  <c:pt idx="1160">
                    <c:v>Rolling Stdev (30 Minute)</c:v>
                  </c:pt>
                  <c:pt idx="1161">
                    <c:v>Rolling Stdev (30 Minute)</c:v>
                  </c:pt>
                  <c:pt idx="1162">
                    <c:v>Rolling Stdev (30 Minute)</c:v>
                  </c:pt>
                  <c:pt idx="1163">
                    <c:v>Rolling Stdev (30 Minute)</c:v>
                  </c:pt>
                  <c:pt idx="1164">
                    <c:v>Rolling Stdev (30 Minute)</c:v>
                  </c:pt>
                  <c:pt idx="1165">
                    <c:v>Rolling Stdev (30 Minute)</c:v>
                  </c:pt>
                  <c:pt idx="1166">
                    <c:v>Rolling Stdev (30 Minute)</c:v>
                  </c:pt>
                  <c:pt idx="1167">
                    <c:v>Rolling Stdev (30 Minute)</c:v>
                  </c:pt>
                  <c:pt idx="1168">
                    <c:v>Rolling Stdev (30 Minute)</c:v>
                  </c:pt>
                  <c:pt idx="1169">
                    <c:v>Rolling Stdev (30 Minute)</c:v>
                  </c:pt>
                  <c:pt idx="1170">
                    <c:v>Rolling Stdev (30 Minute)</c:v>
                  </c:pt>
                  <c:pt idx="1171">
                    <c:v>Rolling Stdev (30 Minute)</c:v>
                  </c:pt>
                  <c:pt idx="1172">
                    <c:v>Rolling Stdev (30 Minute)</c:v>
                  </c:pt>
                  <c:pt idx="1173">
                    <c:v>Rolling Stdev (30 Minute)</c:v>
                  </c:pt>
                  <c:pt idx="1174">
                    <c:v>Rolling Stdev (30 Minute)</c:v>
                  </c:pt>
                  <c:pt idx="1175">
                    <c:v>Rolling Stdev (30 Minute)</c:v>
                  </c:pt>
                  <c:pt idx="1176">
                    <c:v>Rolling Stdev (30 Minute)</c:v>
                  </c:pt>
                  <c:pt idx="1177">
                    <c:v>Rolling Stdev (30 Minute)</c:v>
                  </c:pt>
                  <c:pt idx="1178">
                    <c:v>Rolling Stdev (30 Minute)</c:v>
                  </c:pt>
                  <c:pt idx="1179">
                    <c:v>Rolling Stdev (30 Minute)</c:v>
                  </c:pt>
                  <c:pt idx="1180">
                    <c:v>Rolling Stdev (30 Minute)</c:v>
                  </c:pt>
                  <c:pt idx="1181">
                    <c:v>Rolling Stdev (30 Minute)</c:v>
                  </c:pt>
                  <c:pt idx="1182">
                    <c:v>Rolling Stdev (30 Minute)</c:v>
                  </c:pt>
                  <c:pt idx="1183">
                    <c:v>Rolling Stdev (30 Minute)</c:v>
                  </c:pt>
                  <c:pt idx="1184">
                    <c:v>Rolling Stdev (30 Minute)</c:v>
                  </c:pt>
                  <c:pt idx="1185">
                    <c:v>Rolling Stdev (30 Minute)</c:v>
                  </c:pt>
                  <c:pt idx="1186">
                    <c:v>Rolling Stdev (30 Minute)</c:v>
                  </c:pt>
                  <c:pt idx="1187">
                    <c:v>Rolling Stdev (30 Minute)</c:v>
                  </c:pt>
                  <c:pt idx="1188">
                    <c:v>Rolling Stdev (30 Minute)</c:v>
                  </c:pt>
                  <c:pt idx="1189">
                    <c:v>Rolling Stdev (30 Minute)</c:v>
                  </c:pt>
                  <c:pt idx="1190">
                    <c:v>Rolling Stdev (30 Minute)</c:v>
                  </c:pt>
                  <c:pt idx="1191">
                    <c:v>Rolling Stdev (30 Minute)</c:v>
                  </c:pt>
                  <c:pt idx="1192">
                    <c:v>Rolling Stdev (30 Minute)</c:v>
                  </c:pt>
                  <c:pt idx="1193">
                    <c:v>Rolling Stdev (30 Minute)</c:v>
                  </c:pt>
                  <c:pt idx="1194">
                    <c:v>Rolling Stdev (30 Minute)</c:v>
                  </c:pt>
                  <c:pt idx="1195">
                    <c:v>Rolling Stdev (30 Minute)</c:v>
                  </c:pt>
                  <c:pt idx="1196">
                    <c:v>Rolling Stdev (30 Minute)</c:v>
                  </c:pt>
                  <c:pt idx="1197">
                    <c:v>Rolling Stdev (30 Minute)</c:v>
                  </c:pt>
                  <c:pt idx="1198">
                    <c:v>Rolling Stdev (30 Minute)</c:v>
                  </c:pt>
                  <c:pt idx="1199">
                    <c:v>Rolling Stdev (30 Minute)</c:v>
                  </c:pt>
                  <c:pt idx="1200">
                    <c:v>Rolling Stdev (30 Minute)</c:v>
                  </c:pt>
                  <c:pt idx="1201">
                    <c:v>Rolling Stdev (30 Minute)</c:v>
                  </c:pt>
                  <c:pt idx="1202">
                    <c:v>Rolling Stdev (30 Minute)</c:v>
                  </c:pt>
                  <c:pt idx="1203">
                    <c:v>Rolling Stdev (30 Minute)</c:v>
                  </c:pt>
                  <c:pt idx="1204">
                    <c:v>Rolling Stdev (30 Minute)</c:v>
                  </c:pt>
                  <c:pt idx="1205">
                    <c:v>Rolling Stdev (30 Minute)</c:v>
                  </c:pt>
                  <c:pt idx="1206">
                    <c:v>Rolling Stdev (30 Minute)</c:v>
                  </c:pt>
                  <c:pt idx="1207">
                    <c:v>Rolling Stdev (30 Minute)</c:v>
                  </c:pt>
                  <c:pt idx="1208">
                    <c:v>Rolling Stdev (30 Minute)</c:v>
                  </c:pt>
                  <c:pt idx="1209">
                    <c:v>Rolling Stdev (30 Minute)</c:v>
                  </c:pt>
                  <c:pt idx="1210">
                    <c:v>Rolling Stdev (30 Minute)</c:v>
                  </c:pt>
                  <c:pt idx="1211">
                    <c:v>Rolling Stdev (30 Minute)</c:v>
                  </c:pt>
                  <c:pt idx="1212">
                    <c:v>Rolling Stdev (30 Minute)</c:v>
                  </c:pt>
                  <c:pt idx="1213">
                    <c:v>Rolling Stdev (30 Minute)</c:v>
                  </c:pt>
                  <c:pt idx="1214">
                    <c:v>Rolling Stdev (30 Minute)</c:v>
                  </c:pt>
                  <c:pt idx="1215">
                    <c:v>Rolling Stdev (30 Minute)</c:v>
                  </c:pt>
                  <c:pt idx="1216">
                    <c:v>Rolling Stdev (30 Minute)</c:v>
                  </c:pt>
                  <c:pt idx="1217">
                    <c:v>Rolling Stdev (30 Minute)</c:v>
                  </c:pt>
                  <c:pt idx="1218">
                    <c:v>Rolling Stdev (30 Minute)</c:v>
                  </c:pt>
                  <c:pt idx="1219">
                    <c:v>Rolling Stdev (30 Minute)</c:v>
                  </c:pt>
                  <c:pt idx="1220">
                    <c:v>Rolling Stdev (30 Minute)</c:v>
                  </c:pt>
                  <c:pt idx="1221">
                    <c:v>Rolling Stdev (30 Minute)</c:v>
                  </c:pt>
                  <c:pt idx="1222">
                    <c:v>Rolling Stdev (30 Minute)</c:v>
                  </c:pt>
                  <c:pt idx="1223">
                    <c:v>Rolling Stdev (30 Minute)</c:v>
                  </c:pt>
                  <c:pt idx="1224">
                    <c:v>Rolling Stdev (30 Minute)</c:v>
                  </c:pt>
                  <c:pt idx="1225">
                    <c:v>Rolling Stdev (30 Minute)</c:v>
                  </c:pt>
                  <c:pt idx="1226">
                    <c:v>Rolling Stdev (30 Minute)</c:v>
                  </c:pt>
                  <c:pt idx="1227">
                    <c:v>Rolling Stdev (30 Minute)</c:v>
                  </c:pt>
                  <c:pt idx="1228">
                    <c:v>Rolling Stdev (30 Minute)</c:v>
                  </c:pt>
                  <c:pt idx="1229">
                    <c:v>Rolling Stdev (30 Minute)</c:v>
                  </c:pt>
                  <c:pt idx="1230">
                    <c:v>Rolling Stdev (30 Minute)</c:v>
                  </c:pt>
                  <c:pt idx="1231">
                    <c:v>Rolling Stdev (30 Minute)</c:v>
                  </c:pt>
                  <c:pt idx="1232">
                    <c:v>Rolling Stdev (30 Minute)</c:v>
                  </c:pt>
                  <c:pt idx="1233">
                    <c:v>Rolling Stdev (30 Minute)</c:v>
                  </c:pt>
                  <c:pt idx="1234">
                    <c:v>Rolling Stdev (30 Minute)</c:v>
                  </c:pt>
                  <c:pt idx="1235">
                    <c:v>Rolling Stdev (30 Minute)</c:v>
                  </c:pt>
                  <c:pt idx="1236">
                    <c:v>Rolling Stdev (30 Minute)</c:v>
                  </c:pt>
                  <c:pt idx="1237">
                    <c:v>Rolling Stdev (30 Minute)</c:v>
                  </c:pt>
                  <c:pt idx="1238">
                    <c:v>Rolling Stdev (30 Minute)</c:v>
                  </c:pt>
                  <c:pt idx="1239">
                    <c:v>Rolling Stdev (30 Minute)</c:v>
                  </c:pt>
                  <c:pt idx="1240">
                    <c:v>Rolling Stdev (30 Minute)</c:v>
                  </c:pt>
                  <c:pt idx="1241">
                    <c:v>Rolling Stdev (30 Minute)</c:v>
                  </c:pt>
                  <c:pt idx="1242">
                    <c:v>Rolling Stdev (30 Minute)</c:v>
                  </c:pt>
                  <c:pt idx="1243">
                    <c:v>Rolling Stdev (30 Minute)</c:v>
                  </c:pt>
                  <c:pt idx="1244">
                    <c:v>Rolling Stdev (30 Minute)</c:v>
                  </c:pt>
                  <c:pt idx="1245">
                    <c:v>Rolling Stdev (30 Minute)</c:v>
                  </c:pt>
                  <c:pt idx="1246">
                    <c:v>Rolling Stdev (30 Minute)</c:v>
                  </c:pt>
                  <c:pt idx="1247">
                    <c:v>Rolling Stdev (30 Minute)</c:v>
                  </c:pt>
                  <c:pt idx="1248">
                    <c:v>Rolling Stdev (30 Minute)</c:v>
                  </c:pt>
                  <c:pt idx="1249">
                    <c:v>Rolling Stdev (30 Minute)</c:v>
                  </c:pt>
                  <c:pt idx="1250">
                    <c:v>Rolling Stdev (30 Minute)</c:v>
                  </c:pt>
                  <c:pt idx="1251">
                    <c:v>Rolling Stdev (30 Minute)</c:v>
                  </c:pt>
                  <c:pt idx="1252">
                    <c:v>Rolling Stdev (30 Minute)</c:v>
                  </c:pt>
                  <c:pt idx="1253">
                    <c:v>Rolling Stdev (30 Minute)</c:v>
                  </c:pt>
                  <c:pt idx="1254">
                    <c:v>Rolling Stdev (30 Minute)</c:v>
                  </c:pt>
                  <c:pt idx="1255">
                    <c:v>Rolling Stdev (30 Minute)</c:v>
                  </c:pt>
                  <c:pt idx="1256">
                    <c:v>Rolling Stdev (30 Minute)</c:v>
                  </c:pt>
                  <c:pt idx="1257">
                    <c:v>Rolling Stdev (30 Minute)</c:v>
                  </c:pt>
                  <c:pt idx="1258">
                    <c:v>Rolling Stdev (30 Minute)</c:v>
                  </c:pt>
                  <c:pt idx="1259">
                    <c:v>Rolling Stdev (30 Minute)</c:v>
                  </c:pt>
                  <c:pt idx="1260">
                    <c:v>Rolling Stdev (30 Minute)</c:v>
                  </c:pt>
                  <c:pt idx="1261">
                    <c:v>Rolling Stdev (30 Minute)</c:v>
                  </c:pt>
                  <c:pt idx="1262">
                    <c:v>Rolling Stdev (30 Minute)</c:v>
                  </c:pt>
                  <c:pt idx="1263">
                    <c:v>Rolling Stdev (30 Minute)</c:v>
                  </c:pt>
                  <c:pt idx="1264">
                    <c:v>Rolling Stdev (30 Minute)</c:v>
                  </c:pt>
                  <c:pt idx="1265">
                    <c:v>Rolling Stdev (30 Minute)</c:v>
                  </c:pt>
                  <c:pt idx="1266">
                    <c:v>Rolling Stdev (30 Minute)</c:v>
                  </c:pt>
                  <c:pt idx="1267">
                    <c:v>Rolling Stdev (30 Minute)</c:v>
                  </c:pt>
                  <c:pt idx="1268">
                    <c:v>Rolling Stdev (30 Minute)</c:v>
                  </c:pt>
                  <c:pt idx="1269">
                    <c:v>Rolling Stdev (30 Minute)</c:v>
                  </c:pt>
                  <c:pt idx="1270">
                    <c:v>Rolling Stdev (30 Minute)</c:v>
                  </c:pt>
                  <c:pt idx="1271">
                    <c:v>Rolling Stdev (30 Minute)</c:v>
                  </c:pt>
                  <c:pt idx="1272">
                    <c:v>Rolling Stdev (30 Minute)</c:v>
                  </c:pt>
                  <c:pt idx="1273">
                    <c:v>Rolling Stdev (30 Minute)</c:v>
                  </c:pt>
                  <c:pt idx="1274">
                    <c:v>Rolling Stdev (30 Minute)</c:v>
                  </c:pt>
                  <c:pt idx="1275">
                    <c:v>Rolling Stdev (30 Minute)</c:v>
                  </c:pt>
                  <c:pt idx="1276">
                    <c:v>Rolling Stdev (30 Minute)</c:v>
                  </c:pt>
                  <c:pt idx="1277">
                    <c:v>Rolling Stdev (30 Minute)</c:v>
                  </c:pt>
                  <c:pt idx="1278">
                    <c:v>Rolling Stdev (30 Minute)</c:v>
                  </c:pt>
                  <c:pt idx="1279">
                    <c:v>Rolling Stdev (30 Minute)</c:v>
                  </c:pt>
                  <c:pt idx="1280">
                    <c:v>Rolling Stdev (30 Minute)</c:v>
                  </c:pt>
                  <c:pt idx="1281">
                    <c:v>Rolling Stdev (30 Minute)</c:v>
                  </c:pt>
                  <c:pt idx="1282">
                    <c:v>Rolling Stdev (30 Minute)</c:v>
                  </c:pt>
                  <c:pt idx="1283">
                    <c:v>Rolling Stdev (30 Minute)</c:v>
                  </c:pt>
                  <c:pt idx="1284">
                    <c:v>Rolling Stdev (30 Minute)</c:v>
                  </c:pt>
                  <c:pt idx="1285">
                    <c:v>Rolling Stdev (30 Minute)</c:v>
                  </c:pt>
                  <c:pt idx="1286">
                    <c:v>Rolling Stdev (30 Minute)</c:v>
                  </c:pt>
                  <c:pt idx="1287">
                    <c:v>Rolling Stdev (30 Minute)</c:v>
                  </c:pt>
                  <c:pt idx="1288">
                    <c:v>Rolling Stdev (30 Minute)</c:v>
                  </c:pt>
                  <c:pt idx="1289">
                    <c:v>Rolling Stdev (30 Minute)</c:v>
                  </c:pt>
                  <c:pt idx="1290">
                    <c:v>Rolling Stdev (30 Minute)</c:v>
                  </c:pt>
                  <c:pt idx="1291">
                    <c:v>Rolling Stdev (30 Minute)</c:v>
                  </c:pt>
                  <c:pt idx="1292">
                    <c:v>Rolling Stdev (30 Minute)</c:v>
                  </c:pt>
                  <c:pt idx="1293">
                    <c:v>Rolling Stdev (30 Minute)</c:v>
                  </c:pt>
                  <c:pt idx="1294">
                    <c:v>Rolling Stdev (30 Minute)</c:v>
                  </c:pt>
                  <c:pt idx="1295">
                    <c:v>Rolling Stdev (30 Minute)</c:v>
                  </c:pt>
                  <c:pt idx="1296">
                    <c:v>Rolling Stdev (30 Minute)</c:v>
                  </c:pt>
                  <c:pt idx="1297">
                    <c:v>Rolling Stdev (30 Minute)</c:v>
                  </c:pt>
                  <c:pt idx="1298">
                    <c:v>Rolling Stdev (30 Minute)</c:v>
                  </c:pt>
                  <c:pt idx="1299">
                    <c:v>Rolling Stdev (30 Minute)</c:v>
                  </c:pt>
                  <c:pt idx="1300">
                    <c:v>Rolling Stdev (30 Minute)</c:v>
                  </c:pt>
                  <c:pt idx="1301">
                    <c:v>Rolling Stdev (30 Minute)</c:v>
                  </c:pt>
                  <c:pt idx="1302">
                    <c:v>Rolling Stdev (30 Minute)</c:v>
                  </c:pt>
                  <c:pt idx="1303">
                    <c:v>Rolling Stdev (30 Minute)</c:v>
                  </c:pt>
                  <c:pt idx="1304">
                    <c:v>Rolling Stdev (30 Minute)</c:v>
                  </c:pt>
                  <c:pt idx="1305">
                    <c:v>Rolling Stdev (30 Minute)</c:v>
                  </c:pt>
                  <c:pt idx="1306">
                    <c:v>Rolling Stdev (30 Minute)</c:v>
                  </c:pt>
                  <c:pt idx="1307">
                    <c:v>Rolling Stdev (30 Minute)</c:v>
                  </c:pt>
                  <c:pt idx="1308">
                    <c:v>Rolling Stdev (30 Minute)</c:v>
                  </c:pt>
                  <c:pt idx="1309">
                    <c:v>Rolling Stdev (30 Minute)</c:v>
                  </c:pt>
                  <c:pt idx="1310">
                    <c:v>Rolling Stdev (30 Minute)</c:v>
                  </c:pt>
                  <c:pt idx="1311">
                    <c:v>Rolling Stdev (30 Minute)</c:v>
                  </c:pt>
                  <c:pt idx="1312">
                    <c:v>Rolling Stdev (30 Minute)</c:v>
                  </c:pt>
                  <c:pt idx="1313">
                    <c:v>Rolling Stdev (30 Minute)</c:v>
                  </c:pt>
                  <c:pt idx="1314">
                    <c:v>Rolling Stdev (30 Minute)</c:v>
                  </c:pt>
                  <c:pt idx="1315">
                    <c:v>Rolling Stdev (30 Minute)</c:v>
                  </c:pt>
                  <c:pt idx="1316">
                    <c:v>Rolling Stdev (30 Minute)</c:v>
                  </c:pt>
                  <c:pt idx="1317">
                    <c:v>Rolling Stdev (30 Minute)</c:v>
                  </c:pt>
                  <c:pt idx="1318">
                    <c:v>Rolling Stdev (30 Minute)</c:v>
                  </c:pt>
                  <c:pt idx="1319">
                    <c:v>Rolling Stdev (30 Minute)</c:v>
                  </c:pt>
                  <c:pt idx="1320">
                    <c:v>Rolling Stdev (30 Minute)</c:v>
                  </c:pt>
                  <c:pt idx="1321">
                    <c:v>Rolling Stdev (30 Minute)</c:v>
                  </c:pt>
                  <c:pt idx="1322">
                    <c:v>Rolling Stdev (30 Minute)</c:v>
                  </c:pt>
                  <c:pt idx="1323">
                    <c:v>Rolling Stdev (30 Minute)</c:v>
                  </c:pt>
                  <c:pt idx="1324">
                    <c:v>Rolling Stdev (30 Minute)</c:v>
                  </c:pt>
                  <c:pt idx="1325">
                    <c:v>Rolling Stdev (30 Minute)</c:v>
                  </c:pt>
                  <c:pt idx="1326">
                    <c:v>Rolling Stdev (30 Minute)</c:v>
                  </c:pt>
                  <c:pt idx="1327">
                    <c:v>Rolling Stdev (30 Minute)</c:v>
                  </c:pt>
                  <c:pt idx="1328">
                    <c:v>Rolling Stdev (30 Minute)</c:v>
                  </c:pt>
                  <c:pt idx="1329">
                    <c:v>Rolling Stdev (30 Minute)</c:v>
                  </c:pt>
                  <c:pt idx="1330">
                    <c:v>Rolling Stdev (30 Minute)</c:v>
                  </c:pt>
                  <c:pt idx="1331">
                    <c:v>Rolling Stdev (30 Minute)</c:v>
                  </c:pt>
                  <c:pt idx="1332">
                    <c:v>Rolling Stdev (30 Minute)</c:v>
                  </c:pt>
                  <c:pt idx="1333">
                    <c:v>Rolling Stdev (30 Minute)</c:v>
                  </c:pt>
                  <c:pt idx="1334">
                    <c:v>Rolling Stdev (30 Minute)</c:v>
                  </c:pt>
                  <c:pt idx="1335">
                    <c:v>Rolling Stdev (30 Minute)</c:v>
                  </c:pt>
                  <c:pt idx="1336">
                    <c:v>Rolling Stdev (30 Minute)</c:v>
                  </c:pt>
                  <c:pt idx="1337">
                    <c:v>Rolling Stdev (30 Minute)</c:v>
                  </c:pt>
                  <c:pt idx="1338">
                    <c:v>Rolling Stdev (30 Minute)</c:v>
                  </c:pt>
                  <c:pt idx="1339">
                    <c:v>Rolling Stdev (30 Minute)</c:v>
                  </c:pt>
                  <c:pt idx="1340">
                    <c:v>Rolling Stdev (30 Minute)</c:v>
                  </c:pt>
                  <c:pt idx="1341">
                    <c:v>Rolling Stdev (30 Minute)</c:v>
                  </c:pt>
                  <c:pt idx="1342">
                    <c:v>Rolling Stdev (30 Minute)</c:v>
                  </c:pt>
                  <c:pt idx="1343">
                    <c:v>Rolling Stdev (30 Minute)</c:v>
                  </c:pt>
                  <c:pt idx="1344">
                    <c:v>Rolling Stdev (30 Minute)</c:v>
                  </c:pt>
                  <c:pt idx="1345">
                    <c:v>Rolling Stdev (30 Minute)</c:v>
                  </c:pt>
                  <c:pt idx="1346">
                    <c:v>Rolling Stdev (30 Minute)</c:v>
                  </c:pt>
                  <c:pt idx="1347">
                    <c:v>Rolling Stdev (30 Minute)</c:v>
                  </c:pt>
                  <c:pt idx="1348">
                    <c:v>Rolling Stdev (30 Minute)</c:v>
                  </c:pt>
                  <c:pt idx="1349">
                    <c:v>Rolling Stdev (30 Minute)</c:v>
                  </c:pt>
                  <c:pt idx="1350">
                    <c:v>Rolling Stdev (30 Minute)</c:v>
                  </c:pt>
                  <c:pt idx="1351">
                    <c:v>Rolling Stdev (30 Minute)</c:v>
                  </c:pt>
                  <c:pt idx="1352">
                    <c:v>Rolling Stdev (30 Minute)</c:v>
                  </c:pt>
                  <c:pt idx="1353">
                    <c:v>Rolling Stdev (30 Minute)</c:v>
                  </c:pt>
                  <c:pt idx="1354">
                    <c:v>Rolling Stdev (30 Minute)</c:v>
                  </c:pt>
                  <c:pt idx="1355">
                    <c:v>Rolling Stdev (30 Minute)</c:v>
                  </c:pt>
                  <c:pt idx="1356">
                    <c:v>Rolling Stdev (30 Minute)</c:v>
                  </c:pt>
                  <c:pt idx="1357">
                    <c:v>Rolling Stdev (30 Minute)</c:v>
                  </c:pt>
                  <c:pt idx="1358">
                    <c:v>Rolling Stdev (30 Minute)</c:v>
                  </c:pt>
                  <c:pt idx="1359">
                    <c:v>Rolling Stdev (30 Minute)</c:v>
                  </c:pt>
                  <c:pt idx="1360">
                    <c:v>Rolling Stdev (30 Minute)</c:v>
                  </c:pt>
                  <c:pt idx="1361">
                    <c:v>Rolling Stdev (30 Minute)</c:v>
                  </c:pt>
                  <c:pt idx="1362">
                    <c:v>Rolling Stdev (30 Minute)</c:v>
                  </c:pt>
                  <c:pt idx="1363">
                    <c:v>Rolling Stdev (30 Minute)</c:v>
                  </c:pt>
                  <c:pt idx="1364">
                    <c:v>Rolling Stdev (30 Minute)</c:v>
                  </c:pt>
                  <c:pt idx="1365">
                    <c:v>Rolling Stdev (30 Minute)</c:v>
                  </c:pt>
                  <c:pt idx="1366">
                    <c:v>Rolling Stdev (30 Minute)</c:v>
                  </c:pt>
                  <c:pt idx="1367">
                    <c:v>Rolling Stdev (30 Minute)</c:v>
                  </c:pt>
                  <c:pt idx="1368">
                    <c:v>Rolling Stdev (30 Minute)</c:v>
                  </c:pt>
                  <c:pt idx="1369">
                    <c:v>Rolling Stdev (30 Minute)</c:v>
                  </c:pt>
                  <c:pt idx="1370">
                    <c:v>Rolling Stdev (30 Minute)</c:v>
                  </c:pt>
                  <c:pt idx="1371">
                    <c:v>Rolling Stdev (30 Minute)</c:v>
                  </c:pt>
                  <c:pt idx="1372">
                    <c:v>Rolling Stdev (30 Minute)</c:v>
                  </c:pt>
                  <c:pt idx="1373">
                    <c:v>Rolling Stdev (30 Minute)</c:v>
                  </c:pt>
                  <c:pt idx="1374">
                    <c:v>Rolling Stdev (30 Minute)</c:v>
                  </c:pt>
                  <c:pt idx="1375">
                    <c:v>Rolling Stdev (30 Minute)</c:v>
                  </c:pt>
                  <c:pt idx="1376">
                    <c:v>Rolling Stdev (30 Minute)</c:v>
                  </c:pt>
                  <c:pt idx="1377">
                    <c:v>Rolling Stdev (30 Minute)</c:v>
                  </c:pt>
                  <c:pt idx="1378">
                    <c:v>Rolling Stdev (30 Minute)</c:v>
                  </c:pt>
                  <c:pt idx="1379">
                    <c:v>Rolling Stdev (30 Minute)</c:v>
                  </c:pt>
                  <c:pt idx="1380">
                    <c:v>Rolling Stdev (30 Minute)</c:v>
                  </c:pt>
                  <c:pt idx="1381">
                    <c:v>Rolling Stdev (30 Minute)</c:v>
                  </c:pt>
                  <c:pt idx="1382">
                    <c:v>Rolling Stdev (30 Minute)</c:v>
                  </c:pt>
                  <c:pt idx="1383">
                    <c:v>Rolling Stdev (30 Minute)</c:v>
                  </c:pt>
                  <c:pt idx="1384">
                    <c:v>Rolling Stdev (30 Minute)</c:v>
                  </c:pt>
                  <c:pt idx="1385">
                    <c:v>Rolling Stdev (30 Minute)</c:v>
                  </c:pt>
                  <c:pt idx="1386">
                    <c:v>Rolling Stdev (30 Minute)</c:v>
                  </c:pt>
                  <c:pt idx="1387">
                    <c:v>Rolling Stdev (30 Minute)</c:v>
                  </c:pt>
                  <c:pt idx="1388">
                    <c:v>Rolling Stdev (30 Minute)</c:v>
                  </c:pt>
                  <c:pt idx="1389">
                    <c:v>Rolling Stdev (30 Minute)</c:v>
                  </c:pt>
                  <c:pt idx="1390">
                    <c:v>Rolling Stdev (30 Minute)</c:v>
                  </c:pt>
                  <c:pt idx="1391">
                    <c:v>Rolling Stdev (30 Minute)</c:v>
                  </c:pt>
                  <c:pt idx="1392">
                    <c:v>Rolling Stdev (30 Minute)</c:v>
                  </c:pt>
                  <c:pt idx="1393">
                    <c:v>Rolling Stdev (30 Minute)</c:v>
                  </c:pt>
                  <c:pt idx="1394">
                    <c:v>Rolling Stdev (30 Minute)</c:v>
                  </c:pt>
                  <c:pt idx="1395">
                    <c:v>Rolling Stdev (30 Minute)</c:v>
                  </c:pt>
                  <c:pt idx="1396">
                    <c:v>Rolling Stdev (30 Minute)</c:v>
                  </c:pt>
                  <c:pt idx="1397">
                    <c:v>Rolling Stdev (30 Minute)</c:v>
                  </c:pt>
                  <c:pt idx="1398">
                    <c:v>Rolling Stdev (30 Minute)</c:v>
                  </c:pt>
                  <c:pt idx="1399">
                    <c:v>Rolling Stdev (30 Minute)</c:v>
                  </c:pt>
                  <c:pt idx="1400">
                    <c:v>Rolling Stdev (30 Minute)</c:v>
                  </c:pt>
                  <c:pt idx="1401">
                    <c:v>Rolling Stdev (30 Minute)</c:v>
                  </c:pt>
                  <c:pt idx="1402">
                    <c:v>Rolling Stdev (30 Minute)</c:v>
                  </c:pt>
                  <c:pt idx="1403">
                    <c:v>Rolling Stdev (30 Minute)</c:v>
                  </c:pt>
                  <c:pt idx="1404">
                    <c:v>Rolling Stdev (30 Minute)</c:v>
                  </c:pt>
                  <c:pt idx="1405">
                    <c:v>Rolling Stdev (30 Minute)</c:v>
                  </c:pt>
                  <c:pt idx="1406">
                    <c:v>Rolling Stdev (30 Minute)</c:v>
                  </c:pt>
                  <c:pt idx="1407">
                    <c:v>Rolling Stdev (30 Minute)</c:v>
                  </c:pt>
                  <c:pt idx="1408">
                    <c:v>Rolling Stdev (30 Minute)</c:v>
                  </c:pt>
                  <c:pt idx="1409">
                    <c:v>Rolling Stdev (30 Minute)</c:v>
                  </c:pt>
                  <c:pt idx="1410">
                    <c:v>Rolling Stdev (30 Minute)</c:v>
                  </c:pt>
                  <c:pt idx="1411">
                    <c:v>Rolling Stdev (30 Minute)</c:v>
                  </c:pt>
                  <c:pt idx="1412">
                    <c:v>Rolling Stdev (30 Minute)</c:v>
                  </c:pt>
                  <c:pt idx="1413">
                    <c:v>Rolling Stdev (30 Minute)</c:v>
                  </c:pt>
                  <c:pt idx="1414">
                    <c:v>Rolling Stdev (30 Minute)</c:v>
                  </c:pt>
                  <c:pt idx="1415">
                    <c:v>Rolling Stdev (30 Minute)</c:v>
                  </c:pt>
                  <c:pt idx="1416">
                    <c:v>Rolling Stdev (30 Minute)</c:v>
                  </c:pt>
                  <c:pt idx="1417">
                    <c:v>Rolling Stdev (30 Minute)</c:v>
                  </c:pt>
                  <c:pt idx="1418">
                    <c:v>Rolling Stdev (30 Minute)</c:v>
                  </c:pt>
                  <c:pt idx="1419">
                    <c:v>Rolling Stdev (30 Minute)</c:v>
                  </c:pt>
                  <c:pt idx="1420">
                    <c:v>Rolling Stdev (30 Minute)</c:v>
                  </c:pt>
                  <c:pt idx="1421">
                    <c:v>Rolling Stdev (30 Minute)</c:v>
                  </c:pt>
                  <c:pt idx="1422">
                    <c:v>Rolling Stdev (30 Minute)</c:v>
                  </c:pt>
                  <c:pt idx="1423">
                    <c:v>Rolling Stdev (30 Minute)</c:v>
                  </c:pt>
                  <c:pt idx="1424">
                    <c:v>Rolling Stdev (30 Minute)</c:v>
                  </c:pt>
                  <c:pt idx="1425">
                    <c:v>Rolling Stdev (30 Minute)</c:v>
                  </c:pt>
                  <c:pt idx="1426">
                    <c:v>Rolling Stdev (30 Minute)</c:v>
                  </c:pt>
                  <c:pt idx="1427">
                    <c:v>Rolling Stdev (30 Minute)</c:v>
                  </c:pt>
                  <c:pt idx="1428">
                    <c:v>Rolling Stdev (30 Minute)</c:v>
                  </c:pt>
                  <c:pt idx="1429">
                    <c:v>Rolling Stdev (30 Minute)</c:v>
                  </c:pt>
                  <c:pt idx="1430">
                    <c:v>Rolling Stdev (30 Minute)</c:v>
                  </c:pt>
                  <c:pt idx="1431">
                    <c:v>Rolling Stdev (30 Minute)</c:v>
                  </c:pt>
                  <c:pt idx="1432">
                    <c:v>Rolling Stdev (30 Minute)</c:v>
                  </c:pt>
                  <c:pt idx="1433">
                    <c:v>Rolling Stdev (30 Minute)</c:v>
                  </c:pt>
                  <c:pt idx="1434">
                    <c:v>Rolling Stdev (30 Minute)</c:v>
                  </c:pt>
                  <c:pt idx="1435">
                    <c:v>Rolling Stdev (30 Minute)</c:v>
                  </c:pt>
                  <c:pt idx="1436">
                    <c:v>Rolling Stdev (30 Minute)</c:v>
                  </c:pt>
                  <c:pt idx="1437">
                    <c:v>Rolling Stdev (30 Minute)</c:v>
                  </c:pt>
                  <c:pt idx="1438">
                    <c:v>Rolling Stdev (30 Minute)</c:v>
                  </c:pt>
                  <c:pt idx="1439">
                    <c:v>Rolling Stdev (30 Minute)</c:v>
                  </c:pt>
                  <c:pt idx="1440">
                    <c:v>Rolling Stdev (30 Minute)</c:v>
                  </c:pt>
                  <c:pt idx="1441">
                    <c:v>Rolling Stdev (30 Minute)</c:v>
                  </c:pt>
                  <c:pt idx="1442">
                    <c:v>Rolling Stdev (30 Minute)</c:v>
                  </c:pt>
                  <c:pt idx="1443">
                    <c:v>Rolling Stdev (30 Minute)</c:v>
                  </c:pt>
                  <c:pt idx="1444">
                    <c:v>Rolling Stdev (30 Minute)</c:v>
                  </c:pt>
                  <c:pt idx="1445">
                    <c:v>Rolling Stdev (30 Minute)</c:v>
                  </c:pt>
                  <c:pt idx="1446">
                    <c:v>Rolling Stdev (30 Minute)</c:v>
                  </c:pt>
                  <c:pt idx="1447">
                    <c:v>Rolling Stdev (30 Minute)</c:v>
                  </c:pt>
                  <c:pt idx="1448">
                    <c:v>Rolling Stdev (30 Minute)</c:v>
                  </c:pt>
                  <c:pt idx="1449">
                    <c:v>Rolling Stdev (30 Minute)</c:v>
                  </c:pt>
                  <c:pt idx="1450">
                    <c:v>Rolling Stdev (30 Minute)</c:v>
                  </c:pt>
                  <c:pt idx="1451">
                    <c:v>Rolling Stdev (30 Minute)</c:v>
                  </c:pt>
                  <c:pt idx="1452">
                    <c:v>Rolling Stdev (30 Minute)</c:v>
                  </c:pt>
                  <c:pt idx="1453">
                    <c:v>Rolling Stdev (30 Minute)</c:v>
                  </c:pt>
                  <c:pt idx="1454">
                    <c:v>Rolling Stdev (30 Minute)</c:v>
                  </c:pt>
                  <c:pt idx="1455">
                    <c:v>Rolling Stdev (30 Minute)</c:v>
                  </c:pt>
                  <c:pt idx="1456">
                    <c:v>Rolling Stdev (30 Minute)</c:v>
                  </c:pt>
                  <c:pt idx="1457">
                    <c:v>Rolling Stdev (30 Minute)</c:v>
                  </c:pt>
                  <c:pt idx="1458">
                    <c:v>Rolling Stdev (30 Minute)</c:v>
                  </c:pt>
                  <c:pt idx="1459">
                    <c:v>Rolling Stdev (30 Minute)</c:v>
                  </c:pt>
                  <c:pt idx="1460">
                    <c:v>Rolling Stdev (30 Minute)</c:v>
                  </c:pt>
                  <c:pt idx="1461">
                    <c:v>Rolling Stdev (30 Minute)</c:v>
                  </c:pt>
                  <c:pt idx="1462">
                    <c:v>Rolling Stdev (30 Minute)</c:v>
                  </c:pt>
                  <c:pt idx="1463">
                    <c:v>Rolling Stdev (30 Minute)</c:v>
                  </c:pt>
                  <c:pt idx="1464">
                    <c:v>Rolling Stdev (30 Minute)</c:v>
                  </c:pt>
                  <c:pt idx="1465">
                    <c:v>Rolling Stdev (30 Minute)</c:v>
                  </c:pt>
                  <c:pt idx="1466">
                    <c:v>Rolling Stdev (30 Minute)</c:v>
                  </c:pt>
                  <c:pt idx="1467">
                    <c:v>Rolling Stdev (30 Minute)</c:v>
                  </c:pt>
                  <c:pt idx="1468">
                    <c:v>Rolling Stdev (30 Minute)</c:v>
                  </c:pt>
                  <c:pt idx="1469">
                    <c:v>Rolling Stdev (30 Minute)</c:v>
                  </c:pt>
                  <c:pt idx="1470">
                    <c:v>Rolling Stdev (30 Minute)</c:v>
                  </c:pt>
                  <c:pt idx="1471">
                    <c:v>Rolling Stdev (30 Minute)</c:v>
                  </c:pt>
                  <c:pt idx="1472">
                    <c:v>Rolling Stdev (30 Minute)</c:v>
                  </c:pt>
                  <c:pt idx="1473">
                    <c:v>Rolling Stdev (30 Minute)</c:v>
                  </c:pt>
                  <c:pt idx="1474">
                    <c:v>Rolling Stdev (30 Minute)</c:v>
                  </c:pt>
                  <c:pt idx="1475">
                    <c:v>Rolling Stdev (30 Minute)</c:v>
                  </c:pt>
                  <c:pt idx="1476">
                    <c:v>Rolling Stdev (30 Minute)</c:v>
                  </c:pt>
                  <c:pt idx="1477">
                    <c:v>Rolling Stdev (30 Minute)</c:v>
                  </c:pt>
                  <c:pt idx="1478">
                    <c:v>Rolling Stdev (30 Minute)</c:v>
                  </c:pt>
                  <c:pt idx="1479">
                    <c:v>Rolling Stdev (30 Minute)</c:v>
                  </c:pt>
                  <c:pt idx="1480">
                    <c:v>Rolling Stdev (30 Minute)</c:v>
                  </c:pt>
                  <c:pt idx="1481">
                    <c:v>Rolling Stdev (30 Minute)</c:v>
                  </c:pt>
                  <c:pt idx="1482">
                    <c:v>Rolling Stdev (30 Minute)</c:v>
                  </c:pt>
                  <c:pt idx="1483">
                    <c:v>Rolling Stdev (30 Minute)</c:v>
                  </c:pt>
                  <c:pt idx="1484">
                    <c:v>Rolling Stdev (30 Minute)</c:v>
                  </c:pt>
                  <c:pt idx="1485">
                    <c:v>Rolling Stdev (30 Minute)</c:v>
                  </c:pt>
                  <c:pt idx="1486">
                    <c:v>Rolling Stdev (30 Minute)</c:v>
                  </c:pt>
                  <c:pt idx="1487">
                    <c:v>Rolling Stdev (30 Minute)</c:v>
                  </c:pt>
                  <c:pt idx="1488">
                    <c:v>Rolling Stdev (30 Minute)</c:v>
                  </c:pt>
                  <c:pt idx="1489">
                    <c:v>Rolling Stdev (30 Minute)</c:v>
                  </c:pt>
                  <c:pt idx="1490">
                    <c:v>Rolling Stdev (30 Minute)</c:v>
                  </c:pt>
                  <c:pt idx="1491">
                    <c:v>Rolling Stdev (30 Minute)</c:v>
                  </c:pt>
                  <c:pt idx="1492">
                    <c:v>Rolling Stdev (30 Minute)</c:v>
                  </c:pt>
                  <c:pt idx="1493">
                    <c:v>Rolling Stdev (30 Minute)</c:v>
                  </c:pt>
                  <c:pt idx="1494">
                    <c:v>Rolling Stdev (30 Minute)</c:v>
                  </c:pt>
                  <c:pt idx="1495">
                    <c:v>Rolling Stdev (30 Minute)</c:v>
                  </c:pt>
                  <c:pt idx="1496">
                    <c:v>Rolling Stdev (30 Minute)</c:v>
                  </c:pt>
                  <c:pt idx="1497">
                    <c:v>Rolling Stdev (30 Minute)</c:v>
                  </c:pt>
                  <c:pt idx="1498">
                    <c:v>Rolling Stdev (30 Minute)</c:v>
                  </c:pt>
                  <c:pt idx="1499">
                    <c:v>Rolling Stdev (30 Minute)</c:v>
                  </c:pt>
                  <c:pt idx="1500">
                    <c:v>Rolling Stdev (30 Minute)</c:v>
                  </c:pt>
                  <c:pt idx="1501">
                    <c:v>Rolling Stdev (30 Minute)</c:v>
                  </c:pt>
                  <c:pt idx="1502">
                    <c:v>Rolling Stdev (30 Minute)</c:v>
                  </c:pt>
                  <c:pt idx="1503">
                    <c:v>Rolling Stdev (30 Minute)</c:v>
                  </c:pt>
                  <c:pt idx="1504">
                    <c:v>Rolling Stdev (30 Minute)</c:v>
                  </c:pt>
                  <c:pt idx="1505">
                    <c:v>Rolling Stdev (30 Minute)</c:v>
                  </c:pt>
                  <c:pt idx="1506">
                    <c:v>Rolling Stdev (30 Minute)</c:v>
                  </c:pt>
                  <c:pt idx="1507">
                    <c:v>Rolling Stdev (30 Minute)</c:v>
                  </c:pt>
                  <c:pt idx="1508">
                    <c:v>Rolling Stdev (30 Minute)</c:v>
                  </c:pt>
                  <c:pt idx="1509">
                    <c:v>Rolling Stdev (30 Minute)</c:v>
                  </c:pt>
                  <c:pt idx="1510">
                    <c:v>Rolling Stdev (30 Minute)</c:v>
                  </c:pt>
                  <c:pt idx="1511">
                    <c:v>Rolling Stdev (30 Minute)</c:v>
                  </c:pt>
                  <c:pt idx="1512">
                    <c:v>Rolling Stdev (30 Minute)</c:v>
                  </c:pt>
                  <c:pt idx="1513">
                    <c:v>Rolling Stdev (30 Minute)</c:v>
                  </c:pt>
                  <c:pt idx="1514">
                    <c:v>Rolling Stdev (30 Minute)</c:v>
                  </c:pt>
                  <c:pt idx="1515">
                    <c:v>Rolling Stdev (30 Minute)</c:v>
                  </c:pt>
                  <c:pt idx="1516">
                    <c:v>Rolling Stdev (30 Minute)</c:v>
                  </c:pt>
                  <c:pt idx="1517">
                    <c:v>Rolling Stdev (30 Minute)</c:v>
                  </c:pt>
                  <c:pt idx="1518">
                    <c:v>Rolling Stdev (30 Minute)</c:v>
                  </c:pt>
                  <c:pt idx="1519">
                    <c:v>Rolling Stdev (30 Minute)</c:v>
                  </c:pt>
                  <c:pt idx="1520">
                    <c:v>Rolling Stdev (30 Minute)</c:v>
                  </c:pt>
                  <c:pt idx="1521">
                    <c:v>Rolling Stdev (30 Minute)</c:v>
                  </c:pt>
                  <c:pt idx="1522">
                    <c:v>Rolling Stdev (30 Minute)</c:v>
                  </c:pt>
                  <c:pt idx="1523">
                    <c:v>Rolling Stdev (30 Minute)</c:v>
                  </c:pt>
                  <c:pt idx="1524">
                    <c:v>Rolling Stdev (30 Minute)</c:v>
                  </c:pt>
                  <c:pt idx="1525">
                    <c:v>Rolling Stdev (30 Minute)</c:v>
                  </c:pt>
                  <c:pt idx="1526">
                    <c:v>Rolling Stdev (30 Minute)</c:v>
                  </c:pt>
                  <c:pt idx="1527">
                    <c:v>Rolling Stdev (30 Minute)</c:v>
                  </c:pt>
                  <c:pt idx="1528">
                    <c:v>Rolling Stdev (30 Minute)</c:v>
                  </c:pt>
                  <c:pt idx="1529">
                    <c:v>Rolling Stdev (30 Minute)</c:v>
                  </c:pt>
                  <c:pt idx="1530">
                    <c:v>Rolling Stdev (30 Minute)</c:v>
                  </c:pt>
                  <c:pt idx="1531">
                    <c:v>Rolling Stdev (30 Minute)</c:v>
                  </c:pt>
                  <c:pt idx="1532">
                    <c:v>Rolling Stdev (30 Minute)</c:v>
                  </c:pt>
                  <c:pt idx="1533">
                    <c:v>Rolling Stdev (30 Minute)</c:v>
                  </c:pt>
                  <c:pt idx="1534">
                    <c:v>Rolling Stdev (30 Minute)</c:v>
                  </c:pt>
                  <c:pt idx="1535">
                    <c:v>Rolling Stdev (30 Minute)</c:v>
                  </c:pt>
                  <c:pt idx="1536">
                    <c:v>Rolling Stdev (30 Minute)</c:v>
                  </c:pt>
                  <c:pt idx="1537">
                    <c:v>Rolling Stdev (30 Minute)</c:v>
                  </c:pt>
                  <c:pt idx="1538">
                    <c:v>Rolling Stdev (30 Minute)</c:v>
                  </c:pt>
                  <c:pt idx="1539">
                    <c:v>Rolling Stdev (30 Minute)</c:v>
                  </c:pt>
                  <c:pt idx="1540">
                    <c:v>Rolling Stdev (30 Minute)</c:v>
                  </c:pt>
                  <c:pt idx="1541">
                    <c:v>Rolling Stdev (30 Minute)</c:v>
                  </c:pt>
                  <c:pt idx="1542">
                    <c:v>Rolling Stdev (30 Minute)</c:v>
                  </c:pt>
                  <c:pt idx="1543">
                    <c:v>Rolling Stdev (30 Minute)</c:v>
                  </c:pt>
                  <c:pt idx="1544">
                    <c:v>Rolling Stdev (30 Minute)</c:v>
                  </c:pt>
                  <c:pt idx="1545">
                    <c:v>Rolling Stdev (30 Minute)</c:v>
                  </c:pt>
                  <c:pt idx="1546">
                    <c:v>Rolling Stdev (30 Minute)</c:v>
                  </c:pt>
                  <c:pt idx="1547">
                    <c:v>Rolling Stdev (30 Minute)</c:v>
                  </c:pt>
                  <c:pt idx="1548">
                    <c:v>Rolling Stdev (30 Minute)</c:v>
                  </c:pt>
                  <c:pt idx="1549">
                    <c:v>Rolling Stdev (30 Minute)</c:v>
                  </c:pt>
                  <c:pt idx="1550">
                    <c:v>Rolling Stdev (30 Minute)</c:v>
                  </c:pt>
                  <c:pt idx="1551">
                    <c:v>Rolling Stdev (30 Minute)</c:v>
                  </c:pt>
                  <c:pt idx="1552">
                    <c:v>Rolling Stdev (30 Minute)</c:v>
                  </c:pt>
                  <c:pt idx="1553">
                    <c:v>Rolling Stdev (30 Minute)</c:v>
                  </c:pt>
                  <c:pt idx="1554">
                    <c:v>Rolling Stdev (30 Minute)</c:v>
                  </c:pt>
                  <c:pt idx="1555">
                    <c:v>Rolling Stdev (30 Minute)</c:v>
                  </c:pt>
                  <c:pt idx="1556">
                    <c:v>Rolling Stdev (30 Minute)</c:v>
                  </c:pt>
                  <c:pt idx="1557">
                    <c:v>Rolling Stdev (30 Minute)</c:v>
                  </c:pt>
                  <c:pt idx="1558">
                    <c:v>Rolling Stdev (30 Minute)</c:v>
                  </c:pt>
                  <c:pt idx="1559">
                    <c:v>Rolling Stdev (30 Minute)</c:v>
                  </c:pt>
                  <c:pt idx="1560">
                    <c:v>Rolling Stdev (30 Minute)</c:v>
                  </c:pt>
                  <c:pt idx="1561">
                    <c:v>Rolling Stdev (30 Minute)</c:v>
                  </c:pt>
                  <c:pt idx="1562">
                    <c:v>Rolling Stdev (30 Minute)</c:v>
                  </c:pt>
                  <c:pt idx="1563">
                    <c:v>Rolling Stdev (30 Minute)</c:v>
                  </c:pt>
                  <c:pt idx="1564">
                    <c:v>Rolling Stdev (30 Minute)</c:v>
                  </c:pt>
                  <c:pt idx="1565">
                    <c:v>Rolling Stdev (30 Minute)</c:v>
                  </c:pt>
                  <c:pt idx="1566">
                    <c:v>Rolling Stdev (30 Minute)</c:v>
                  </c:pt>
                  <c:pt idx="1567">
                    <c:v>Rolling Stdev (30 Minute)</c:v>
                  </c:pt>
                  <c:pt idx="1568">
                    <c:v>Rolling Stdev (30 Minute)</c:v>
                  </c:pt>
                  <c:pt idx="1569">
                    <c:v>Rolling Stdev (30 Minute)</c:v>
                  </c:pt>
                  <c:pt idx="1570">
                    <c:v>Rolling Stdev (30 Minute)</c:v>
                  </c:pt>
                  <c:pt idx="1571">
                    <c:v>Rolling Stdev (30 Minute)</c:v>
                  </c:pt>
                  <c:pt idx="1572">
                    <c:v>Rolling Stdev (30 Minute)</c:v>
                  </c:pt>
                  <c:pt idx="1573">
                    <c:v>Rolling Stdev (30 Minute)</c:v>
                  </c:pt>
                  <c:pt idx="1574">
                    <c:v>Rolling Stdev (30 Minute)</c:v>
                  </c:pt>
                  <c:pt idx="1575">
                    <c:v>Rolling Stdev (30 Minute)</c:v>
                  </c:pt>
                  <c:pt idx="1576">
                    <c:v>Rolling Stdev (30 Minute)</c:v>
                  </c:pt>
                  <c:pt idx="1577">
                    <c:v>Rolling Stdev (30 Minute)</c:v>
                  </c:pt>
                  <c:pt idx="1578">
                    <c:v>Rolling Stdev (30 Minute)</c:v>
                  </c:pt>
                  <c:pt idx="1579">
                    <c:v>Rolling Stdev (30 Minute)</c:v>
                  </c:pt>
                  <c:pt idx="1580">
                    <c:v>Rolling Stdev (30 Minute)</c:v>
                  </c:pt>
                  <c:pt idx="1581">
                    <c:v>Rolling Stdev (30 Minute)</c:v>
                  </c:pt>
                  <c:pt idx="1582">
                    <c:v>Rolling Stdev (30 Minute)</c:v>
                  </c:pt>
                  <c:pt idx="1583">
                    <c:v>Rolling Stdev (30 Minute)</c:v>
                  </c:pt>
                  <c:pt idx="1584">
                    <c:v>Rolling Stdev (30 Minute)</c:v>
                  </c:pt>
                  <c:pt idx="1585">
                    <c:v>Rolling Stdev (30 Minute)</c:v>
                  </c:pt>
                  <c:pt idx="1586">
                    <c:v>Rolling Stdev (30 Minute)</c:v>
                  </c:pt>
                  <c:pt idx="1587">
                    <c:v>Rolling Stdev (30 Minute)</c:v>
                  </c:pt>
                  <c:pt idx="1588">
                    <c:v>Rolling Stdev (30 Minute)</c:v>
                  </c:pt>
                  <c:pt idx="1589">
                    <c:v>Rolling Stdev (30 Minute)</c:v>
                  </c:pt>
                  <c:pt idx="1590">
                    <c:v>Rolling Stdev (30 Minute)</c:v>
                  </c:pt>
                  <c:pt idx="1591">
                    <c:v>Rolling Stdev (30 Minute)</c:v>
                  </c:pt>
                  <c:pt idx="1592">
                    <c:v>Rolling Stdev (30 Minute)</c:v>
                  </c:pt>
                  <c:pt idx="1593">
                    <c:v>Rolling Stdev (30 Minute)</c:v>
                  </c:pt>
                  <c:pt idx="1594">
                    <c:v>Rolling Stdev (30 Minute)</c:v>
                  </c:pt>
                  <c:pt idx="1595">
                    <c:v>Rolling Stdev (30 Minute)</c:v>
                  </c:pt>
                  <c:pt idx="1596">
                    <c:v>Rolling Stdev (30 Minute)</c:v>
                  </c:pt>
                  <c:pt idx="1597">
                    <c:v>Rolling Stdev (30 Minute)</c:v>
                  </c:pt>
                  <c:pt idx="1598">
                    <c:v>Rolling Stdev (30 Minute)</c:v>
                  </c:pt>
                  <c:pt idx="1599">
                    <c:v>Rolling Stdev (30 Minute)</c:v>
                  </c:pt>
                  <c:pt idx="1600">
                    <c:v>Rolling Stdev (30 Minute)</c:v>
                  </c:pt>
                  <c:pt idx="1601">
                    <c:v>Rolling Stdev (30 Minute)</c:v>
                  </c:pt>
                  <c:pt idx="1602">
                    <c:v>Rolling Stdev (30 Minute)</c:v>
                  </c:pt>
                  <c:pt idx="1603">
                    <c:v>Rolling Stdev (30 Minute)</c:v>
                  </c:pt>
                  <c:pt idx="1604">
                    <c:v>Rolling Stdev (30 Minute)</c:v>
                  </c:pt>
                  <c:pt idx="1605">
                    <c:v>Rolling Stdev (30 Minute)</c:v>
                  </c:pt>
                  <c:pt idx="1606">
                    <c:v>Rolling Stdev (30 Minute)</c:v>
                  </c:pt>
                  <c:pt idx="1607">
                    <c:v>Rolling Stdev (30 Minute)</c:v>
                  </c:pt>
                  <c:pt idx="1608">
                    <c:v>Rolling Stdev (30 Minute)</c:v>
                  </c:pt>
                  <c:pt idx="1609">
                    <c:v>Rolling Stdev (30 Minute)</c:v>
                  </c:pt>
                  <c:pt idx="1610">
                    <c:v>Rolling Stdev (30 Minute)</c:v>
                  </c:pt>
                  <c:pt idx="1611">
                    <c:v>Rolling Stdev (30 Minute)</c:v>
                  </c:pt>
                  <c:pt idx="1612">
                    <c:v>Rolling Stdev (30 Minute)</c:v>
                  </c:pt>
                  <c:pt idx="1613">
                    <c:v>Rolling Stdev (30 Minute)</c:v>
                  </c:pt>
                  <c:pt idx="1614">
                    <c:v>Rolling Stdev (30 Minute)</c:v>
                  </c:pt>
                  <c:pt idx="1615">
                    <c:v>Rolling Stdev (30 Minute)</c:v>
                  </c:pt>
                  <c:pt idx="1616">
                    <c:v>Rolling Stdev (30 Minute)</c:v>
                  </c:pt>
                  <c:pt idx="1617">
                    <c:v>Rolling Stdev (30 Minute)</c:v>
                  </c:pt>
                  <c:pt idx="1618">
                    <c:v>Rolling Stdev (30 Minute)</c:v>
                  </c:pt>
                  <c:pt idx="1619">
                    <c:v>Rolling Stdev (30 Minute)</c:v>
                  </c:pt>
                  <c:pt idx="1620">
                    <c:v>Rolling Stdev (30 Minute)</c:v>
                  </c:pt>
                  <c:pt idx="1621">
                    <c:v>Rolling Stdev (30 Minute)</c:v>
                  </c:pt>
                  <c:pt idx="1622">
                    <c:v>Rolling Stdev (30 Minute)</c:v>
                  </c:pt>
                  <c:pt idx="1623">
                    <c:v>Rolling Stdev (30 Minute)</c:v>
                  </c:pt>
                  <c:pt idx="1624">
                    <c:v>Rolling Stdev (30 Minute)</c:v>
                  </c:pt>
                  <c:pt idx="1625">
                    <c:v>Rolling Stdev (30 Minute)</c:v>
                  </c:pt>
                  <c:pt idx="1626">
                    <c:v>Rolling Stdev (30 Minute)</c:v>
                  </c:pt>
                  <c:pt idx="1627">
                    <c:v>Rolling Stdev (30 Minute)</c:v>
                  </c:pt>
                  <c:pt idx="1628">
                    <c:v>Rolling Stdev (30 Minute)</c:v>
                  </c:pt>
                  <c:pt idx="1629">
                    <c:v>Rolling Stdev (30 Minute)</c:v>
                  </c:pt>
                  <c:pt idx="1630">
                    <c:v>Rolling Stdev (30 Minute)</c:v>
                  </c:pt>
                  <c:pt idx="1631">
                    <c:v>Rolling Stdev (30 Minute)</c:v>
                  </c:pt>
                  <c:pt idx="1632">
                    <c:v>Rolling Stdev (30 Minute)</c:v>
                  </c:pt>
                  <c:pt idx="1633">
                    <c:v>Rolling Stdev (30 Minute)</c:v>
                  </c:pt>
                  <c:pt idx="1634">
                    <c:v>Rolling Stdev (30 Minute)</c:v>
                  </c:pt>
                  <c:pt idx="1635">
                    <c:v>Rolling Stdev (30 Minute)</c:v>
                  </c:pt>
                  <c:pt idx="1636">
                    <c:v>Rolling Stdev (30 Minute)</c:v>
                  </c:pt>
                  <c:pt idx="1637">
                    <c:v>Rolling Stdev (30 Minute)</c:v>
                  </c:pt>
                  <c:pt idx="1638">
                    <c:v>Rolling Stdev (30 Minute)</c:v>
                  </c:pt>
                  <c:pt idx="1639">
                    <c:v>Rolling Stdev (30 Minute)</c:v>
                  </c:pt>
                  <c:pt idx="1640">
                    <c:v>Rolling Stdev (30 Minute)</c:v>
                  </c:pt>
                  <c:pt idx="1641">
                    <c:v>Rolling Stdev (30 Minute)</c:v>
                  </c:pt>
                  <c:pt idx="1642">
                    <c:v>Rolling Stdev (30 Minute)</c:v>
                  </c:pt>
                  <c:pt idx="1643">
                    <c:v>Rolling Stdev (30 Minute)</c:v>
                  </c:pt>
                  <c:pt idx="1644">
                    <c:v>Rolling Stdev (30 Minute)</c:v>
                  </c:pt>
                  <c:pt idx="1645">
                    <c:v>Rolling Stdev (30 Minute)</c:v>
                  </c:pt>
                  <c:pt idx="1646">
                    <c:v>Rolling Stdev (30 Minute)</c:v>
                  </c:pt>
                  <c:pt idx="1647">
                    <c:v>Rolling Stdev (30 Minute)</c:v>
                  </c:pt>
                  <c:pt idx="1648">
                    <c:v>Rolling Stdev (30 Minute)</c:v>
                  </c:pt>
                  <c:pt idx="1649">
                    <c:v>Rolling Stdev (30 Minute)</c:v>
                  </c:pt>
                  <c:pt idx="1650">
                    <c:v>Rolling Stdev (30 Minute)</c:v>
                  </c:pt>
                  <c:pt idx="1651">
                    <c:v>Rolling Stdev (30 Minute)</c:v>
                  </c:pt>
                  <c:pt idx="1652">
                    <c:v>Rolling Stdev (30 Minute)</c:v>
                  </c:pt>
                  <c:pt idx="1653">
                    <c:v>Rolling Stdev (30 Minute)</c:v>
                  </c:pt>
                  <c:pt idx="1654">
                    <c:v>Rolling Stdev (30 Minute)</c:v>
                  </c:pt>
                  <c:pt idx="1655">
                    <c:v>Rolling Stdev (30 Minute)</c:v>
                  </c:pt>
                  <c:pt idx="1656">
                    <c:v>Rolling Stdev (30 Minute)</c:v>
                  </c:pt>
                  <c:pt idx="1657">
                    <c:v>Rolling Stdev (30 Minute)</c:v>
                  </c:pt>
                  <c:pt idx="1658">
                    <c:v>Rolling Stdev (30 Minute)</c:v>
                  </c:pt>
                  <c:pt idx="1659">
                    <c:v>Rolling Stdev (30 Minute)</c:v>
                  </c:pt>
                  <c:pt idx="1660">
                    <c:v>Rolling Stdev (30 Minute)</c:v>
                  </c:pt>
                  <c:pt idx="1661">
                    <c:v>Rolling Stdev (30 Minute)</c:v>
                  </c:pt>
                  <c:pt idx="1662">
                    <c:v>Rolling Stdev (30 Minute)</c:v>
                  </c:pt>
                  <c:pt idx="1663">
                    <c:v>Rolling Stdev (30 Minute)</c:v>
                  </c:pt>
                  <c:pt idx="1664">
                    <c:v>Rolling Stdev (30 Minute)</c:v>
                  </c:pt>
                  <c:pt idx="1665">
                    <c:v>Rolling Stdev (30 Minute)</c:v>
                  </c:pt>
                  <c:pt idx="1666">
                    <c:v>Rolling Stdev (30 Minute)</c:v>
                  </c:pt>
                  <c:pt idx="1667">
                    <c:v>Rolling Stdev (30 Minute)</c:v>
                  </c:pt>
                  <c:pt idx="1668">
                    <c:v>Rolling Stdev (30 Minute)</c:v>
                  </c:pt>
                  <c:pt idx="1669">
                    <c:v>Rolling Stdev (30 Minute)</c:v>
                  </c:pt>
                  <c:pt idx="1670">
                    <c:v>Rolling Stdev (30 Minute)</c:v>
                  </c:pt>
                  <c:pt idx="1671">
                    <c:v>Rolling Stdev (30 Minute)</c:v>
                  </c:pt>
                  <c:pt idx="1672">
                    <c:v>Rolling Stdev (30 Minute)</c:v>
                  </c:pt>
                  <c:pt idx="1673">
                    <c:v>Rolling Stdev (30 Minute)</c:v>
                  </c:pt>
                  <c:pt idx="1674">
                    <c:v>Rolling Stdev (30 Minute)</c:v>
                  </c:pt>
                  <c:pt idx="1675">
                    <c:v>Rolling Stdev (30 Minute)</c:v>
                  </c:pt>
                  <c:pt idx="1676">
                    <c:v>Rolling Stdev (30 Minute)</c:v>
                  </c:pt>
                  <c:pt idx="1677">
                    <c:v>Rolling Stdev (30 Minute)</c:v>
                  </c:pt>
                  <c:pt idx="1678">
                    <c:v>Rolling Stdev (30 Minute)</c:v>
                  </c:pt>
                  <c:pt idx="1679">
                    <c:v>Rolling Stdev (30 Minute)</c:v>
                  </c:pt>
                  <c:pt idx="1680">
                    <c:v>Rolling Stdev (30 Minute)</c:v>
                  </c:pt>
                  <c:pt idx="1681">
                    <c:v>Rolling Stdev (30 Minute)</c:v>
                  </c:pt>
                  <c:pt idx="1682">
                    <c:v>Rolling Stdev (30 Minute)</c:v>
                  </c:pt>
                  <c:pt idx="1683">
                    <c:v>Rolling Stdev (30 Minute)</c:v>
                  </c:pt>
                  <c:pt idx="1684">
                    <c:v>Rolling Stdev (30 Minute)</c:v>
                  </c:pt>
                  <c:pt idx="1685">
                    <c:v>Rolling Stdev (30 Minute)</c:v>
                  </c:pt>
                  <c:pt idx="1686">
                    <c:v>Rolling Stdev (30 Minute)</c:v>
                  </c:pt>
                  <c:pt idx="1687">
                    <c:v>Rolling Stdev (30 Minute)</c:v>
                  </c:pt>
                  <c:pt idx="1688">
                    <c:v>Rolling Stdev (30 Minute)</c:v>
                  </c:pt>
                  <c:pt idx="1689">
                    <c:v>Rolling Stdev (30 Minute)</c:v>
                  </c:pt>
                  <c:pt idx="1690">
                    <c:v>Rolling Stdev (30 Minute)</c:v>
                  </c:pt>
                  <c:pt idx="1691">
                    <c:v>Rolling Stdev (30 Minute)</c:v>
                  </c:pt>
                  <c:pt idx="1692">
                    <c:v>Rolling Stdev (30 Minute)</c:v>
                  </c:pt>
                  <c:pt idx="1693">
                    <c:v>Rolling Stdev (30 Minute)</c:v>
                  </c:pt>
                  <c:pt idx="1694">
                    <c:v>Rolling Stdev (30 Minute)</c:v>
                  </c:pt>
                  <c:pt idx="1695">
                    <c:v>Rolling Stdev (30 Minute)</c:v>
                  </c:pt>
                  <c:pt idx="1696">
                    <c:v>Rolling Stdev (30 Minute)</c:v>
                  </c:pt>
                  <c:pt idx="1697">
                    <c:v>Rolling Stdev (30 Minute)</c:v>
                  </c:pt>
                  <c:pt idx="1698">
                    <c:v>Rolling Stdev (30 Minute)</c:v>
                  </c:pt>
                  <c:pt idx="1699">
                    <c:v>Rolling Stdev (30 Minute)</c:v>
                  </c:pt>
                  <c:pt idx="1700">
                    <c:v>Rolling Stdev (30 Minute)</c:v>
                  </c:pt>
                  <c:pt idx="1701">
                    <c:v>Rolling Stdev (30 Minute)</c:v>
                  </c:pt>
                  <c:pt idx="1702">
                    <c:v>Rolling Stdev (30 Minute)</c:v>
                  </c:pt>
                  <c:pt idx="1703">
                    <c:v>Rolling Stdev (30 Minute)</c:v>
                  </c:pt>
                  <c:pt idx="1704">
                    <c:v>Rolling Stdev (30 Minute)</c:v>
                  </c:pt>
                  <c:pt idx="1705">
                    <c:v>Rolling Stdev (30 Minute)</c:v>
                  </c:pt>
                  <c:pt idx="1706">
                    <c:v>Rolling Stdev (30 Minute)</c:v>
                  </c:pt>
                  <c:pt idx="1707">
                    <c:v>Rolling Stdev (30 Minute)</c:v>
                  </c:pt>
                  <c:pt idx="1708">
                    <c:v>Rolling Stdev (30 Minute)</c:v>
                  </c:pt>
                  <c:pt idx="1709">
                    <c:v>Rolling Stdev (30 Minute)</c:v>
                  </c:pt>
                  <c:pt idx="1710">
                    <c:v>Rolling Stdev (30 Minute)</c:v>
                  </c:pt>
                  <c:pt idx="1711">
                    <c:v>Rolling Stdev (30 Minute)</c:v>
                  </c:pt>
                  <c:pt idx="1712">
                    <c:v>Rolling Stdev (30 Minute)</c:v>
                  </c:pt>
                  <c:pt idx="1713">
                    <c:v>Rolling Stdev (30 Minute)</c:v>
                  </c:pt>
                  <c:pt idx="1714">
                    <c:v>Rolling Stdev (30 Minute)</c:v>
                  </c:pt>
                  <c:pt idx="1715">
                    <c:v>Rolling Stdev (30 Minute)</c:v>
                  </c:pt>
                  <c:pt idx="1716">
                    <c:v>Rolling Stdev (30 Minute)</c:v>
                  </c:pt>
                  <c:pt idx="1717">
                    <c:v>Rolling Stdev (30 Minute)</c:v>
                  </c:pt>
                  <c:pt idx="1718">
                    <c:v>Rolling Stdev (30 Minute)</c:v>
                  </c:pt>
                  <c:pt idx="1719">
                    <c:v>Rolling Stdev (30 Minute)</c:v>
                  </c:pt>
                  <c:pt idx="1720">
                    <c:v>Rolling Stdev (30 Minute)</c:v>
                  </c:pt>
                  <c:pt idx="1721">
                    <c:v>Rolling Stdev (30 Minute)</c:v>
                  </c:pt>
                  <c:pt idx="1722">
                    <c:v>Rolling Stdev (30 Minute)</c:v>
                  </c:pt>
                  <c:pt idx="1723">
                    <c:v>Rolling Stdev (30 Minute)</c:v>
                  </c:pt>
                  <c:pt idx="1724">
                    <c:v>Rolling Stdev (30 Minute)</c:v>
                  </c:pt>
                  <c:pt idx="1725">
                    <c:v>Rolling Stdev (30 Minute)</c:v>
                  </c:pt>
                  <c:pt idx="1726">
                    <c:v>Rolling Stdev (30 Minute)</c:v>
                  </c:pt>
                  <c:pt idx="1727">
                    <c:v>Rolling Stdev (30 Minute)</c:v>
                  </c:pt>
                  <c:pt idx="1728">
                    <c:v>Rolling Stdev (30 Minute)</c:v>
                  </c:pt>
                  <c:pt idx="1729">
                    <c:v>Rolling Stdev (30 Minute)</c:v>
                  </c:pt>
                  <c:pt idx="1730">
                    <c:v>Rolling Stdev (30 Minute)</c:v>
                  </c:pt>
                  <c:pt idx="1731">
                    <c:v>Rolling Stdev (30 Minute)</c:v>
                  </c:pt>
                  <c:pt idx="1732">
                    <c:v>Rolling Stdev (30 Minute)</c:v>
                  </c:pt>
                  <c:pt idx="1733">
                    <c:v>Rolling Stdev (30 Minute)</c:v>
                  </c:pt>
                  <c:pt idx="1734">
                    <c:v>Rolling Stdev (30 Minute)</c:v>
                  </c:pt>
                  <c:pt idx="1735">
                    <c:v>Rolling Stdev (30 Minute)</c:v>
                  </c:pt>
                  <c:pt idx="1736">
                    <c:v>Rolling Stdev (30 Minute)</c:v>
                  </c:pt>
                  <c:pt idx="1737">
                    <c:v>Rolling Stdev (30 Minute)</c:v>
                  </c:pt>
                  <c:pt idx="1738">
                    <c:v>Rolling Stdev (30 Minute)</c:v>
                  </c:pt>
                  <c:pt idx="1739">
                    <c:v>Rolling Stdev (30 Minute)</c:v>
                  </c:pt>
                  <c:pt idx="1740">
                    <c:v>Rolling Stdev (30 Minute)</c:v>
                  </c:pt>
                  <c:pt idx="1741">
                    <c:v>Rolling Stdev (30 Minute)</c:v>
                  </c:pt>
                  <c:pt idx="1742">
                    <c:v>Rolling Stdev (30 Minute)</c:v>
                  </c:pt>
                  <c:pt idx="1743">
                    <c:v>Rolling Stdev (30 Minute)</c:v>
                  </c:pt>
                  <c:pt idx="1744">
                    <c:v>Rolling Stdev (30 Minute)</c:v>
                  </c:pt>
                  <c:pt idx="1745">
                    <c:v>Rolling Stdev (30 Minute)</c:v>
                  </c:pt>
                  <c:pt idx="1746">
                    <c:v>Rolling Stdev (30 Minute)</c:v>
                  </c:pt>
                  <c:pt idx="1747">
                    <c:v>Rolling Stdev (30 Minute)</c:v>
                  </c:pt>
                  <c:pt idx="1748">
                    <c:v>Rolling Stdev (30 Minute)</c:v>
                  </c:pt>
                  <c:pt idx="1749">
                    <c:v>Rolling Stdev (30 Minute)</c:v>
                  </c:pt>
                  <c:pt idx="1750">
                    <c:v>Rolling Stdev (30 Minute)</c:v>
                  </c:pt>
                  <c:pt idx="1751">
                    <c:v>Rolling Stdev (30 Minute)</c:v>
                  </c:pt>
                  <c:pt idx="1752">
                    <c:v>Rolling Stdev (30 Minute)</c:v>
                  </c:pt>
                  <c:pt idx="1753">
                    <c:v>Rolling Stdev (30 Minute)</c:v>
                  </c:pt>
                  <c:pt idx="1754">
                    <c:v>Rolling Stdev (30 Minute)</c:v>
                  </c:pt>
                  <c:pt idx="1755">
                    <c:v>Rolling Stdev (30 Minute)</c:v>
                  </c:pt>
                  <c:pt idx="1756">
                    <c:v>Rolling Stdev (30 Minute)</c:v>
                  </c:pt>
                  <c:pt idx="1757">
                    <c:v>Rolling Stdev (30 Minute)</c:v>
                  </c:pt>
                  <c:pt idx="1758">
                    <c:v>Rolling Stdev (30 Minute)</c:v>
                  </c:pt>
                  <c:pt idx="1759">
                    <c:v>Rolling Stdev (30 Minute)</c:v>
                  </c:pt>
                  <c:pt idx="1760">
                    <c:v>Rolling Stdev (30 Minute)</c:v>
                  </c:pt>
                  <c:pt idx="1761">
                    <c:v>Rolling Stdev (30 Minute)</c:v>
                  </c:pt>
                  <c:pt idx="1762">
                    <c:v>Rolling Stdev (30 Minute)</c:v>
                  </c:pt>
                  <c:pt idx="1763">
                    <c:v>Rolling Stdev (30 Minute)</c:v>
                  </c:pt>
                  <c:pt idx="1764">
                    <c:v>Rolling Stdev (30 Minute)</c:v>
                  </c:pt>
                  <c:pt idx="1765">
                    <c:v>Rolling Stdev (30 Minute)</c:v>
                  </c:pt>
                  <c:pt idx="1766">
                    <c:v>Rolling Stdev (30 Minute)</c:v>
                  </c:pt>
                  <c:pt idx="1767">
                    <c:v>Rolling Stdev (30 Minute)</c:v>
                  </c:pt>
                  <c:pt idx="1768">
                    <c:v>Rolling Stdev (30 Minute)</c:v>
                  </c:pt>
                  <c:pt idx="1769">
                    <c:v>Rolling Stdev (30 Minute)</c:v>
                  </c:pt>
                  <c:pt idx="1770">
                    <c:v>Rolling Stdev (30 Minute)</c:v>
                  </c:pt>
                  <c:pt idx="1771">
                    <c:v>Rolling Stdev (30 Minute)</c:v>
                  </c:pt>
                  <c:pt idx="1772">
                    <c:v>Rolling Stdev (30 Minute)</c:v>
                  </c:pt>
                  <c:pt idx="1773">
                    <c:v>Rolling Stdev (30 Minute)</c:v>
                  </c:pt>
                  <c:pt idx="1774">
                    <c:v>Rolling Stdev (30 Minute)</c:v>
                  </c:pt>
                  <c:pt idx="1775">
                    <c:v>Rolling Stdev (30 Minute)</c:v>
                  </c:pt>
                  <c:pt idx="1776">
                    <c:v>Rolling Stdev (30 Minute)</c:v>
                  </c:pt>
                  <c:pt idx="1777">
                    <c:v>Rolling Stdev (30 Minute)</c:v>
                  </c:pt>
                  <c:pt idx="1778">
                    <c:v>Rolling Stdev (30 Minute)</c:v>
                  </c:pt>
                  <c:pt idx="1779">
                    <c:v>Rolling Stdev (30 Minute)</c:v>
                  </c:pt>
                  <c:pt idx="1780">
                    <c:v>Rolling Stdev (30 Minute)</c:v>
                  </c:pt>
                  <c:pt idx="1781">
                    <c:v>Rolling Stdev (30 Minute)</c:v>
                  </c:pt>
                  <c:pt idx="1782">
                    <c:v>Rolling Stdev (30 Minute)</c:v>
                  </c:pt>
                  <c:pt idx="1783">
                    <c:v>Rolling Stdev (30 Minute)</c:v>
                  </c:pt>
                  <c:pt idx="1784">
                    <c:v>Rolling Stdev (30 Minute)</c:v>
                  </c:pt>
                  <c:pt idx="1785">
                    <c:v>Rolling Stdev (30 Minute)</c:v>
                  </c:pt>
                  <c:pt idx="1786">
                    <c:v>Rolling Stdev (30 Minute)</c:v>
                  </c:pt>
                  <c:pt idx="1787">
                    <c:v>Rolling Stdev (30 Minute)</c:v>
                  </c:pt>
                  <c:pt idx="1788">
                    <c:v>Rolling Stdev (30 Minute)</c:v>
                  </c:pt>
                  <c:pt idx="1789">
                    <c:v>Rolling Stdev (30 Minute)</c:v>
                  </c:pt>
                  <c:pt idx="1790">
                    <c:v>Rolling Stdev (30 Minute)</c:v>
                  </c:pt>
                  <c:pt idx="1791">
                    <c:v>Rolling Stdev (30 Minute)</c:v>
                  </c:pt>
                  <c:pt idx="1792">
                    <c:v>Rolling Stdev (30 Minute)</c:v>
                  </c:pt>
                  <c:pt idx="1793">
                    <c:v>Rolling Stdev (30 Minute)</c:v>
                  </c:pt>
                  <c:pt idx="1794">
                    <c:v>Rolling Stdev (30 Minute)</c:v>
                  </c:pt>
                  <c:pt idx="1795">
                    <c:v>Rolling Stdev (30 Minute)</c:v>
                  </c:pt>
                  <c:pt idx="1796">
                    <c:v>Rolling Stdev (30 Minute)</c:v>
                  </c:pt>
                  <c:pt idx="1797">
                    <c:v>Rolling Stdev (30 Minute)</c:v>
                  </c:pt>
                  <c:pt idx="1798">
                    <c:v>Rolling Stdev (30 Minute)</c:v>
                  </c:pt>
                  <c:pt idx="1799">
                    <c:v>Rolling Stdev (30 Minute)</c:v>
                  </c:pt>
                  <c:pt idx="1800">
                    <c:v>Rolling Stdev (30 Minute)</c:v>
                  </c:pt>
                  <c:pt idx="1801">
                    <c:v>Rolling Stdev (30 Minute)</c:v>
                  </c:pt>
                  <c:pt idx="1802">
                    <c:v>Rolling Stdev (30 Minute)</c:v>
                  </c:pt>
                  <c:pt idx="1803">
                    <c:v>Rolling Stdev (30 Minute)</c:v>
                  </c:pt>
                  <c:pt idx="1804">
                    <c:v>Rolling Stdev (30 Minute)</c:v>
                  </c:pt>
                  <c:pt idx="1805">
                    <c:v>Rolling Stdev (30 Minute)</c:v>
                  </c:pt>
                  <c:pt idx="1806">
                    <c:v>Rolling Stdev (30 Minute)</c:v>
                  </c:pt>
                  <c:pt idx="1807">
                    <c:v>Rolling Stdev (30 Minute)</c:v>
                  </c:pt>
                  <c:pt idx="1808">
                    <c:v>Rolling Stdev (30 Minute)</c:v>
                  </c:pt>
                  <c:pt idx="1809">
                    <c:v>Rolling Stdev (30 Minute)</c:v>
                  </c:pt>
                  <c:pt idx="1810">
                    <c:v>Rolling Stdev (30 Minute)</c:v>
                  </c:pt>
                  <c:pt idx="1811">
                    <c:v>Rolling Stdev (30 Minute)</c:v>
                  </c:pt>
                  <c:pt idx="1812">
                    <c:v>Rolling Stdev (30 Minute)</c:v>
                  </c:pt>
                  <c:pt idx="1813">
                    <c:v>Rolling Stdev (30 Minute)</c:v>
                  </c:pt>
                  <c:pt idx="1814">
                    <c:v>Rolling Stdev (30 Minute)</c:v>
                  </c:pt>
                  <c:pt idx="1815">
                    <c:v>Rolling Stdev (30 Minute)</c:v>
                  </c:pt>
                  <c:pt idx="1816">
                    <c:v>Rolling Stdev (30 Minute)</c:v>
                  </c:pt>
                  <c:pt idx="1817">
                    <c:v>Rolling Stdev (30 Minute)</c:v>
                  </c:pt>
                  <c:pt idx="1818">
                    <c:v>Rolling Stdev (30 Minute)</c:v>
                  </c:pt>
                  <c:pt idx="1819">
                    <c:v>Rolling Stdev (30 Minute)</c:v>
                  </c:pt>
                  <c:pt idx="1820">
                    <c:v>Rolling Stdev (30 Minute)</c:v>
                  </c:pt>
                  <c:pt idx="1821">
                    <c:v>Rolling Stdev (30 Minute)</c:v>
                  </c:pt>
                  <c:pt idx="1822">
                    <c:v>Rolling Stdev (30 Minute)</c:v>
                  </c:pt>
                  <c:pt idx="1823">
                    <c:v>Rolling Stdev (30 Minute)</c:v>
                  </c:pt>
                  <c:pt idx="1824">
                    <c:v>Rolling Stdev (30 Minute)</c:v>
                  </c:pt>
                  <c:pt idx="1825">
                    <c:v>Rolling Stdev (30 Minute)</c:v>
                  </c:pt>
                  <c:pt idx="1826">
                    <c:v>Rolling Stdev (30 Minute)</c:v>
                  </c:pt>
                  <c:pt idx="1827">
                    <c:v>Rolling Stdev (30 Minute)</c:v>
                  </c:pt>
                  <c:pt idx="1828">
                    <c:v>Rolling Stdev (30 Minute)</c:v>
                  </c:pt>
                  <c:pt idx="1829">
                    <c:v>Rolling Stdev (30 Minute)</c:v>
                  </c:pt>
                  <c:pt idx="1830">
                    <c:v>Rolling Stdev (30 Minute)</c:v>
                  </c:pt>
                  <c:pt idx="1831">
                    <c:v>Rolling Stdev (30 Minute)</c:v>
                  </c:pt>
                  <c:pt idx="1832">
                    <c:v>Rolling Stdev (30 Minute)</c:v>
                  </c:pt>
                  <c:pt idx="1833">
                    <c:v>Rolling Stdev (30 Minute)</c:v>
                  </c:pt>
                  <c:pt idx="1834">
                    <c:v>Rolling Stdev (30 Minute)</c:v>
                  </c:pt>
                  <c:pt idx="1835">
                    <c:v>Rolling Stdev (30 Minute)</c:v>
                  </c:pt>
                  <c:pt idx="1836">
                    <c:v>Rolling Stdev (30 Minute)</c:v>
                  </c:pt>
                  <c:pt idx="1837">
                    <c:v>Rolling Stdev (30 Minute)</c:v>
                  </c:pt>
                  <c:pt idx="1838">
                    <c:v>Rolling Stdev (30 Minute)</c:v>
                  </c:pt>
                  <c:pt idx="1839">
                    <c:v>Rolling Stdev (30 Minute)</c:v>
                  </c:pt>
                  <c:pt idx="1840">
                    <c:v>Rolling Stdev (30 Minute)</c:v>
                  </c:pt>
                  <c:pt idx="1841">
                    <c:v>Rolling Stdev (30 Minute)</c:v>
                  </c:pt>
                  <c:pt idx="1842">
                    <c:v>Rolling Stdev (30 Minute)</c:v>
                  </c:pt>
                  <c:pt idx="1843">
                    <c:v>Rolling Stdev (30 Minute)</c:v>
                  </c:pt>
                  <c:pt idx="1844">
                    <c:v>Rolling Stdev (30 Minute)</c:v>
                  </c:pt>
                  <c:pt idx="1845">
                    <c:v>Rolling Stdev (30 Minute)</c:v>
                  </c:pt>
                  <c:pt idx="1846">
                    <c:v>Rolling Stdev (30 Minute)</c:v>
                  </c:pt>
                  <c:pt idx="1847">
                    <c:v>Rolling Stdev (30 Minute)</c:v>
                  </c:pt>
                  <c:pt idx="1848">
                    <c:v>Rolling Stdev (30 Minute)</c:v>
                  </c:pt>
                  <c:pt idx="1849">
                    <c:v>Rolling Stdev (30 Minute)</c:v>
                  </c:pt>
                  <c:pt idx="1850">
                    <c:v>Rolling Stdev (30 Minute)</c:v>
                  </c:pt>
                  <c:pt idx="1851">
                    <c:v>Rolling Stdev (30 Minute)</c:v>
                  </c:pt>
                  <c:pt idx="1852">
                    <c:v>Rolling Stdev (30 Minute)</c:v>
                  </c:pt>
                  <c:pt idx="1853">
                    <c:v>Rolling Stdev (30 Minute)</c:v>
                  </c:pt>
                  <c:pt idx="1854">
                    <c:v>Rolling Stdev (30 Minute)</c:v>
                  </c:pt>
                  <c:pt idx="1855">
                    <c:v>Rolling Stdev (30 Minute)</c:v>
                  </c:pt>
                  <c:pt idx="1856">
                    <c:v>Rolling Stdev (30 Minute)</c:v>
                  </c:pt>
                  <c:pt idx="1857">
                    <c:v>Rolling Stdev (30 Minute)</c:v>
                  </c:pt>
                  <c:pt idx="1858">
                    <c:v>Rolling Stdev (30 Minute)</c:v>
                  </c:pt>
                  <c:pt idx="1859">
                    <c:v>Rolling Stdev (30 Minute)</c:v>
                  </c:pt>
                  <c:pt idx="1860">
                    <c:v>Rolling Stdev (30 Minute)</c:v>
                  </c:pt>
                  <c:pt idx="1861">
                    <c:v>Rolling Stdev (30 Minute)</c:v>
                  </c:pt>
                  <c:pt idx="1862">
                    <c:v>Rolling Stdev (30 Minute)</c:v>
                  </c:pt>
                  <c:pt idx="1863">
                    <c:v>Rolling Stdev (30 Minute)</c:v>
                  </c:pt>
                  <c:pt idx="1864">
                    <c:v>Rolling Stdev (30 Minute)</c:v>
                  </c:pt>
                  <c:pt idx="1865">
                    <c:v>Rolling Stdev (30 Minute)</c:v>
                  </c:pt>
                  <c:pt idx="1866">
                    <c:v>Rolling Stdev (30 Minute)</c:v>
                  </c:pt>
                  <c:pt idx="1867">
                    <c:v>Rolling Stdev (30 Minute)</c:v>
                  </c:pt>
                  <c:pt idx="1868">
                    <c:v>Rolling Stdev (30 Minute)</c:v>
                  </c:pt>
                  <c:pt idx="1869">
                    <c:v>Rolling Stdev (30 Minute)</c:v>
                  </c:pt>
                  <c:pt idx="1870">
                    <c:v>Rolling Stdev (30 Minute)</c:v>
                  </c:pt>
                  <c:pt idx="1871">
                    <c:v>Rolling Stdev (30 Minute)</c:v>
                  </c:pt>
                  <c:pt idx="1872">
                    <c:v>Rolling Stdev (30 Minute)</c:v>
                  </c:pt>
                  <c:pt idx="1873">
                    <c:v>Rolling Stdev (30 Minute)</c:v>
                  </c:pt>
                  <c:pt idx="1874">
                    <c:v>Rolling Stdev (30 Minute)</c:v>
                  </c:pt>
                  <c:pt idx="1875">
                    <c:v>Rolling Stdev (30 Minute)</c:v>
                  </c:pt>
                  <c:pt idx="1876">
                    <c:v>Rolling Stdev (30 Minute)</c:v>
                  </c:pt>
                  <c:pt idx="1877">
                    <c:v>Rolling Stdev (30 Minute)</c:v>
                  </c:pt>
                  <c:pt idx="1878">
                    <c:v>Rolling Stdev (30 Minute)</c:v>
                  </c:pt>
                  <c:pt idx="1879">
                    <c:v>Rolling Stdev (30 Minute)</c:v>
                  </c:pt>
                  <c:pt idx="1880">
                    <c:v>Rolling Stdev (30 Minute)</c:v>
                  </c:pt>
                  <c:pt idx="1881">
                    <c:v>Rolling Stdev (30 Minute)</c:v>
                  </c:pt>
                  <c:pt idx="1882">
                    <c:v>Rolling Stdev (30 Minute)</c:v>
                  </c:pt>
                  <c:pt idx="1883">
                    <c:v>Rolling Stdev (30 Minute)</c:v>
                  </c:pt>
                  <c:pt idx="1884">
                    <c:v>Rolling Stdev (30 Minute)</c:v>
                  </c:pt>
                  <c:pt idx="1885">
                    <c:v>Rolling Stdev (30 Minute)</c:v>
                  </c:pt>
                  <c:pt idx="1886">
                    <c:v>Rolling Stdev (30 Minute)</c:v>
                  </c:pt>
                  <c:pt idx="1887">
                    <c:v>Rolling Stdev (30 Minute)</c:v>
                  </c:pt>
                  <c:pt idx="1888">
                    <c:v>Rolling Stdev (30 Minute)</c:v>
                  </c:pt>
                  <c:pt idx="1889">
                    <c:v>Rolling Stdev (30 Minute)</c:v>
                  </c:pt>
                  <c:pt idx="1890">
                    <c:v>Rolling Stdev (30 Minute)</c:v>
                  </c:pt>
                  <c:pt idx="1891">
                    <c:v>Rolling Stdev (30 Minute)</c:v>
                  </c:pt>
                  <c:pt idx="1892">
                    <c:v>Rolling Stdev (30 Minute)</c:v>
                  </c:pt>
                  <c:pt idx="1893">
                    <c:v>Rolling Stdev (30 Minute)</c:v>
                  </c:pt>
                  <c:pt idx="1894">
                    <c:v>Rolling Stdev (30 Minute)</c:v>
                  </c:pt>
                  <c:pt idx="1895">
                    <c:v>Rolling Stdev (30 Minute)</c:v>
                  </c:pt>
                  <c:pt idx="1896">
                    <c:v>Rolling Stdev (30 Minute)</c:v>
                  </c:pt>
                  <c:pt idx="1897">
                    <c:v>Rolling Stdev (30 Minute)</c:v>
                  </c:pt>
                  <c:pt idx="1898">
                    <c:v>Rolling Stdev (30 Minute)</c:v>
                  </c:pt>
                  <c:pt idx="1899">
                    <c:v>Rolling Stdev (30 Minute)</c:v>
                  </c:pt>
                  <c:pt idx="1900">
                    <c:v>Rolling Stdev (30 Minute)</c:v>
                  </c:pt>
                  <c:pt idx="1901">
                    <c:v>Rolling Stdev (30 Minute)</c:v>
                  </c:pt>
                  <c:pt idx="1902">
                    <c:v>Rolling Stdev (30 Minute)</c:v>
                  </c:pt>
                  <c:pt idx="1903">
                    <c:v>Rolling Stdev (30 Minute)</c:v>
                  </c:pt>
                  <c:pt idx="1904">
                    <c:v>Rolling Stdev (30 Minute)</c:v>
                  </c:pt>
                  <c:pt idx="1905">
                    <c:v>Rolling Stdev (30 Minute)</c:v>
                  </c:pt>
                  <c:pt idx="1906">
                    <c:v>Rolling Stdev (30 Minute)</c:v>
                  </c:pt>
                  <c:pt idx="1907">
                    <c:v>Rolling Stdev (30 Minute)</c:v>
                  </c:pt>
                  <c:pt idx="1908">
                    <c:v>Rolling Stdev (30 Minute)</c:v>
                  </c:pt>
                  <c:pt idx="1909">
                    <c:v>Rolling Stdev (30 Minute)</c:v>
                  </c:pt>
                  <c:pt idx="1910">
                    <c:v>Rolling Stdev (30 Minute)</c:v>
                  </c:pt>
                  <c:pt idx="1911">
                    <c:v>Rolling Stdev (30 Minute)</c:v>
                  </c:pt>
                  <c:pt idx="1912">
                    <c:v>Rolling Stdev (30 Minute)</c:v>
                  </c:pt>
                  <c:pt idx="1913">
                    <c:v>Rolling Stdev (30 Minute)</c:v>
                  </c:pt>
                  <c:pt idx="1914">
                    <c:v>Rolling Stdev (30 Minute)</c:v>
                  </c:pt>
                  <c:pt idx="1915">
                    <c:v>Rolling Stdev (30 Minute)</c:v>
                  </c:pt>
                  <c:pt idx="1916">
                    <c:v>Rolling Stdev (30 Minute)</c:v>
                  </c:pt>
                  <c:pt idx="1917">
                    <c:v>Rolling Stdev (30 Minute)</c:v>
                  </c:pt>
                  <c:pt idx="1918">
                    <c:v>Rolling Stdev (30 Minute)</c:v>
                  </c:pt>
                  <c:pt idx="1919">
                    <c:v>Rolling Stdev (30 Minute)</c:v>
                  </c:pt>
                  <c:pt idx="1920">
                    <c:v>Rolling Stdev (30 Minute)</c:v>
                  </c:pt>
                  <c:pt idx="1921">
                    <c:v>Rolling Stdev (30 Minute)</c:v>
                  </c:pt>
                  <c:pt idx="1922">
                    <c:v>Rolling Stdev (30 Minute)</c:v>
                  </c:pt>
                  <c:pt idx="1923">
                    <c:v>Rolling Stdev (30 Minute)</c:v>
                  </c:pt>
                  <c:pt idx="1924">
                    <c:v>Rolling Stdev (30 Minute)</c:v>
                  </c:pt>
                  <c:pt idx="1925">
                    <c:v>Rolling Stdev (30 Minute)</c:v>
                  </c:pt>
                  <c:pt idx="1926">
                    <c:v>Rolling Stdev (30 Minute)</c:v>
                  </c:pt>
                  <c:pt idx="1927">
                    <c:v>Rolling Stdev (30 Minute)</c:v>
                  </c:pt>
                  <c:pt idx="1928">
                    <c:v>Rolling Stdev (30 Minute)</c:v>
                  </c:pt>
                  <c:pt idx="1929">
                    <c:v>Rolling Stdev (30 Minute)</c:v>
                  </c:pt>
                  <c:pt idx="1930">
                    <c:v>Rolling Stdev (30 Minute)</c:v>
                  </c:pt>
                  <c:pt idx="1931">
                    <c:v>Rolling Stdev (30 Minute)</c:v>
                  </c:pt>
                  <c:pt idx="1932">
                    <c:v>Rolling Stdev (30 Minute)</c:v>
                  </c:pt>
                  <c:pt idx="1933">
                    <c:v>Rolling Stdev (30 Minute)</c:v>
                  </c:pt>
                  <c:pt idx="1934">
                    <c:v>Rolling Stdev (30 Minute)</c:v>
                  </c:pt>
                  <c:pt idx="1935">
                    <c:v>Rolling Stdev (30 Minute)</c:v>
                  </c:pt>
                  <c:pt idx="1936">
                    <c:v>Rolling Stdev (30 Minute)</c:v>
                  </c:pt>
                  <c:pt idx="1937">
                    <c:v>Rolling Stdev (30 Minute)</c:v>
                  </c:pt>
                  <c:pt idx="1938">
                    <c:v>Rolling Stdev (30 Minute)</c:v>
                  </c:pt>
                  <c:pt idx="1939">
                    <c:v>Rolling Stdev (30 Minute)</c:v>
                  </c:pt>
                  <c:pt idx="1940">
                    <c:v>Rolling Stdev (30 Minute)</c:v>
                  </c:pt>
                  <c:pt idx="1941">
                    <c:v>Rolling Stdev (30 Minute)</c:v>
                  </c:pt>
                  <c:pt idx="1942">
                    <c:v>Rolling Stdev (30 Minute)</c:v>
                  </c:pt>
                  <c:pt idx="1943">
                    <c:v>Rolling Stdev (30 Minute)</c:v>
                  </c:pt>
                  <c:pt idx="1944">
                    <c:v>Rolling Stdev (30 Minute)</c:v>
                  </c:pt>
                  <c:pt idx="1945">
                    <c:v>Rolling Stdev (30 Minute)</c:v>
                  </c:pt>
                  <c:pt idx="1946">
                    <c:v>Rolling Stdev (30 Minute)</c:v>
                  </c:pt>
                  <c:pt idx="1947">
                    <c:v>Rolling Stdev (30 Minute)</c:v>
                  </c:pt>
                  <c:pt idx="1948">
                    <c:v>Rolling Stdev (30 Minute)</c:v>
                  </c:pt>
                  <c:pt idx="1949">
                    <c:v>Rolling Stdev (30 Minute)</c:v>
                  </c:pt>
                  <c:pt idx="1950">
                    <c:v>Rolling Stdev (30 Minute)</c:v>
                  </c:pt>
                  <c:pt idx="1951">
                    <c:v>Rolling Stdev (30 Minute)</c:v>
                  </c:pt>
                  <c:pt idx="1952">
                    <c:v>Rolling Stdev (30 Minute)</c:v>
                  </c:pt>
                  <c:pt idx="1953">
                    <c:v>Rolling Stdev (30 Minute)</c:v>
                  </c:pt>
                  <c:pt idx="1954">
                    <c:v>Rolling Stdev (30 Minute)</c:v>
                  </c:pt>
                  <c:pt idx="1955">
                    <c:v>Rolling Stdev (30 Minute)</c:v>
                  </c:pt>
                  <c:pt idx="1956">
                    <c:v>Rolling Stdev (30 Minute)</c:v>
                  </c:pt>
                  <c:pt idx="1957">
                    <c:v>Rolling Stdev (30 Minute)</c:v>
                  </c:pt>
                  <c:pt idx="1958">
                    <c:v>Rolling Stdev (30 Minute)</c:v>
                  </c:pt>
                  <c:pt idx="1959">
                    <c:v>Rolling Stdev (30 Minute)</c:v>
                  </c:pt>
                  <c:pt idx="1960">
                    <c:v>Rolling Stdev (30 Minute)</c:v>
                  </c:pt>
                  <c:pt idx="1961">
                    <c:v>Rolling Stdev (30 Minute)</c:v>
                  </c:pt>
                  <c:pt idx="1962">
                    <c:v>Rolling Stdev (30 Minute)</c:v>
                  </c:pt>
                  <c:pt idx="1963">
                    <c:v>Rolling Stdev (30 Minute)</c:v>
                  </c:pt>
                  <c:pt idx="1964">
                    <c:v>Rolling Stdev (30 Minute)</c:v>
                  </c:pt>
                  <c:pt idx="1965">
                    <c:v>Rolling Stdev (30 Minute)</c:v>
                  </c:pt>
                  <c:pt idx="1966">
                    <c:v>Rolling Stdev (30 Minute)</c:v>
                  </c:pt>
                  <c:pt idx="1967">
                    <c:v>Rolling Stdev (30 Minute)</c:v>
                  </c:pt>
                  <c:pt idx="1968">
                    <c:v>Rolling Stdev (30 Minute)</c:v>
                  </c:pt>
                  <c:pt idx="1969">
                    <c:v>Rolling Stdev (30 Minute)</c:v>
                  </c:pt>
                  <c:pt idx="1970">
                    <c:v>Rolling Stdev (30 Minute)</c:v>
                  </c:pt>
                  <c:pt idx="1971">
                    <c:v>Rolling Stdev (30 Minute)</c:v>
                  </c:pt>
                  <c:pt idx="1972">
                    <c:v>Rolling Stdev (30 Minute)</c:v>
                  </c:pt>
                  <c:pt idx="1973">
                    <c:v>Rolling Stdev (30 Minute)</c:v>
                  </c:pt>
                  <c:pt idx="1974">
                    <c:v>Rolling Stdev (30 Minute)</c:v>
                  </c:pt>
                  <c:pt idx="1975">
                    <c:v>Rolling Stdev (30 Minute)</c:v>
                  </c:pt>
                  <c:pt idx="1976">
                    <c:v>Rolling Stdev (30 Minute)</c:v>
                  </c:pt>
                  <c:pt idx="1977">
                    <c:v>Rolling Stdev (30 Minute)</c:v>
                  </c:pt>
                  <c:pt idx="1978">
                    <c:v>Rolling Stdev (30 Minute)</c:v>
                  </c:pt>
                  <c:pt idx="1979">
                    <c:v>Rolling Stdev (30 Minute)</c:v>
                  </c:pt>
                  <c:pt idx="1980">
                    <c:v>Rolling Stdev (30 Minute)</c:v>
                  </c:pt>
                  <c:pt idx="1981">
                    <c:v>Rolling Stdev (30 Minute)</c:v>
                  </c:pt>
                  <c:pt idx="1982">
                    <c:v>Rolling Stdev (30 Minute)</c:v>
                  </c:pt>
                  <c:pt idx="1983">
                    <c:v>Rolling Stdev (30 Minute)</c:v>
                  </c:pt>
                  <c:pt idx="1984">
                    <c:v>Rolling Stdev (30 Minute)</c:v>
                  </c:pt>
                  <c:pt idx="1985">
                    <c:v>Rolling Stdev (30 Minute)</c:v>
                  </c:pt>
                  <c:pt idx="1986">
                    <c:v>Rolling Stdev (30 Minute)</c:v>
                  </c:pt>
                  <c:pt idx="1987">
                    <c:v>Rolling Stdev (30 Minute)</c:v>
                  </c:pt>
                  <c:pt idx="1988">
                    <c:v>Rolling Stdev (30 Minute)</c:v>
                  </c:pt>
                  <c:pt idx="1989">
                    <c:v>Rolling Stdev (30 Minute)</c:v>
                  </c:pt>
                  <c:pt idx="1990">
                    <c:v>Rolling Stdev (30 Minute)</c:v>
                  </c:pt>
                  <c:pt idx="1991">
                    <c:v>Rolling Stdev (30 Minute)</c:v>
                  </c:pt>
                  <c:pt idx="1992">
                    <c:v>Rolling Stdev (30 Minute)</c:v>
                  </c:pt>
                  <c:pt idx="1993">
                    <c:v>Rolling Stdev (30 Minute)</c:v>
                  </c:pt>
                  <c:pt idx="1994">
                    <c:v>Rolling Stdev (30 Minute)</c:v>
                  </c:pt>
                  <c:pt idx="1995">
                    <c:v>Rolling Stdev (30 Minute)</c:v>
                  </c:pt>
                  <c:pt idx="1996">
                    <c:v>Rolling Stdev (30 Minute)</c:v>
                  </c:pt>
                  <c:pt idx="1997">
                    <c:v>Rolling Stdev (30 Minute)</c:v>
                  </c:pt>
                  <c:pt idx="1998">
                    <c:v>Rolling Stdev (30 Minute)</c:v>
                  </c:pt>
                  <c:pt idx="1999">
                    <c:v>Rolling Stdev (30 Minute)</c:v>
                  </c:pt>
                  <c:pt idx="2000">
                    <c:v>Rolling Stdev (30 Minute)</c:v>
                  </c:pt>
                  <c:pt idx="2001">
                    <c:v>Rolling Stdev (30 Minute)</c:v>
                  </c:pt>
                  <c:pt idx="2002">
                    <c:v>Rolling Stdev (30 Minute)</c:v>
                  </c:pt>
                  <c:pt idx="2003">
                    <c:v>Rolling Stdev (30 Minute)</c:v>
                  </c:pt>
                  <c:pt idx="2004">
                    <c:v>Rolling Stdev (30 Minute)</c:v>
                  </c:pt>
                  <c:pt idx="2005">
                    <c:v>Rolling Stdev (30 Minute)</c:v>
                  </c:pt>
                  <c:pt idx="2006">
                    <c:v>Rolling Stdev (30 Minute)</c:v>
                  </c:pt>
                  <c:pt idx="2007">
                    <c:v>Rolling Stdev (30 Minute)</c:v>
                  </c:pt>
                  <c:pt idx="2008">
                    <c:v>Rolling Stdev (30 Minute)</c:v>
                  </c:pt>
                  <c:pt idx="2009">
                    <c:v>Rolling Stdev (30 Minute)</c:v>
                  </c:pt>
                  <c:pt idx="2010">
                    <c:v>Rolling Stdev (30 Minute)</c:v>
                  </c:pt>
                  <c:pt idx="2011">
                    <c:v>Rolling Stdev (30 Minute)</c:v>
                  </c:pt>
                  <c:pt idx="2012">
                    <c:v>Rolling Stdev (30 Minute)</c:v>
                  </c:pt>
                  <c:pt idx="2013">
                    <c:v>Rolling Stdev (30 Minute)</c:v>
                  </c:pt>
                  <c:pt idx="2014">
                    <c:v>Rolling Stdev (30 Minute)</c:v>
                  </c:pt>
                  <c:pt idx="2015">
                    <c:v>Rolling Stdev (30 Minute)</c:v>
                  </c:pt>
                  <c:pt idx="2016">
                    <c:v>Rolling Stdev (30 Minute)</c:v>
                  </c:pt>
                  <c:pt idx="2017">
                    <c:v>Rolling Stdev (30 Minute)</c:v>
                  </c:pt>
                  <c:pt idx="2018">
                    <c:v>Rolling Stdev (30 Minute)</c:v>
                  </c:pt>
                  <c:pt idx="2019">
                    <c:v>Rolling Stdev (30 Minute)</c:v>
                  </c:pt>
                  <c:pt idx="2020">
                    <c:v>Rolling Stdev (30 Minute)</c:v>
                  </c:pt>
                  <c:pt idx="2021">
                    <c:v>Rolling Stdev (30 Minute)</c:v>
                  </c:pt>
                  <c:pt idx="2022">
                    <c:v>Rolling Stdev (30 Minute)</c:v>
                  </c:pt>
                  <c:pt idx="2023">
                    <c:v>Rolling Stdev (30 Minute)</c:v>
                  </c:pt>
                  <c:pt idx="2024">
                    <c:v>Rolling Stdev (30 Minute)</c:v>
                  </c:pt>
                  <c:pt idx="2025">
                    <c:v>Rolling Stdev (30 Minute)</c:v>
                  </c:pt>
                  <c:pt idx="2026">
                    <c:v>Rolling Stdev (30 Minute)</c:v>
                  </c:pt>
                  <c:pt idx="2027">
                    <c:v>Rolling Stdev (30 Minute)</c:v>
                  </c:pt>
                  <c:pt idx="2028">
                    <c:v>Rolling Stdev (30 Minute)</c:v>
                  </c:pt>
                  <c:pt idx="2029">
                    <c:v>Rolling Stdev (30 Minute)</c:v>
                  </c:pt>
                  <c:pt idx="2030">
                    <c:v>Rolling Stdev (30 Minute)</c:v>
                  </c:pt>
                  <c:pt idx="2031">
                    <c:v>Rolling Stdev (30 Minute)</c:v>
                  </c:pt>
                  <c:pt idx="2032">
                    <c:v>Rolling Stdev (30 Minute)</c:v>
                  </c:pt>
                  <c:pt idx="2033">
                    <c:v>Rolling Stdev (30 Minute)</c:v>
                  </c:pt>
                  <c:pt idx="2034">
                    <c:v>Rolling Stdev (30 Minute)</c:v>
                  </c:pt>
                  <c:pt idx="2035">
                    <c:v>Rolling Stdev (30 Minute)</c:v>
                  </c:pt>
                  <c:pt idx="2036">
                    <c:v>Rolling Stdev (30 Minute)</c:v>
                  </c:pt>
                  <c:pt idx="2037">
                    <c:v>Rolling Stdev (30 Minute)</c:v>
                  </c:pt>
                  <c:pt idx="2038">
                    <c:v>Rolling Stdev (30 Minute)</c:v>
                  </c:pt>
                  <c:pt idx="2039">
                    <c:v>Rolling Stdev (30 Minute)</c:v>
                  </c:pt>
                  <c:pt idx="2040">
                    <c:v>Rolling Stdev (30 Minute)</c:v>
                  </c:pt>
                  <c:pt idx="2041">
                    <c:v>Rolling Stdev (30 Minute)</c:v>
                  </c:pt>
                  <c:pt idx="2042">
                    <c:v>Rolling Stdev (30 Minute)</c:v>
                  </c:pt>
                  <c:pt idx="2043">
                    <c:v>Rolling Stdev (30 Minute)</c:v>
                  </c:pt>
                  <c:pt idx="2044">
                    <c:v>Rolling Stdev (30 Minute)</c:v>
                  </c:pt>
                  <c:pt idx="2045">
                    <c:v>Rolling Stdev (30 Minute)</c:v>
                  </c:pt>
                  <c:pt idx="2046">
                    <c:v>Rolling Stdev (30 Minute)</c:v>
                  </c:pt>
                  <c:pt idx="2047">
                    <c:v>Rolling Stdev (30 Minute)</c:v>
                  </c:pt>
                  <c:pt idx="2048">
                    <c:v>Rolling Stdev (30 Minute)</c:v>
                  </c:pt>
                  <c:pt idx="2049">
                    <c:v>Rolling Stdev (30 Minute)</c:v>
                  </c:pt>
                  <c:pt idx="2050">
                    <c:v>Rolling Stdev (30 Minute)</c:v>
                  </c:pt>
                  <c:pt idx="2051">
                    <c:v>Rolling Stdev (30 Minute)</c:v>
                  </c:pt>
                  <c:pt idx="2052">
                    <c:v>Rolling Stdev (30 Minute)</c:v>
                  </c:pt>
                  <c:pt idx="2053">
                    <c:v>Rolling Stdev (30 Minute)</c:v>
                  </c:pt>
                  <c:pt idx="2054">
                    <c:v>Rolling Stdev (30 Minute)</c:v>
                  </c:pt>
                  <c:pt idx="2055">
                    <c:v>Rolling Stdev (30 Minute)</c:v>
                  </c:pt>
                  <c:pt idx="2056">
                    <c:v>Rolling Stdev (30 Minute)</c:v>
                  </c:pt>
                  <c:pt idx="2057">
                    <c:v>Rolling Stdev (30 Minute)</c:v>
                  </c:pt>
                  <c:pt idx="2058">
                    <c:v>Rolling Stdev (30 Minute)</c:v>
                  </c:pt>
                  <c:pt idx="2059">
                    <c:v>Rolling Stdev (30 Minute)</c:v>
                  </c:pt>
                  <c:pt idx="2060">
                    <c:v>Rolling Stdev (30 Minute)</c:v>
                  </c:pt>
                  <c:pt idx="2061">
                    <c:v>Rolling Stdev (30 Minute)</c:v>
                  </c:pt>
                  <c:pt idx="2062">
                    <c:v>Rolling Stdev (30 Minute)</c:v>
                  </c:pt>
                  <c:pt idx="2063">
                    <c:v>Rolling Stdev (30 Minute)</c:v>
                  </c:pt>
                  <c:pt idx="2064">
                    <c:v>Rolling Stdev (30 Minute)</c:v>
                  </c:pt>
                  <c:pt idx="2065">
                    <c:v>Rolling Stdev (30 Minute)</c:v>
                  </c:pt>
                  <c:pt idx="2066">
                    <c:v>Rolling Stdev (30 Minute)</c:v>
                  </c:pt>
                  <c:pt idx="2067">
                    <c:v>Rolling Stdev (30 Minute)</c:v>
                  </c:pt>
                  <c:pt idx="2068">
                    <c:v>Rolling Stdev (30 Minute)</c:v>
                  </c:pt>
                  <c:pt idx="2069">
                    <c:v>Rolling Stdev (30 Minute)</c:v>
                  </c:pt>
                  <c:pt idx="2070">
                    <c:v>Rolling Stdev (30 Minute)</c:v>
                  </c:pt>
                  <c:pt idx="2071">
                    <c:v>Rolling Stdev (30 Minute)</c:v>
                  </c:pt>
                  <c:pt idx="2072">
                    <c:v>Rolling Stdev (30 Minute)</c:v>
                  </c:pt>
                  <c:pt idx="2073">
                    <c:v>Rolling Stdev (30 Minute)</c:v>
                  </c:pt>
                  <c:pt idx="2074">
                    <c:v>Rolling Stdev (30 Minute)</c:v>
                  </c:pt>
                  <c:pt idx="2075">
                    <c:v>Rolling Stdev (30 Minute)</c:v>
                  </c:pt>
                  <c:pt idx="2076">
                    <c:v>Rolling Stdev (30 Minute)</c:v>
                  </c:pt>
                  <c:pt idx="2077">
                    <c:v>Rolling Stdev (30 Minute)</c:v>
                  </c:pt>
                  <c:pt idx="2078">
                    <c:v>Rolling Stdev (30 Minute)</c:v>
                  </c:pt>
                  <c:pt idx="2079">
                    <c:v>Rolling Stdev (30 Minute)</c:v>
                  </c:pt>
                  <c:pt idx="2080">
                    <c:v>Rolling Stdev (30 Minute)</c:v>
                  </c:pt>
                  <c:pt idx="2081">
                    <c:v>Rolling Stdev (30 Minute)</c:v>
                  </c:pt>
                  <c:pt idx="2082">
                    <c:v>Rolling Stdev (30 Minute)</c:v>
                  </c:pt>
                  <c:pt idx="2083">
                    <c:v>Rolling Stdev (30 Minute)</c:v>
                  </c:pt>
                  <c:pt idx="2084">
                    <c:v>Rolling Stdev (30 Minute)</c:v>
                  </c:pt>
                  <c:pt idx="2085">
                    <c:v>Rolling Stdev (30 Minute)</c:v>
                  </c:pt>
                  <c:pt idx="2086">
                    <c:v>Rolling Stdev (30 Minute)</c:v>
                  </c:pt>
                  <c:pt idx="2087">
                    <c:v>Rolling Stdev (30 Minute)</c:v>
                  </c:pt>
                  <c:pt idx="2088">
                    <c:v>Rolling Stdev (30 Minute)</c:v>
                  </c:pt>
                  <c:pt idx="2089">
                    <c:v>Rolling Stdev (30 Minute)</c:v>
                  </c:pt>
                  <c:pt idx="2090">
                    <c:v>Rolling Stdev (30 Minute)</c:v>
                  </c:pt>
                  <c:pt idx="2091">
                    <c:v>Rolling Stdev (30 Minute)</c:v>
                  </c:pt>
                  <c:pt idx="2092">
                    <c:v>Rolling Stdev (30 Minute)</c:v>
                  </c:pt>
                  <c:pt idx="2093">
                    <c:v>Rolling Stdev (30 Minute)</c:v>
                  </c:pt>
                  <c:pt idx="2094">
                    <c:v>Rolling Stdev (30 Minute)</c:v>
                  </c:pt>
                  <c:pt idx="2095">
                    <c:v>Rolling Stdev (30 Minute)</c:v>
                  </c:pt>
                  <c:pt idx="2096">
                    <c:v>Rolling Stdev (30 Minute)</c:v>
                  </c:pt>
                  <c:pt idx="2097">
                    <c:v>Rolling Stdev (30 Minute)</c:v>
                  </c:pt>
                  <c:pt idx="2098">
                    <c:v>Rolling Stdev (30 Minute)</c:v>
                  </c:pt>
                  <c:pt idx="2099">
                    <c:v>Rolling Stdev (30 Minute)</c:v>
                  </c:pt>
                  <c:pt idx="2100">
                    <c:v>Rolling Stdev (30 Minute)</c:v>
                  </c:pt>
                  <c:pt idx="2101">
                    <c:v>Rolling Stdev (30 Minute)</c:v>
                  </c:pt>
                  <c:pt idx="2102">
                    <c:v>Rolling Stdev (30 Minute)</c:v>
                  </c:pt>
                  <c:pt idx="2103">
                    <c:v>Rolling Stdev (30 Minute)</c:v>
                  </c:pt>
                  <c:pt idx="2104">
                    <c:v>Rolling Stdev (30 Minute)</c:v>
                  </c:pt>
                  <c:pt idx="2105">
                    <c:v>Rolling Stdev (30 Minute)</c:v>
                  </c:pt>
                  <c:pt idx="2106">
                    <c:v>Rolling Stdev (30 Minute)</c:v>
                  </c:pt>
                  <c:pt idx="2107">
                    <c:v>Rolling Stdev (30 Minute)</c:v>
                  </c:pt>
                  <c:pt idx="2108">
                    <c:v>Rolling Stdev (30 Minute)</c:v>
                  </c:pt>
                  <c:pt idx="2109">
                    <c:v>Rolling Stdev (30 Minute)</c:v>
                  </c:pt>
                  <c:pt idx="2110">
                    <c:v>Rolling Stdev (30 Minute)</c:v>
                  </c:pt>
                  <c:pt idx="2111">
                    <c:v>Rolling Stdev (30 Minute)</c:v>
                  </c:pt>
                  <c:pt idx="2112">
                    <c:v>Rolling Stdev (30 Minute)</c:v>
                  </c:pt>
                  <c:pt idx="2113">
                    <c:v>Rolling Stdev (30 Minute)</c:v>
                  </c:pt>
                  <c:pt idx="2114">
                    <c:v>Rolling Stdev (30 Minute)</c:v>
                  </c:pt>
                  <c:pt idx="2115">
                    <c:v>Rolling Stdev (30 Minute)</c:v>
                  </c:pt>
                  <c:pt idx="2116">
                    <c:v>Rolling Stdev (30 Minute)</c:v>
                  </c:pt>
                  <c:pt idx="2117">
                    <c:v>Rolling Stdev (30 Minute)</c:v>
                  </c:pt>
                  <c:pt idx="2118">
                    <c:v>Rolling Stdev (30 Minute)</c:v>
                  </c:pt>
                  <c:pt idx="2119">
                    <c:v>Rolling Stdev (30 Minute)</c:v>
                  </c:pt>
                  <c:pt idx="2120">
                    <c:v>Rolling Stdev (30 Minute)</c:v>
                  </c:pt>
                  <c:pt idx="2121">
                    <c:v>Rolling Stdev (30 Minute)</c:v>
                  </c:pt>
                  <c:pt idx="2122">
                    <c:v>Rolling Stdev (30 Minute)</c:v>
                  </c:pt>
                  <c:pt idx="2123">
                    <c:v>Rolling Stdev (30 Minute)</c:v>
                  </c:pt>
                  <c:pt idx="2124">
                    <c:v>Rolling Stdev (30 Minute)</c:v>
                  </c:pt>
                  <c:pt idx="2125">
                    <c:v>Rolling Stdev (30 Minute)</c:v>
                  </c:pt>
                  <c:pt idx="2126">
                    <c:v>Rolling Stdev (30 Minute)</c:v>
                  </c:pt>
                  <c:pt idx="2127">
                    <c:v>Rolling Stdev (30 Minute)</c:v>
                  </c:pt>
                  <c:pt idx="2128">
                    <c:v>Rolling Stdev (30 Minute)</c:v>
                  </c:pt>
                  <c:pt idx="2129">
                    <c:v>Rolling Stdev (30 Minute)</c:v>
                  </c:pt>
                  <c:pt idx="2130">
                    <c:v>Rolling Stdev (30 Minute)</c:v>
                  </c:pt>
                  <c:pt idx="2131">
                    <c:v>Rolling Stdev (30 Minute)</c:v>
                  </c:pt>
                  <c:pt idx="2132">
                    <c:v>Rolling Stdev (30 Minute)</c:v>
                  </c:pt>
                  <c:pt idx="2133">
                    <c:v>Rolling Stdev (30 Minute)</c:v>
                  </c:pt>
                  <c:pt idx="2134">
                    <c:v>Rolling Stdev (30 Minute)</c:v>
                  </c:pt>
                  <c:pt idx="2135">
                    <c:v>Rolling Stdev (30 Minute)</c:v>
                  </c:pt>
                  <c:pt idx="2136">
                    <c:v>Rolling Stdev (30 Minute)</c:v>
                  </c:pt>
                  <c:pt idx="2137">
                    <c:v>Rolling Stdev (30 Minute)</c:v>
                  </c:pt>
                  <c:pt idx="2138">
                    <c:v>Rolling Stdev (30 Minute)</c:v>
                  </c:pt>
                  <c:pt idx="2139">
                    <c:v>Rolling Stdev (30 Minute)</c:v>
                  </c:pt>
                  <c:pt idx="2140">
                    <c:v>Rolling Stdev (30 Minute)</c:v>
                  </c:pt>
                  <c:pt idx="2141">
                    <c:v>Rolling Stdev (30 Minute)</c:v>
                  </c:pt>
                  <c:pt idx="2142">
                    <c:v>Rolling Stdev (30 Minute)</c:v>
                  </c:pt>
                  <c:pt idx="2143">
                    <c:v>Rolling Stdev (30 Minute)</c:v>
                  </c:pt>
                  <c:pt idx="2144">
                    <c:v>Rolling Stdev (30 Minute)</c:v>
                  </c:pt>
                  <c:pt idx="2145">
                    <c:v>Rolling Stdev (30 Minute)</c:v>
                  </c:pt>
                  <c:pt idx="2146">
                    <c:v>Rolling Stdev (30 Minute)</c:v>
                  </c:pt>
                  <c:pt idx="2147">
                    <c:v>Rolling Stdev (30 Minute)</c:v>
                  </c:pt>
                  <c:pt idx="2148">
                    <c:v>Rolling Stdev (30 Minute)</c:v>
                  </c:pt>
                  <c:pt idx="2149">
                    <c:v>Rolling Stdev (30 Minute)</c:v>
                  </c:pt>
                  <c:pt idx="2150">
                    <c:v>Rolling Stdev (30 Minute)</c:v>
                  </c:pt>
                  <c:pt idx="2151">
                    <c:v>Rolling Stdev (30 Minute)</c:v>
                  </c:pt>
                  <c:pt idx="2152">
                    <c:v>Rolling Stdev (30 Minute)</c:v>
                  </c:pt>
                  <c:pt idx="2153">
                    <c:v>Rolling Stdev (30 Minute)</c:v>
                  </c:pt>
                  <c:pt idx="2154">
                    <c:v>Rolling Stdev (30 Minute)</c:v>
                  </c:pt>
                  <c:pt idx="2155">
                    <c:v>Rolling Stdev (30 Minute)</c:v>
                  </c:pt>
                  <c:pt idx="2156">
                    <c:v>Rolling Stdev (30 Minute)</c:v>
                  </c:pt>
                  <c:pt idx="2157">
                    <c:v>Rolling Stdev (30 Minute)</c:v>
                  </c:pt>
                  <c:pt idx="2158">
                    <c:v>Rolling Stdev (30 Minute)</c:v>
                  </c:pt>
                  <c:pt idx="2159">
                    <c:v>Rolling Stdev (30 Minute)</c:v>
                  </c:pt>
                  <c:pt idx="2160">
                    <c:v>Rolling Stdev (30 Minute)</c:v>
                  </c:pt>
                  <c:pt idx="2161">
                    <c:v>Rolling Stdev (30 Minute)</c:v>
                  </c:pt>
                  <c:pt idx="2162">
                    <c:v>Rolling Stdev (30 Minute)</c:v>
                  </c:pt>
                  <c:pt idx="2163">
                    <c:v>Rolling Stdev (30 Minute)</c:v>
                  </c:pt>
                  <c:pt idx="2164">
                    <c:v>Rolling Stdev (30 Minute)</c:v>
                  </c:pt>
                  <c:pt idx="2165">
                    <c:v>Rolling Stdev (30 Minute)</c:v>
                  </c:pt>
                  <c:pt idx="2166">
                    <c:v>Rolling Stdev (30 Minute)</c:v>
                  </c:pt>
                  <c:pt idx="2167">
                    <c:v>Rolling Stdev (30 Minute)</c:v>
                  </c:pt>
                  <c:pt idx="2168">
                    <c:v>Rolling Stdev (30 Minute)</c:v>
                  </c:pt>
                  <c:pt idx="2169">
                    <c:v>Rolling Stdev (30 Minute)</c:v>
                  </c:pt>
                  <c:pt idx="2170">
                    <c:v>Rolling Stdev (30 Minute)</c:v>
                  </c:pt>
                  <c:pt idx="2171">
                    <c:v>Rolling Stdev (30 Minute)</c:v>
                  </c:pt>
                  <c:pt idx="2172">
                    <c:v>Rolling Stdev (30 Minute)</c:v>
                  </c:pt>
                  <c:pt idx="2173">
                    <c:v>Rolling Stdev (30 Minute)</c:v>
                  </c:pt>
                  <c:pt idx="2174">
                    <c:v>Rolling Stdev (30 Minute)</c:v>
                  </c:pt>
                  <c:pt idx="2175">
                    <c:v>Rolling Stdev (30 Minute)</c:v>
                  </c:pt>
                  <c:pt idx="2176">
                    <c:v>Rolling Stdev (30 Minute)</c:v>
                  </c:pt>
                  <c:pt idx="2177">
                    <c:v>Rolling Stdev (30 Minute)</c:v>
                  </c:pt>
                  <c:pt idx="2178">
                    <c:v>Rolling Stdev (30 Minute)</c:v>
                  </c:pt>
                  <c:pt idx="2179">
                    <c:v>Rolling Stdev (30 Minute)</c:v>
                  </c:pt>
                  <c:pt idx="2180">
                    <c:v>Rolling Stdev (30 Minute)</c:v>
                  </c:pt>
                  <c:pt idx="2181">
                    <c:v>Rolling Stdev (30 Minute)</c:v>
                  </c:pt>
                  <c:pt idx="2182">
                    <c:v>Rolling Stdev (30 Minute)</c:v>
                  </c:pt>
                  <c:pt idx="2183">
                    <c:v>Rolling Stdev (30 Minute)</c:v>
                  </c:pt>
                  <c:pt idx="2184">
                    <c:v>Rolling Stdev (30 Minute)</c:v>
                  </c:pt>
                  <c:pt idx="2185">
                    <c:v>Rolling Stdev (30 Minute)</c:v>
                  </c:pt>
                  <c:pt idx="2186">
                    <c:v>Rolling Stdev (30 Minute)</c:v>
                  </c:pt>
                  <c:pt idx="2187">
                    <c:v>Rolling Stdev (30 Minute)</c:v>
                  </c:pt>
                  <c:pt idx="2188">
                    <c:v>Rolling Stdev (30 Minute)</c:v>
                  </c:pt>
                  <c:pt idx="2189">
                    <c:v>Rolling Stdev (30 Minute)</c:v>
                  </c:pt>
                  <c:pt idx="2190">
                    <c:v>Rolling Stdev (30 Minute)</c:v>
                  </c:pt>
                  <c:pt idx="2191">
                    <c:v>Rolling Stdev (30 Minute)</c:v>
                  </c:pt>
                  <c:pt idx="2192">
                    <c:v>Rolling Stdev (30 Minute)</c:v>
                  </c:pt>
                  <c:pt idx="2193">
                    <c:v>Rolling Stdev (30 Minute)</c:v>
                  </c:pt>
                  <c:pt idx="2194">
                    <c:v>Rolling Stdev (30 Minute)</c:v>
                  </c:pt>
                  <c:pt idx="2195">
                    <c:v>Rolling Stdev (30 Minute)</c:v>
                  </c:pt>
                  <c:pt idx="2196">
                    <c:v>Rolling Stdev (30 Minute)</c:v>
                  </c:pt>
                  <c:pt idx="2197">
                    <c:v>Rolling Stdev (30 Minute)</c:v>
                  </c:pt>
                  <c:pt idx="2198">
                    <c:v>Rolling Stdev (30 Minute)</c:v>
                  </c:pt>
                  <c:pt idx="2199">
                    <c:v>Rolling Stdev (30 Minute)</c:v>
                  </c:pt>
                  <c:pt idx="2200">
                    <c:v>Rolling Stdev (30 Minute)</c:v>
                  </c:pt>
                  <c:pt idx="2201">
                    <c:v>Rolling Stdev (30 Minute)</c:v>
                  </c:pt>
                  <c:pt idx="2202">
                    <c:v>Rolling Stdev (30 Minute)</c:v>
                  </c:pt>
                  <c:pt idx="2203">
                    <c:v>Rolling Stdev (30 Minute)</c:v>
                  </c:pt>
                  <c:pt idx="2204">
                    <c:v>Rolling Stdev (30 Minute)</c:v>
                  </c:pt>
                  <c:pt idx="2205">
                    <c:v>Rolling Stdev (30 Minute)</c:v>
                  </c:pt>
                  <c:pt idx="2206">
                    <c:v>Rolling Stdev (30 Minute)</c:v>
                  </c:pt>
                  <c:pt idx="2207">
                    <c:v>Rolling Stdev (30 Minute)</c:v>
                  </c:pt>
                  <c:pt idx="2208">
                    <c:v>Rolling Stdev (30 Minute)</c:v>
                  </c:pt>
                  <c:pt idx="2209">
                    <c:v>Rolling Stdev (30 Minute)</c:v>
                  </c:pt>
                  <c:pt idx="2210">
                    <c:v>Rolling Stdev (30 Minute)</c:v>
                  </c:pt>
                  <c:pt idx="2211">
                    <c:v>Rolling Stdev (30 Minute)</c:v>
                  </c:pt>
                  <c:pt idx="2212">
                    <c:v>Rolling Stdev (30 Minute)</c:v>
                  </c:pt>
                  <c:pt idx="2213">
                    <c:v>Rolling Stdev (30 Minute)</c:v>
                  </c:pt>
                  <c:pt idx="2214">
                    <c:v>Rolling Stdev (30 Minute)</c:v>
                  </c:pt>
                  <c:pt idx="2215">
                    <c:v>Rolling Stdev (30 Minute)</c:v>
                  </c:pt>
                  <c:pt idx="2216">
                    <c:v>Rolling Stdev (30 Minute)</c:v>
                  </c:pt>
                  <c:pt idx="2217">
                    <c:v>Rolling Stdev (30 Minute)</c:v>
                  </c:pt>
                  <c:pt idx="2218">
                    <c:v>Rolling Stdev (30 Minute)</c:v>
                  </c:pt>
                  <c:pt idx="2219">
                    <c:v>Rolling Stdev (30 Minute)</c:v>
                  </c:pt>
                  <c:pt idx="2220">
                    <c:v>Rolling Stdev (30 Minute)</c:v>
                  </c:pt>
                  <c:pt idx="2221">
                    <c:v>Rolling Stdev (30 Minute)</c:v>
                  </c:pt>
                  <c:pt idx="2222">
                    <c:v>Rolling Stdev (30 Minute)</c:v>
                  </c:pt>
                  <c:pt idx="2223">
                    <c:v>Rolling Stdev (30 Minute)</c:v>
                  </c:pt>
                  <c:pt idx="2224">
                    <c:v>Rolling Stdev (30 Minute)</c:v>
                  </c:pt>
                  <c:pt idx="2225">
                    <c:v>Rolling Stdev (30 Minute)</c:v>
                  </c:pt>
                  <c:pt idx="2226">
                    <c:v>Rolling Stdev (30 Minute)</c:v>
                  </c:pt>
                  <c:pt idx="2227">
                    <c:v>Rolling Stdev (30 Minute)</c:v>
                  </c:pt>
                  <c:pt idx="2228">
                    <c:v>Rolling Stdev (30 Minute)</c:v>
                  </c:pt>
                  <c:pt idx="2229">
                    <c:v>Rolling Stdev (30 Minute)</c:v>
                  </c:pt>
                  <c:pt idx="2230">
                    <c:v>Rolling Stdev (30 Minute)</c:v>
                  </c:pt>
                  <c:pt idx="2231">
                    <c:v>Rolling Stdev (30 Minute)</c:v>
                  </c:pt>
                  <c:pt idx="2232">
                    <c:v>Rolling Stdev (30 Minute)</c:v>
                  </c:pt>
                  <c:pt idx="2233">
                    <c:v>Rolling Stdev (30 Minute)</c:v>
                  </c:pt>
                  <c:pt idx="2234">
                    <c:v>Rolling Stdev (30 Minute)</c:v>
                  </c:pt>
                  <c:pt idx="2235">
                    <c:v>Rolling Stdev (30 Minute)</c:v>
                  </c:pt>
                  <c:pt idx="2236">
                    <c:v>Rolling Stdev (30 Minute)</c:v>
                  </c:pt>
                  <c:pt idx="2237">
                    <c:v>Rolling Stdev (30 Minute)</c:v>
                  </c:pt>
                  <c:pt idx="2238">
                    <c:v>Rolling Stdev (30 Minute)</c:v>
                  </c:pt>
                  <c:pt idx="2239">
                    <c:v>Rolling Stdev (30 Minute)</c:v>
                  </c:pt>
                  <c:pt idx="2240">
                    <c:v>Rolling Stdev (30 Minute)</c:v>
                  </c:pt>
                  <c:pt idx="2241">
                    <c:v>Rolling Stdev (30 Minute)</c:v>
                  </c:pt>
                  <c:pt idx="2242">
                    <c:v>Rolling Stdev (30 Minute)</c:v>
                  </c:pt>
                  <c:pt idx="2243">
                    <c:v>Rolling Stdev (30 Minute)</c:v>
                  </c:pt>
                  <c:pt idx="2244">
                    <c:v>Rolling Stdev (30 Minute)</c:v>
                  </c:pt>
                  <c:pt idx="2245">
                    <c:v>Rolling Stdev (30 Minute)</c:v>
                  </c:pt>
                  <c:pt idx="2246">
                    <c:v>Rolling Stdev (30 Minute)</c:v>
                  </c:pt>
                  <c:pt idx="2247">
                    <c:v>Rolling Stdev (30 Minute)</c:v>
                  </c:pt>
                  <c:pt idx="2248">
                    <c:v>Rolling Stdev (30 Minute)</c:v>
                  </c:pt>
                  <c:pt idx="2249">
                    <c:v>Rolling Stdev (30 Minute)</c:v>
                  </c:pt>
                  <c:pt idx="2250">
                    <c:v>Rolling Stdev (30 Minute)</c:v>
                  </c:pt>
                  <c:pt idx="2251">
                    <c:v>Rolling Stdev (30 Minute)</c:v>
                  </c:pt>
                  <c:pt idx="2252">
                    <c:v>Rolling Stdev (30 Minute)</c:v>
                  </c:pt>
                  <c:pt idx="2253">
                    <c:v>Rolling Stdev (30 Minute)</c:v>
                  </c:pt>
                  <c:pt idx="2254">
                    <c:v>Rolling Stdev (30 Minute)</c:v>
                  </c:pt>
                  <c:pt idx="2255">
                    <c:v>Rolling Stdev (30 Minute)</c:v>
                  </c:pt>
                  <c:pt idx="2256">
                    <c:v>Rolling Stdev (30 Minute)</c:v>
                  </c:pt>
                  <c:pt idx="2257">
                    <c:v>Rolling Stdev (30 Minute)</c:v>
                  </c:pt>
                  <c:pt idx="2258">
                    <c:v>Rolling Stdev (30 Minute)</c:v>
                  </c:pt>
                  <c:pt idx="2259">
                    <c:v>Rolling Stdev (30 Minute)</c:v>
                  </c:pt>
                  <c:pt idx="2260">
                    <c:v>Rolling Stdev (30 Minute)</c:v>
                  </c:pt>
                  <c:pt idx="2261">
                    <c:v>Rolling Stdev (30 Minute)</c:v>
                  </c:pt>
                  <c:pt idx="2262">
                    <c:v>Rolling Stdev (30 Minute)</c:v>
                  </c:pt>
                  <c:pt idx="2263">
                    <c:v>Rolling Stdev (30 Minute)</c:v>
                  </c:pt>
                  <c:pt idx="2264">
                    <c:v>Rolling Stdev (30 Minute)</c:v>
                  </c:pt>
                  <c:pt idx="2265">
                    <c:v>Rolling Stdev (30 Minute)</c:v>
                  </c:pt>
                  <c:pt idx="2266">
                    <c:v>Rolling Stdev (30 Minute)</c:v>
                  </c:pt>
                  <c:pt idx="2267">
                    <c:v>Rolling Stdev (30 Minute)</c:v>
                  </c:pt>
                  <c:pt idx="2268">
                    <c:v>Rolling Stdev (30 Minute)</c:v>
                  </c:pt>
                  <c:pt idx="2269">
                    <c:v>Rolling Stdev (30 Minute)</c:v>
                  </c:pt>
                  <c:pt idx="2270">
                    <c:v>Rolling Stdev (30 Minute)</c:v>
                  </c:pt>
                  <c:pt idx="2271">
                    <c:v>Rolling Stdev (30 Minute)</c:v>
                  </c:pt>
                  <c:pt idx="2272">
                    <c:v>Rolling Stdev (30 Minute)</c:v>
                  </c:pt>
                  <c:pt idx="2273">
                    <c:v>Rolling Stdev (30 Minute)</c:v>
                  </c:pt>
                  <c:pt idx="2274">
                    <c:v>Rolling Stdev (30 Minute)</c:v>
                  </c:pt>
                  <c:pt idx="2275">
                    <c:v>Rolling Stdev (30 Minute)</c:v>
                  </c:pt>
                  <c:pt idx="2276">
                    <c:v>Rolling Stdev (30 Minute)</c:v>
                  </c:pt>
                  <c:pt idx="2277">
                    <c:v>Rolling Stdev (30 Minute)</c:v>
                  </c:pt>
                  <c:pt idx="2278">
                    <c:v>Rolling Stdev (30 Minute)</c:v>
                  </c:pt>
                  <c:pt idx="2279">
                    <c:v>Rolling Stdev (30 Minute)</c:v>
                  </c:pt>
                  <c:pt idx="2280">
                    <c:v>Rolling Stdev (30 Minute)</c:v>
                  </c:pt>
                  <c:pt idx="2281">
                    <c:v>Rolling Stdev (30 Minute)</c:v>
                  </c:pt>
                  <c:pt idx="2282">
                    <c:v>Rolling Stdev (30 Minute)</c:v>
                  </c:pt>
                  <c:pt idx="2283">
                    <c:v>Rolling Stdev (30 Minute)</c:v>
                  </c:pt>
                  <c:pt idx="2284">
                    <c:v>Rolling Stdev (30 Minute)</c:v>
                  </c:pt>
                  <c:pt idx="2285">
                    <c:v>Rolling Stdev (30 Minute)</c:v>
                  </c:pt>
                  <c:pt idx="2286">
                    <c:v>Rolling Stdev (30 Minute)</c:v>
                  </c:pt>
                  <c:pt idx="2287">
                    <c:v>Rolling Stdev (30 Minute)</c:v>
                  </c:pt>
                  <c:pt idx="2288">
                    <c:v>Rolling Stdev (30 Minute)</c:v>
                  </c:pt>
                  <c:pt idx="2289">
                    <c:v>Rolling Stdev (30 Minute)</c:v>
                  </c:pt>
                  <c:pt idx="2290">
                    <c:v>Rolling Stdev (30 Minute)</c:v>
                  </c:pt>
                  <c:pt idx="2291">
                    <c:v>Rolling Stdev (30 Minute)</c:v>
                  </c:pt>
                  <c:pt idx="2292">
                    <c:v>Rolling Stdev (30 Minute)</c:v>
                  </c:pt>
                  <c:pt idx="2293">
                    <c:v>Rolling Stdev (30 Minute)</c:v>
                  </c:pt>
                  <c:pt idx="2294">
                    <c:v>Rolling Stdev (30 Minute)</c:v>
                  </c:pt>
                  <c:pt idx="2295">
                    <c:v>Rolling Stdev (30 Minute)</c:v>
                  </c:pt>
                  <c:pt idx="2296">
                    <c:v>Rolling Stdev (30 Minute)</c:v>
                  </c:pt>
                  <c:pt idx="2297">
                    <c:v>Rolling Stdev (30 Minute)</c:v>
                  </c:pt>
                  <c:pt idx="2298">
                    <c:v>Rolling Stdev (30 Minute)</c:v>
                  </c:pt>
                  <c:pt idx="2299">
                    <c:v>Rolling Stdev (30 Minute)</c:v>
                  </c:pt>
                  <c:pt idx="2300">
                    <c:v>Rolling Stdev (30 Minute)</c:v>
                  </c:pt>
                  <c:pt idx="2301">
                    <c:v>Rolling Stdev (30 Minute)</c:v>
                  </c:pt>
                  <c:pt idx="2302">
                    <c:v>Rolling Stdev (30 Minute)</c:v>
                  </c:pt>
                  <c:pt idx="2303">
                    <c:v>Rolling Stdev (30 Minute)</c:v>
                  </c:pt>
                  <c:pt idx="2304">
                    <c:v>Rolling Stdev (30 Minute)</c:v>
                  </c:pt>
                  <c:pt idx="2305">
                    <c:v>Rolling Stdev (30 Minute)</c:v>
                  </c:pt>
                  <c:pt idx="2306">
                    <c:v>Rolling Stdev (30 Minute)</c:v>
                  </c:pt>
                  <c:pt idx="2307">
                    <c:v>Rolling Stdev (30 Minute)</c:v>
                  </c:pt>
                  <c:pt idx="2308">
                    <c:v>Rolling Stdev (30 Minute)</c:v>
                  </c:pt>
                  <c:pt idx="2309">
                    <c:v>Rolling Stdev (30 Minute)</c:v>
                  </c:pt>
                  <c:pt idx="2310">
                    <c:v>Rolling Stdev (30 Minute)</c:v>
                  </c:pt>
                  <c:pt idx="2311">
                    <c:v>Rolling Stdev (30 Minute)</c:v>
                  </c:pt>
                  <c:pt idx="2312">
                    <c:v>Rolling Stdev (30 Minute)</c:v>
                  </c:pt>
                  <c:pt idx="2313">
                    <c:v>Rolling Stdev (30 Minute)</c:v>
                  </c:pt>
                  <c:pt idx="2314">
                    <c:v>Rolling Stdev (30 Minute)</c:v>
                  </c:pt>
                  <c:pt idx="2315">
                    <c:v>Rolling Stdev (30 Minute)</c:v>
                  </c:pt>
                  <c:pt idx="2316">
                    <c:v>Rolling Stdev (30 Minute)</c:v>
                  </c:pt>
                  <c:pt idx="2317">
                    <c:v>Rolling Stdev (30 Minute)</c:v>
                  </c:pt>
                  <c:pt idx="2318">
                    <c:v>Rolling Stdev (30 Minute)</c:v>
                  </c:pt>
                  <c:pt idx="2319">
                    <c:v>Rolling Stdev (30 Minute)</c:v>
                  </c:pt>
                  <c:pt idx="2320">
                    <c:v>Rolling Stdev (30 Minute)</c:v>
                  </c:pt>
                  <c:pt idx="2321">
                    <c:v>Rolling Stdev (30 Minute)</c:v>
                  </c:pt>
                  <c:pt idx="2322">
                    <c:v>Rolling Stdev (30 Minute)</c:v>
                  </c:pt>
                  <c:pt idx="2323">
                    <c:v>Rolling Stdev (30 Minute)</c:v>
                  </c:pt>
                  <c:pt idx="2324">
                    <c:v>Rolling Stdev (30 Minute)</c:v>
                  </c:pt>
                  <c:pt idx="2325">
                    <c:v>Rolling Stdev (30 Minute)</c:v>
                  </c:pt>
                  <c:pt idx="2326">
                    <c:v>Rolling Stdev (30 Minute)</c:v>
                  </c:pt>
                  <c:pt idx="2327">
                    <c:v>Rolling Stdev (30 Minute)</c:v>
                  </c:pt>
                  <c:pt idx="2328">
                    <c:v>Rolling Stdev (30 Minute)</c:v>
                  </c:pt>
                  <c:pt idx="2329">
                    <c:v>Rolling Stdev (30 Minute)</c:v>
                  </c:pt>
                  <c:pt idx="2330">
                    <c:v>Rolling Stdev (30 Minute)</c:v>
                  </c:pt>
                  <c:pt idx="2331">
                    <c:v>Rolling Stdev (30 Minute)</c:v>
                  </c:pt>
                  <c:pt idx="2332">
                    <c:v>Rolling Stdev (30 Minute)</c:v>
                  </c:pt>
                  <c:pt idx="2333">
                    <c:v>Rolling Stdev (30 Minute)</c:v>
                  </c:pt>
                  <c:pt idx="2334">
                    <c:v>Rolling Stdev (30 Minute)</c:v>
                  </c:pt>
                  <c:pt idx="2335">
                    <c:v>Rolling Stdev (30 Minute)</c:v>
                  </c:pt>
                  <c:pt idx="2336">
                    <c:v>Rolling Stdev (30 Minute)</c:v>
                  </c:pt>
                  <c:pt idx="2337">
                    <c:v>Rolling Stdev (30 Minute)</c:v>
                  </c:pt>
                  <c:pt idx="2338">
                    <c:v>Rolling Stdev (30 Minute)</c:v>
                  </c:pt>
                  <c:pt idx="2339">
                    <c:v>Rolling Stdev (30 Minute)</c:v>
                  </c:pt>
                  <c:pt idx="2340">
                    <c:v>Rolling Stdev (30 Minute)</c:v>
                  </c:pt>
                  <c:pt idx="2341">
                    <c:v>Rolling Stdev (30 Minute)</c:v>
                  </c:pt>
                  <c:pt idx="2342">
                    <c:v>Rolling Stdev (30 Minute)</c:v>
                  </c:pt>
                  <c:pt idx="2343">
                    <c:v>Rolling Stdev (30 Minute)</c:v>
                  </c:pt>
                  <c:pt idx="2344">
                    <c:v>Rolling Stdev (30 Minute)</c:v>
                  </c:pt>
                  <c:pt idx="2345">
                    <c:v>Rolling Stdev (30 Minute)</c:v>
                  </c:pt>
                  <c:pt idx="2346">
                    <c:v>Rolling Stdev (30 Minute)</c:v>
                  </c:pt>
                  <c:pt idx="2347">
                    <c:v>Rolling Stdev (30 Minute)</c:v>
                  </c:pt>
                  <c:pt idx="2348">
                    <c:v>Rolling Stdev (30 Minute)</c:v>
                  </c:pt>
                  <c:pt idx="2349">
                    <c:v>Rolling Stdev (30 Minute)</c:v>
                  </c:pt>
                  <c:pt idx="2350">
                    <c:v>Rolling Stdev (30 Minute)</c:v>
                  </c:pt>
                  <c:pt idx="2351">
                    <c:v>Rolling Stdev (30 Minute)</c:v>
                  </c:pt>
                  <c:pt idx="2352">
                    <c:v>Rolling Stdev (30 Minute)</c:v>
                  </c:pt>
                  <c:pt idx="2353">
                    <c:v>Rolling Stdev (30 Minute)</c:v>
                  </c:pt>
                  <c:pt idx="2354">
                    <c:v>Rolling Stdev (30 Minute)</c:v>
                  </c:pt>
                  <c:pt idx="2355">
                    <c:v>Rolling Stdev (30 Minute)</c:v>
                  </c:pt>
                  <c:pt idx="2356">
                    <c:v>Rolling Stdev (30 Minute)</c:v>
                  </c:pt>
                  <c:pt idx="2357">
                    <c:v>Rolling Stdev (30 Minute)</c:v>
                  </c:pt>
                  <c:pt idx="2358">
                    <c:v>Rolling Stdev (30 Minute)</c:v>
                  </c:pt>
                  <c:pt idx="2359">
                    <c:v>Rolling Stdev (30 Minute)</c:v>
                  </c:pt>
                  <c:pt idx="2360">
                    <c:v>Rolling Stdev (30 Minute)</c:v>
                  </c:pt>
                  <c:pt idx="2361">
                    <c:v>Rolling Stdev (30 Minute)</c:v>
                  </c:pt>
                  <c:pt idx="2362">
                    <c:v>Rolling Stdev (30 Minute)</c:v>
                  </c:pt>
                  <c:pt idx="2363">
                    <c:v>Rolling Stdev (30 Minute)</c:v>
                  </c:pt>
                  <c:pt idx="2364">
                    <c:v>Rolling Stdev (30 Minute)</c:v>
                  </c:pt>
                  <c:pt idx="2365">
                    <c:v>Rolling Stdev (30 Minute)</c:v>
                  </c:pt>
                  <c:pt idx="2366">
                    <c:v>Rolling Stdev (30 Minute)</c:v>
                  </c:pt>
                  <c:pt idx="2367">
                    <c:v>Rolling Stdev (30 Minute)</c:v>
                  </c:pt>
                  <c:pt idx="2368">
                    <c:v>Rolling Stdev (30 Minute)</c:v>
                  </c:pt>
                  <c:pt idx="2369">
                    <c:v>Rolling Stdev (30 Minute)</c:v>
                  </c:pt>
                  <c:pt idx="2370">
                    <c:v>Rolling Stdev (30 Minute)</c:v>
                  </c:pt>
                  <c:pt idx="2371">
                    <c:v>Rolling Stdev (30 Minute)</c:v>
                  </c:pt>
                  <c:pt idx="2372">
                    <c:v>Rolling Stdev (30 Minute)</c:v>
                  </c:pt>
                  <c:pt idx="2373">
                    <c:v>Rolling Stdev (30 Minute)</c:v>
                  </c:pt>
                  <c:pt idx="2374">
                    <c:v>Rolling Stdev (30 Minute)</c:v>
                  </c:pt>
                  <c:pt idx="2375">
                    <c:v>Rolling Stdev (30 Minute)</c:v>
                  </c:pt>
                  <c:pt idx="2376">
                    <c:v>Rolling Stdev (30 Minute)</c:v>
                  </c:pt>
                  <c:pt idx="2377">
                    <c:v>Rolling Stdev (30 Minute)</c:v>
                  </c:pt>
                  <c:pt idx="2378">
                    <c:v>Rolling Stdev (30 Minute)</c:v>
                  </c:pt>
                  <c:pt idx="2379">
                    <c:v>Rolling Stdev (30 Minute)</c:v>
                  </c:pt>
                  <c:pt idx="2380">
                    <c:v>Rolling Stdev (30 Minute)</c:v>
                  </c:pt>
                  <c:pt idx="2381">
                    <c:v>Rolling Stdev (30 Minute)</c:v>
                  </c:pt>
                  <c:pt idx="2382">
                    <c:v>Rolling Stdev (30 Minute)</c:v>
                  </c:pt>
                  <c:pt idx="2383">
                    <c:v>Rolling Stdev (30 Minute)</c:v>
                  </c:pt>
                  <c:pt idx="2384">
                    <c:v>Rolling Stdev (30 Minute)</c:v>
                  </c:pt>
                  <c:pt idx="2385">
                    <c:v>Rolling Stdev (30 Minute)</c:v>
                  </c:pt>
                  <c:pt idx="2386">
                    <c:v>Rolling Stdev (30 Minute)</c:v>
                  </c:pt>
                  <c:pt idx="2387">
                    <c:v>Rolling Stdev (30 Minute)</c:v>
                  </c:pt>
                  <c:pt idx="2388">
                    <c:v>Rolling Stdev (30 Minute)</c:v>
                  </c:pt>
                  <c:pt idx="2389">
                    <c:v>Rolling Stdev (30 Minute)</c:v>
                  </c:pt>
                  <c:pt idx="2390">
                    <c:v>Rolling Stdev (30 Minute)</c:v>
                  </c:pt>
                  <c:pt idx="2391">
                    <c:v>Rolling Stdev (30 Minute)</c:v>
                  </c:pt>
                  <c:pt idx="2392">
                    <c:v>Rolling Stdev (30 Minute)</c:v>
                  </c:pt>
                  <c:pt idx="2393">
                    <c:v>Rolling Stdev (30 Minute)</c:v>
                  </c:pt>
                  <c:pt idx="2394">
                    <c:v>Rolling Stdev (30 Minute)</c:v>
                  </c:pt>
                  <c:pt idx="2395">
                    <c:v>Rolling Stdev (30 Minute)</c:v>
                  </c:pt>
                  <c:pt idx="2396">
                    <c:v>Rolling Stdev (30 Minute)</c:v>
                  </c:pt>
                  <c:pt idx="2397">
                    <c:v>Rolling Stdev (30 Minute)</c:v>
                  </c:pt>
                  <c:pt idx="2398">
                    <c:v>Rolling Stdev (30 Minute)</c:v>
                  </c:pt>
                  <c:pt idx="2399">
                    <c:v>Rolling Stdev (30 Minute)</c:v>
                  </c:pt>
                  <c:pt idx="2400">
                    <c:v>Rolling Stdev (30 Minute)</c:v>
                  </c:pt>
                  <c:pt idx="2401">
                    <c:v>Rolling Stdev (30 Minute)</c:v>
                  </c:pt>
                  <c:pt idx="2402">
                    <c:v>Rolling Stdev (30 Minute)</c:v>
                  </c:pt>
                  <c:pt idx="2403">
                    <c:v>Rolling Stdev (30 Minute)</c:v>
                  </c:pt>
                  <c:pt idx="2404">
                    <c:v>Rolling Stdev (30 Minute)</c:v>
                  </c:pt>
                  <c:pt idx="2405">
                    <c:v>Rolling Stdev (30 Minute)</c:v>
                  </c:pt>
                  <c:pt idx="2406">
                    <c:v>Rolling Stdev (30 Minute)</c:v>
                  </c:pt>
                  <c:pt idx="2407">
                    <c:v>Rolling Stdev (30 Minute)</c:v>
                  </c:pt>
                  <c:pt idx="2408">
                    <c:v>Rolling Stdev (30 Minute)</c:v>
                  </c:pt>
                  <c:pt idx="2409">
                    <c:v>Rolling Stdev (30 Minute)</c:v>
                  </c:pt>
                  <c:pt idx="2410">
                    <c:v>Rolling Stdev (30 Minute)</c:v>
                  </c:pt>
                  <c:pt idx="2411">
                    <c:v>Rolling Stdev (30 Minute)</c:v>
                  </c:pt>
                  <c:pt idx="2412">
                    <c:v>Rolling Stdev (30 Minute)</c:v>
                  </c:pt>
                  <c:pt idx="2413">
                    <c:v>Rolling Stdev (30 Minute)</c:v>
                  </c:pt>
                  <c:pt idx="2414">
                    <c:v>Rolling Stdev (30 Minute)</c:v>
                  </c:pt>
                  <c:pt idx="2415">
                    <c:v>Rolling Stdev (30 Minute)</c:v>
                  </c:pt>
                  <c:pt idx="2416">
                    <c:v>Rolling Stdev (30 Minute)</c:v>
                  </c:pt>
                  <c:pt idx="2417">
                    <c:v>Rolling Stdev (30 Minute)</c:v>
                  </c:pt>
                  <c:pt idx="2418">
                    <c:v>Rolling Stdev (30 Minute)</c:v>
                  </c:pt>
                  <c:pt idx="2419">
                    <c:v>Rolling Stdev (30 Minute)</c:v>
                  </c:pt>
                  <c:pt idx="2420">
                    <c:v>Rolling Stdev (30 Minute)</c:v>
                  </c:pt>
                  <c:pt idx="2421">
                    <c:v>Rolling Stdev (30 Minute)</c:v>
                  </c:pt>
                  <c:pt idx="2422">
                    <c:v>Rolling Stdev (30 Minute)</c:v>
                  </c:pt>
                  <c:pt idx="2423">
                    <c:v>Rolling Stdev (30 Minute)</c:v>
                  </c:pt>
                  <c:pt idx="2424">
                    <c:v>Rolling Stdev (30 Minute)</c:v>
                  </c:pt>
                  <c:pt idx="2425">
                    <c:v>Rolling Stdev (30 Minute)</c:v>
                  </c:pt>
                  <c:pt idx="2426">
                    <c:v>Rolling Stdev (30 Minute)</c:v>
                  </c:pt>
                  <c:pt idx="2427">
                    <c:v>Rolling Stdev (30 Minute)</c:v>
                  </c:pt>
                  <c:pt idx="2428">
                    <c:v>Rolling Stdev (30 Minute)</c:v>
                  </c:pt>
                  <c:pt idx="2429">
                    <c:v>Rolling Stdev (30 Minute)</c:v>
                  </c:pt>
                  <c:pt idx="2430">
                    <c:v>Rolling Stdev (30 Minute)</c:v>
                  </c:pt>
                  <c:pt idx="2431">
                    <c:v>Rolling Stdev (30 Minute)</c:v>
                  </c:pt>
                  <c:pt idx="2432">
                    <c:v>Rolling Stdev (30 Minute)</c:v>
                  </c:pt>
                  <c:pt idx="2433">
                    <c:v>Rolling Stdev (30 Minute)</c:v>
                  </c:pt>
                  <c:pt idx="2434">
                    <c:v>Rolling Stdev (30 Minute)</c:v>
                  </c:pt>
                  <c:pt idx="2435">
                    <c:v>Rolling Stdev (30 Minute)</c:v>
                  </c:pt>
                  <c:pt idx="2436">
                    <c:v>Rolling Stdev (30 Minute)</c:v>
                  </c:pt>
                  <c:pt idx="2437">
                    <c:v>Rolling Stdev (30 Minute)</c:v>
                  </c:pt>
                  <c:pt idx="2438">
                    <c:v>Rolling Stdev (30 Minute)</c:v>
                  </c:pt>
                  <c:pt idx="2439">
                    <c:v>Rolling Stdev (30 Minute)</c:v>
                  </c:pt>
                  <c:pt idx="2440">
                    <c:v>Rolling Stdev (30 Minute)</c:v>
                  </c:pt>
                  <c:pt idx="2441">
                    <c:v>Rolling Stdev (30 Minute)</c:v>
                  </c:pt>
                  <c:pt idx="2442">
                    <c:v>Rolling Stdev (30 Minute)</c:v>
                  </c:pt>
                  <c:pt idx="2443">
                    <c:v>Rolling Stdev (30 Minute)</c:v>
                  </c:pt>
                  <c:pt idx="2444">
                    <c:v>Rolling Stdev (30 Minute)</c:v>
                  </c:pt>
                  <c:pt idx="2445">
                    <c:v>Rolling Stdev (30 Minute)</c:v>
                  </c:pt>
                  <c:pt idx="2446">
                    <c:v>Rolling Stdev (30 Minute)</c:v>
                  </c:pt>
                  <c:pt idx="2447">
                    <c:v>Rolling Stdev (30 Minute)</c:v>
                  </c:pt>
                  <c:pt idx="2448">
                    <c:v>Rolling Stdev (30 Minute)</c:v>
                  </c:pt>
                  <c:pt idx="2449">
                    <c:v>Rolling Stdev (30 Minute)</c:v>
                  </c:pt>
                  <c:pt idx="2450">
                    <c:v>Rolling Stdev (30 Minute)</c:v>
                  </c:pt>
                  <c:pt idx="2451">
                    <c:v>Rolling Stdev (30 Minute)</c:v>
                  </c:pt>
                </c:lvl>
              </c:multiLvlStrCache>
            </c:multiLvlStrRef>
          </c:cat>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2-6785-41B4-BCE1-ECD89FF12F5A}"/>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multiLvlStrRef>
              <c:f>'DRT Rolling Stdev'!$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Stdev (30 Minute)</c:v>
                  </c:pt>
                  <c:pt idx="1">
                    <c:v>Rolling Stdev (30 Minute)</c:v>
                  </c:pt>
                  <c:pt idx="2">
                    <c:v>Rolling Stdev (30 Minute)</c:v>
                  </c:pt>
                  <c:pt idx="3">
                    <c:v>Rolling Stdev (30 Minute)</c:v>
                  </c:pt>
                  <c:pt idx="4">
                    <c:v>Rolling Stdev (30 Minute)</c:v>
                  </c:pt>
                  <c:pt idx="5">
                    <c:v>Rolling Stdev (30 Minute)</c:v>
                  </c:pt>
                  <c:pt idx="6">
                    <c:v>Rolling Stdev (30 Minute)</c:v>
                  </c:pt>
                  <c:pt idx="7">
                    <c:v>Rolling Stdev (30 Minute)</c:v>
                  </c:pt>
                  <c:pt idx="8">
                    <c:v>Rolling Stdev (30 Minute)</c:v>
                  </c:pt>
                  <c:pt idx="9">
                    <c:v>Rolling Stdev (30 Minute)</c:v>
                  </c:pt>
                  <c:pt idx="10">
                    <c:v>Rolling Stdev (30 Minute)</c:v>
                  </c:pt>
                  <c:pt idx="11">
                    <c:v>Rolling Stdev (30 Minute)</c:v>
                  </c:pt>
                  <c:pt idx="12">
                    <c:v>Rolling Stdev (30 Minute)</c:v>
                  </c:pt>
                  <c:pt idx="13">
                    <c:v>Rolling Stdev (30 Minute)</c:v>
                  </c:pt>
                  <c:pt idx="14">
                    <c:v>Rolling Stdev (30 Minute)</c:v>
                  </c:pt>
                  <c:pt idx="15">
                    <c:v>Rolling Stdev (30 Minute)</c:v>
                  </c:pt>
                  <c:pt idx="16">
                    <c:v>Rolling Stdev (30 Minute)</c:v>
                  </c:pt>
                  <c:pt idx="17">
                    <c:v>Rolling Stdev (30 Minute)</c:v>
                  </c:pt>
                  <c:pt idx="18">
                    <c:v>Rolling Stdev (30 Minute)</c:v>
                  </c:pt>
                  <c:pt idx="19">
                    <c:v>Rolling Stdev (30 Minute)</c:v>
                  </c:pt>
                  <c:pt idx="20">
                    <c:v>Rolling Stdev (30 Minute)</c:v>
                  </c:pt>
                  <c:pt idx="21">
                    <c:v>Rolling Stdev (30 Minute)</c:v>
                  </c:pt>
                  <c:pt idx="22">
                    <c:v>Rolling Stdev (30 Minute)</c:v>
                  </c:pt>
                  <c:pt idx="23">
                    <c:v>Rolling Stdev (30 Minute)</c:v>
                  </c:pt>
                  <c:pt idx="24">
                    <c:v>Rolling Stdev (30 Minute)</c:v>
                  </c:pt>
                  <c:pt idx="25">
                    <c:v>Rolling Stdev (30 Minute)</c:v>
                  </c:pt>
                  <c:pt idx="26">
                    <c:v>Rolling Stdev (30 Minute)</c:v>
                  </c:pt>
                  <c:pt idx="27">
                    <c:v>Rolling Stdev (30 Minute)</c:v>
                  </c:pt>
                  <c:pt idx="28">
                    <c:v>Rolling Stdev (30 Minute)</c:v>
                  </c:pt>
                  <c:pt idx="29">
                    <c:v>Rolling Stdev (30 Minute)</c:v>
                  </c:pt>
                  <c:pt idx="30">
                    <c:v>Rolling Stdev (30 Minute)</c:v>
                  </c:pt>
                  <c:pt idx="31">
                    <c:v>Rolling Stdev (30 Minute)</c:v>
                  </c:pt>
                  <c:pt idx="32">
                    <c:v>Rolling Stdev (30 Minute)</c:v>
                  </c:pt>
                  <c:pt idx="33">
                    <c:v>Rolling Stdev (30 Minute)</c:v>
                  </c:pt>
                  <c:pt idx="34">
                    <c:v>Rolling Stdev (30 Minute)</c:v>
                  </c:pt>
                  <c:pt idx="35">
                    <c:v>Rolling Stdev (30 Minute)</c:v>
                  </c:pt>
                  <c:pt idx="36">
                    <c:v>Rolling Stdev (30 Minute)</c:v>
                  </c:pt>
                  <c:pt idx="37">
                    <c:v>Rolling Stdev (30 Minute)</c:v>
                  </c:pt>
                  <c:pt idx="38">
                    <c:v>Rolling Stdev (30 Minute)</c:v>
                  </c:pt>
                  <c:pt idx="39">
                    <c:v>Rolling Stdev (30 Minute)</c:v>
                  </c:pt>
                  <c:pt idx="40">
                    <c:v>Rolling Stdev (30 Minute)</c:v>
                  </c:pt>
                  <c:pt idx="41">
                    <c:v>Rolling Stdev (30 Minute)</c:v>
                  </c:pt>
                  <c:pt idx="42">
                    <c:v>Rolling Stdev (30 Minute)</c:v>
                  </c:pt>
                  <c:pt idx="43">
                    <c:v>Rolling Stdev (30 Minute)</c:v>
                  </c:pt>
                  <c:pt idx="44">
                    <c:v>Rolling Stdev (30 Minute)</c:v>
                  </c:pt>
                  <c:pt idx="45">
                    <c:v>Rolling Stdev (30 Minute)</c:v>
                  </c:pt>
                  <c:pt idx="46">
                    <c:v>Rolling Stdev (30 Minute)</c:v>
                  </c:pt>
                  <c:pt idx="47">
                    <c:v>Rolling Stdev (30 Minute)</c:v>
                  </c:pt>
                  <c:pt idx="48">
                    <c:v>Rolling Stdev (30 Minute)</c:v>
                  </c:pt>
                  <c:pt idx="49">
                    <c:v>Rolling Stdev (30 Minute)</c:v>
                  </c:pt>
                  <c:pt idx="50">
                    <c:v>Rolling Stdev (30 Minute)</c:v>
                  </c:pt>
                  <c:pt idx="51">
                    <c:v>Rolling Stdev (30 Minute)</c:v>
                  </c:pt>
                  <c:pt idx="52">
                    <c:v>Rolling Stdev (30 Minute)</c:v>
                  </c:pt>
                  <c:pt idx="53">
                    <c:v>Rolling Stdev (30 Minute)</c:v>
                  </c:pt>
                  <c:pt idx="54">
                    <c:v>Rolling Stdev (30 Minute)</c:v>
                  </c:pt>
                  <c:pt idx="55">
                    <c:v>Rolling Stdev (30 Minute)</c:v>
                  </c:pt>
                  <c:pt idx="56">
                    <c:v>Rolling Stdev (30 Minute)</c:v>
                  </c:pt>
                  <c:pt idx="57">
                    <c:v>Rolling Stdev (30 Minute)</c:v>
                  </c:pt>
                  <c:pt idx="58">
                    <c:v>Rolling Stdev (30 Minute)</c:v>
                  </c:pt>
                  <c:pt idx="59">
                    <c:v>Rolling Stdev (30 Minute)</c:v>
                  </c:pt>
                  <c:pt idx="60">
                    <c:v>Rolling Stdev (30 Minute)</c:v>
                  </c:pt>
                  <c:pt idx="61">
                    <c:v>Rolling Stdev (30 Minute)</c:v>
                  </c:pt>
                  <c:pt idx="62">
                    <c:v>Rolling Stdev (30 Minute)</c:v>
                  </c:pt>
                  <c:pt idx="63">
                    <c:v>Rolling Stdev (30 Minute)</c:v>
                  </c:pt>
                  <c:pt idx="64">
                    <c:v>Rolling Stdev (30 Minute)</c:v>
                  </c:pt>
                  <c:pt idx="65">
                    <c:v>Rolling Stdev (30 Minute)</c:v>
                  </c:pt>
                  <c:pt idx="66">
                    <c:v>Rolling Stdev (30 Minute)</c:v>
                  </c:pt>
                  <c:pt idx="67">
                    <c:v>Rolling Stdev (30 Minute)</c:v>
                  </c:pt>
                  <c:pt idx="68">
                    <c:v>Rolling Stdev (30 Minute)</c:v>
                  </c:pt>
                  <c:pt idx="69">
                    <c:v>Rolling Stdev (30 Minute)</c:v>
                  </c:pt>
                  <c:pt idx="70">
                    <c:v>Rolling Stdev (30 Minute)</c:v>
                  </c:pt>
                  <c:pt idx="71">
                    <c:v>Rolling Stdev (30 Minute)</c:v>
                  </c:pt>
                  <c:pt idx="72">
                    <c:v>Rolling Stdev (30 Minute)</c:v>
                  </c:pt>
                  <c:pt idx="73">
                    <c:v>Rolling Stdev (30 Minute)</c:v>
                  </c:pt>
                  <c:pt idx="74">
                    <c:v>Rolling Stdev (30 Minute)</c:v>
                  </c:pt>
                  <c:pt idx="75">
                    <c:v>Rolling Stdev (30 Minute)</c:v>
                  </c:pt>
                  <c:pt idx="76">
                    <c:v>Rolling Stdev (30 Minute)</c:v>
                  </c:pt>
                  <c:pt idx="77">
                    <c:v>Rolling Stdev (30 Minute)</c:v>
                  </c:pt>
                  <c:pt idx="78">
                    <c:v>Rolling Stdev (30 Minute)</c:v>
                  </c:pt>
                  <c:pt idx="79">
                    <c:v>Rolling Stdev (30 Minute)</c:v>
                  </c:pt>
                  <c:pt idx="80">
                    <c:v>Rolling Stdev (30 Minute)</c:v>
                  </c:pt>
                  <c:pt idx="81">
                    <c:v>Rolling Stdev (30 Minute)</c:v>
                  </c:pt>
                  <c:pt idx="82">
                    <c:v>Rolling Stdev (30 Minute)</c:v>
                  </c:pt>
                  <c:pt idx="83">
                    <c:v>Rolling Stdev (30 Minute)</c:v>
                  </c:pt>
                  <c:pt idx="84">
                    <c:v>Rolling Stdev (30 Minute)</c:v>
                  </c:pt>
                  <c:pt idx="85">
                    <c:v>Rolling Stdev (30 Minute)</c:v>
                  </c:pt>
                  <c:pt idx="86">
                    <c:v>Rolling Stdev (30 Minute)</c:v>
                  </c:pt>
                  <c:pt idx="87">
                    <c:v>Rolling Stdev (30 Minute)</c:v>
                  </c:pt>
                  <c:pt idx="88">
                    <c:v>Rolling Stdev (30 Minute)</c:v>
                  </c:pt>
                  <c:pt idx="89">
                    <c:v>Rolling Stdev (30 Minute)</c:v>
                  </c:pt>
                  <c:pt idx="90">
                    <c:v>Rolling Stdev (30 Minute)</c:v>
                  </c:pt>
                  <c:pt idx="91">
                    <c:v>Rolling Stdev (30 Minute)</c:v>
                  </c:pt>
                  <c:pt idx="92">
                    <c:v>Rolling Stdev (30 Minute)</c:v>
                  </c:pt>
                  <c:pt idx="93">
                    <c:v>Rolling Stdev (30 Minute)</c:v>
                  </c:pt>
                  <c:pt idx="94">
                    <c:v>Rolling Stdev (30 Minute)</c:v>
                  </c:pt>
                  <c:pt idx="95">
                    <c:v>Rolling Stdev (30 Minute)</c:v>
                  </c:pt>
                  <c:pt idx="96">
                    <c:v>Rolling Stdev (30 Minute)</c:v>
                  </c:pt>
                  <c:pt idx="97">
                    <c:v>Rolling Stdev (30 Minute)</c:v>
                  </c:pt>
                  <c:pt idx="98">
                    <c:v>Rolling Stdev (30 Minute)</c:v>
                  </c:pt>
                  <c:pt idx="99">
                    <c:v>Rolling Stdev (30 Minute)</c:v>
                  </c:pt>
                  <c:pt idx="100">
                    <c:v>Rolling Stdev (30 Minute)</c:v>
                  </c:pt>
                  <c:pt idx="101">
                    <c:v>Rolling Stdev (30 Minute)</c:v>
                  </c:pt>
                  <c:pt idx="102">
                    <c:v>Rolling Stdev (30 Minute)</c:v>
                  </c:pt>
                  <c:pt idx="103">
                    <c:v>Rolling Stdev (30 Minute)</c:v>
                  </c:pt>
                  <c:pt idx="104">
                    <c:v>Rolling Stdev (30 Minute)</c:v>
                  </c:pt>
                  <c:pt idx="105">
                    <c:v>Rolling Stdev (30 Minute)</c:v>
                  </c:pt>
                  <c:pt idx="106">
                    <c:v>Rolling Stdev (30 Minute)</c:v>
                  </c:pt>
                  <c:pt idx="107">
                    <c:v>Rolling Stdev (30 Minute)</c:v>
                  </c:pt>
                  <c:pt idx="108">
                    <c:v>Rolling Stdev (30 Minute)</c:v>
                  </c:pt>
                  <c:pt idx="109">
                    <c:v>Rolling Stdev (30 Minute)</c:v>
                  </c:pt>
                  <c:pt idx="110">
                    <c:v>Rolling Stdev (30 Minute)</c:v>
                  </c:pt>
                  <c:pt idx="111">
                    <c:v>Rolling Stdev (30 Minute)</c:v>
                  </c:pt>
                  <c:pt idx="112">
                    <c:v>Rolling Stdev (30 Minute)</c:v>
                  </c:pt>
                  <c:pt idx="113">
                    <c:v>Rolling Stdev (30 Minute)</c:v>
                  </c:pt>
                  <c:pt idx="114">
                    <c:v>Rolling Stdev (30 Minute)</c:v>
                  </c:pt>
                  <c:pt idx="115">
                    <c:v>Rolling Stdev (30 Minute)</c:v>
                  </c:pt>
                  <c:pt idx="116">
                    <c:v>Rolling Stdev (30 Minute)</c:v>
                  </c:pt>
                  <c:pt idx="117">
                    <c:v>Rolling Stdev (30 Minute)</c:v>
                  </c:pt>
                  <c:pt idx="118">
                    <c:v>Rolling Stdev (30 Minute)</c:v>
                  </c:pt>
                  <c:pt idx="119">
                    <c:v>Rolling Stdev (30 Minute)</c:v>
                  </c:pt>
                  <c:pt idx="120">
                    <c:v>Rolling Stdev (30 Minute)</c:v>
                  </c:pt>
                  <c:pt idx="121">
                    <c:v>Rolling Stdev (30 Minute)</c:v>
                  </c:pt>
                  <c:pt idx="122">
                    <c:v>Rolling Stdev (30 Minute)</c:v>
                  </c:pt>
                  <c:pt idx="123">
                    <c:v>Rolling Stdev (30 Minute)</c:v>
                  </c:pt>
                  <c:pt idx="124">
                    <c:v>Rolling Stdev (30 Minute)</c:v>
                  </c:pt>
                  <c:pt idx="125">
                    <c:v>Rolling Stdev (30 Minute)</c:v>
                  </c:pt>
                  <c:pt idx="126">
                    <c:v>Rolling Stdev (30 Minute)</c:v>
                  </c:pt>
                  <c:pt idx="127">
                    <c:v>Rolling Stdev (30 Minute)</c:v>
                  </c:pt>
                  <c:pt idx="128">
                    <c:v>Rolling Stdev (30 Minute)</c:v>
                  </c:pt>
                  <c:pt idx="129">
                    <c:v>Rolling Stdev (30 Minute)</c:v>
                  </c:pt>
                  <c:pt idx="130">
                    <c:v>Rolling Stdev (30 Minute)</c:v>
                  </c:pt>
                  <c:pt idx="131">
                    <c:v>Rolling Stdev (30 Minute)</c:v>
                  </c:pt>
                  <c:pt idx="132">
                    <c:v>Rolling Stdev (30 Minute)</c:v>
                  </c:pt>
                  <c:pt idx="133">
                    <c:v>Rolling Stdev (30 Minute)</c:v>
                  </c:pt>
                  <c:pt idx="134">
                    <c:v>Rolling Stdev (30 Minute)</c:v>
                  </c:pt>
                  <c:pt idx="135">
                    <c:v>Rolling Stdev (30 Minute)</c:v>
                  </c:pt>
                  <c:pt idx="136">
                    <c:v>Rolling Stdev (30 Minute)</c:v>
                  </c:pt>
                  <c:pt idx="137">
                    <c:v>Rolling Stdev (30 Minute)</c:v>
                  </c:pt>
                  <c:pt idx="138">
                    <c:v>Rolling Stdev (30 Minute)</c:v>
                  </c:pt>
                  <c:pt idx="139">
                    <c:v>Rolling Stdev (30 Minute)</c:v>
                  </c:pt>
                  <c:pt idx="140">
                    <c:v>Rolling Stdev (30 Minute)</c:v>
                  </c:pt>
                  <c:pt idx="141">
                    <c:v>Rolling Stdev (30 Minute)</c:v>
                  </c:pt>
                  <c:pt idx="142">
                    <c:v>Rolling Stdev (30 Minute)</c:v>
                  </c:pt>
                  <c:pt idx="143">
                    <c:v>Rolling Stdev (30 Minute)</c:v>
                  </c:pt>
                  <c:pt idx="144">
                    <c:v>Rolling Stdev (30 Minute)</c:v>
                  </c:pt>
                  <c:pt idx="145">
                    <c:v>Rolling Stdev (30 Minute)</c:v>
                  </c:pt>
                  <c:pt idx="146">
                    <c:v>Rolling Stdev (30 Minute)</c:v>
                  </c:pt>
                  <c:pt idx="147">
                    <c:v>Rolling Stdev (30 Minute)</c:v>
                  </c:pt>
                  <c:pt idx="148">
                    <c:v>Rolling Stdev (30 Minute)</c:v>
                  </c:pt>
                  <c:pt idx="149">
                    <c:v>Rolling Stdev (30 Minute)</c:v>
                  </c:pt>
                  <c:pt idx="150">
                    <c:v>Rolling Stdev (30 Minute)</c:v>
                  </c:pt>
                  <c:pt idx="151">
                    <c:v>Rolling Stdev (30 Minute)</c:v>
                  </c:pt>
                  <c:pt idx="152">
                    <c:v>Rolling Stdev (30 Minute)</c:v>
                  </c:pt>
                  <c:pt idx="153">
                    <c:v>Rolling Stdev (30 Minute)</c:v>
                  </c:pt>
                  <c:pt idx="154">
                    <c:v>Rolling Stdev (30 Minute)</c:v>
                  </c:pt>
                  <c:pt idx="155">
                    <c:v>Rolling Stdev (30 Minute)</c:v>
                  </c:pt>
                  <c:pt idx="156">
                    <c:v>Rolling Stdev (30 Minute)</c:v>
                  </c:pt>
                  <c:pt idx="157">
                    <c:v>Rolling Stdev (30 Minute)</c:v>
                  </c:pt>
                  <c:pt idx="158">
                    <c:v>Rolling Stdev (30 Minute)</c:v>
                  </c:pt>
                  <c:pt idx="159">
                    <c:v>Rolling Stdev (30 Minute)</c:v>
                  </c:pt>
                  <c:pt idx="160">
                    <c:v>Rolling Stdev (30 Minute)</c:v>
                  </c:pt>
                  <c:pt idx="161">
                    <c:v>Rolling Stdev (30 Minute)</c:v>
                  </c:pt>
                  <c:pt idx="162">
                    <c:v>Rolling Stdev (30 Minute)</c:v>
                  </c:pt>
                  <c:pt idx="163">
                    <c:v>Rolling Stdev (30 Minute)</c:v>
                  </c:pt>
                  <c:pt idx="164">
                    <c:v>Rolling Stdev (30 Minute)</c:v>
                  </c:pt>
                  <c:pt idx="165">
                    <c:v>Rolling Stdev (30 Minute)</c:v>
                  </c:pt>
                  <c:pt idx="166">
                    <c:v>Rolling Stdev (30 Minute)</c:v>
                  </c:pt>
                  <c:pt idx="167">
                    <c:v>Rolling Stdev (30 Minute)</c:v>
                  </c:pt>
                  <c:pt idx="168">
                    <c:v>Rolling Stdev (30 Minute)</c:v>
                  </c:pt>
                  <c:pt idx="169">
                    <c:v>Rolling Stdev (30 Minute)</c:v>
                  </c:pt>
                  <c:pt idx="170">
                    <c:v>Rolling Stdev (30 Minute)</c:v>
                  </c:pt>
                  <c:pt idx="171">
                    <c:v>Rolling Stdev (30 Minute)</c:v>
                  </c:pt>
                  <c:pt idx="172">
                    <c:v>Rolling Stdev (30 Minute)</c:v>
                  </c:pt>
                  <c:pt idx="173">
                    <c:v>Rolling Stdev (30 Minute)</c:v>
                  </c:pt>
                  <c:pt idx="174">
                    <c:v>Rolling Stdev (30 Minute)</c:v>
                  </c:pt>
                  <c:pt idx="175">
                    <c:v>Rolling Stdev (30 Minute)</c:v>
                  </c:pt>
                  <c:pt idx="176">
                    <c:v>Rolling Stdev (30 Minute)</c:v>
                  </c:pt>
                  <c:pt idx="177">
                    <c:v>Rolling Stdev (30 Minute)</c:v>
                  </c:pt>
                  <c:pt idx="178">
                    <c:v>Rolling Stdev (30 Minute)</c:v>
                  </c:pt>
                  <c:pt idx="179">
                    <c:v>Rolling Stdev (30 Minute)</c:v>
                  </c:pt>
                  <c:pt idx="180">
                    <c:v>Rolling Stdev (30 Minute)</c:v>
                  </c:pt>
                  <c:pt idx="181">
                    <c:v>Rolling Stdev (30 Minute)</c:v>
                  </c:pt>
                  <c:pt idx="182">
                    <c:v>Rolling Stdev (30 Minute)</c:v>
                  </c:pt>
                  <c:pt idx="183">
                    <c:v>Rolling Stdev (30 Minute)</c:v>
                  </c:pt>
                  <c:pt idx="184">
                    <c:v>Rolling Stdev (30 Minute)</c:v>
                  </c:pt>
                  <c:pt idx="185">
                    <c:v>Rolling Stdev (30 Minute)</c:v>
                  </c:pt>
                  <c:pt idx="186">
                    <c:v>Rolling Stdev (30 Minute)</c:v>
                  </c:pt>
                  <c:pt idx="187">
                    <c:v>Rolling Stdev (30 Minute)</c:v>
                  </c:pt>
                  <c:pt idx="188">
                    <c:v>Rolling Stdev (30 Minute)</c:v>
                  </c:pt>
                  <c:pt idx="189">
                    <c:v>Rolling Stdev (30 Minute)</c:v>
                  </c:pt>
                  <c:pt idx="190">
                    <c:v>Rolling Stdev (30 Minute)</c:v>
                  </c:pt>
                  <c:pt idx="191">
                    <c:v>Rolling Stdev (30 Minute)</c:v>
                  </c:pt>
                  <c:pt idx="192">
                    <c:v>Rolling Stdev (30 Minute)</c:v>
                  </c:pt>
                  <c:pt idx="193">
                    <c:v>Rolling Stdev (30 Minute)</c:v>
                  </c:pt>
                  <c:pt idx="194">
                    <c:v>Rolling Stdev (30 Minute)</c:v>
                  </c:pt>
                  <c:pt idx="195">
                    <c:v>Rolling Stdev (30 Minute)</c:v>
                  </c:pt>
                  <c:pt idx="196">
                    <c:v>Rolling Stdev (30 Minute)</c:v>
                  </c:pt>
                  <c:pt idx="197">
                    <c:v>Rolling Stdev (30 Minute)</c:v>
                  </c:pt>
                  <c:pt idx="198">
                    <c:v>Rolling Stdev (30 Minute)</c:v>
                  </c:pt>
                  <c:pt idx="199">
                    <c:v>Rolling Stdev (30 Minute)</c:v>
                  </c:pt>
                  <c:pt idx="200">
                    <c:v>Rolling Stdev (30 Minute)</c:v>
                  </c:pt>
                  <c:pt idx="201">
                    <c:v>Rolling Stdev (30 Minute)</c:v>
                  </c:pt>
                  <c:pt idx="202">
                    <c:v>Rolling Stdev (30 Minute)</c:v>
                  </c:pt>
                  <c:pt idx="203">
                    <c:v>Rolling Stdev (30 Minute)</c:v>
                  </c:pt>
                  <c:pt idx="204">
                    <c:v>Rolling Stdev (30 Minute)</c:v>
                  </c:pt>
                  <c:pt idx="205">
                    <c:v>Rolling Stdev (30 Minute)</c:v>
                  </c:pt>
                  <c:pt idx="206">
                    <c:v>Rolling Stdev (30 Minute)</c:v>
                  </c:pt>
                  <c:pt idx="207">
                    <c:v>Rolling Stdev (30 Minute)</c:v>
                  </c:pt>
                  <c:pt idx="208">
                    <c:v>Rolling Stdev (30 Minute)</c:v>
                  </c:pt>
                  <c:pt idx="209">
                    <c:v>Rolling Stdev (30 Minute)</c:v>
                  </c:pt>
                  <c:pt idx="210">
                    <c:v>Rolling Stdev (30 Minute)</c:v>
                  </c:pt>
                  <c:pt idx="211">
                    <c:v>Rolling Stdev (30 Minute)</c:v>
                  </c:pt>
                  <c:pt idx="212">
                    <c:v>Rolling Stdev (30 Minute)</c:v>
                  </c:pt>
                  <c:pt idx="213">
                    <c:v>Rolling Stdev (30 Minute)</c:v>
                  </c:pt>
                  <c:pt idx="214">
                    <c:v>Rolling Stdev (30 Minute)</c:v>
                  </c:pt>
                  <c:pt idx="215">
                    <c:v>Rolling Stdev (30 Minute)</c:v>
                  </c:pt>
                  <c:pt idx="216">
                    <c:v>Rolling Stdev (30 Minute)</c:v>
                  </c:pt>
                  <c:pt idx="217">
                    <c:v>Rolling Stdev (30 Minute)</c:v>
                  </c:pt>
                  <c:pt idx="218">
                    <c:v>Rolling Stdev (30 Minute)</c:v>
                  </c:pt>
                  <c:pt idx="219">
                    <c:v>Rolling Stdev (30 Minute)</c:v>
                  </c:pt>
                  <c:pt idx="220">
                    <c:v>Rolling Stdev (30 Minute)</c:v>
                  </c:pt>
                  <c:pt idx="221">
                    <c:v>Rolling Stdev (30 Minute)</c:v>
                  </c:pt>
                  <c:pt idx="222">
                    <c:v>Rolling Stdev (30 Minute)</c:v>
                  </c:pt>
                  <c:pt idx="223">
                    <c:v>Rolling Stdev (30 Minute)</c:v>
                  </c:pt>
                  <c:pt idx="224">
                    <c:v>Rolling Stdev (30 Minute)</c:v>
                  </c:pt>
                  <c:pt idx="225">
                    <c:v>Rolling Stdev (30 Minute)</c:v>
                  </c:pt>
                  <c:pt idx="226">
                    <c:v>Rolling Stdev (30 Minute)</c:v>
                  </c:pt>
                  <c:pt idx="227">
                    <c:v>Rolling Stdev (30 Minute)</c:v>
                  </c:pt>
                  <c:pt idx="228">
                    <c:v>Rolling Stdev (30 Minute)</c:v>
                  </c:pt>
                  <c:pt idx="229">
                    <c:v>Rolling Stdev (30 Minute)</c:v>
                  </c:pt>
                  <c:pt idx="230">
                    <c:v>Rolling Stdev (30 Minute)</c:v>
                  </c:pt>
                  <c:pt idx="231">
                    <c:v>Rolling Stdev (30 Minute)</c:v>
                  </c:pt>
                  <c:pt idx="232">
                    <c:v>Rolling Stdev (30 Minute)</c:v>
                  </c:pt>
                  <c:pt idx="233">
                    <c:v>Rolling Stdev (30 Minute)</c:v>
                  </c:pt>
                  <c:pt idx="234">
                    <c:v>Rolling Stdev (30 Minute)</c:v>
                  </c:pt>
                  <c:pt idx="235">
                    <c:v>Rolling Stdev (30 Minute)</c:v>
                  </c:pt>
                  <c:pt idx="236">
                    <c:v>Rolling Stdev (30 Minute)</c:v>
                  </c:pt>
                  <c:pt idx="237">
                    <c:v>Rolling Stdev (30 Minute)</c:v>
                  </c:pt>
                  <c:pt idx="238">
                    <c:v>Rolling Stdev (30 Minute)</c:v>
                  </c:pt>
                  <c:pt idx="239">
                    <c:v>Rolling Stdev (30 Minute)</c:v>
                  </c:pt>
                  <c:pt idx="240">
                    <c:v>Rolling Stdev (30 Minute)</c:v>
                  </c:pt>
                  <c:pt idx="241">
                    <c:v>Rolling Stdev (30 Minute)</c:v>
                  </c:pt>
                  <c:pt idx="242">
                    <c:v>Rolling Stdev (30 Minute)</c:v>
                  </c:pt>
                  <c:pt idx="243">
                    <c:v>Rolling Stdev (30 Minute)</c:v>
                  </c:pt>
                  <c:pt idx="244">
                    <c:v>Rolling Stdev (30 Minute)</c:v>
                  </c:pt>
                  <c:pt idx="245">
                    <c:v>Rolling Stdev (30 Minute)</c:v>
                  </c:pt>
                  <c:pt idx="246">
                    <c:v>Rolling Stdev (30 Minute)</c:v>
                  </c:pt>
                  <c:pt idx="247">
                    <c:v>Rolling Stdev (30 Minute)</c:v>
                  </c:pt>
                  <c:pt idx="248">
                    <c:v>Rolling Stdev (30 Minute)</c:v>
                  </c:pt>
                  <c:pt idx="249">
                    <c:v>Rolling Stdev (30 Minute)</c:v>
                  </c:pt>
                  <c:pt idx="250">
                    <c:v>Rolling Stdev (30 Minute)</c:v>
                  </c:pt>
                  <c:pt idx="251">
                    <c:v>Rolling Stdev (30 Minute)</c:v>
                  </c:pt>
                  <c:pt idx="252">
                    <c:v>Rolling Stdev (30 Minute)</c:v>
                  </c:pt>
                  <c:pt idx="253">
                    <c:v>Rolling Stdev (30 Minute)</c:v>
                  </c:pt>
                  <c:pt idx="254">
                    <c:v>Rolling Stdev (30 Minute)</c:v>
                  </c:pt>
                  <c:pt idx="255">
                    <c:v>Rolling Stdev (30 Minute)</c:v>
                  </c:pt>
                  <c:pt idx="256">
                    <c:v>Rolling Stdev (30 Minute)</c:v>
                  </c:pt>
                  <c:pt idx="257">
                    <c:v>Rolling Stdev (30 Minute)</c:v>
                  </c:pt>
                  <c:pt idx="258">
                    <c:v>Rolling Stdev (30 Minute)</c:v>
                  </c:pt>
                  <c:pt idx="259">
                    <c:v>Rolling Stdev (30 Minute)</c:v>
                  </c:pt>
                  <c:pt idx="260">
                    <c:v>Rolling Stdev (30 Minute)</c:v>
                  </c:pt>
                  <c:pt idx="261">
                    <c:v>Rolling Stdev (30 Minute)</c:v>
                  </c:pt>
                  <c:pt idx="262">
                    <c:v>Rolling Stdev (30 Minute)</c:v>
                  </c:pt>
                  <c:pt idx="263">
                    <c:v>Rolling Stdev (30 Minute)</c:v>
                  </c:pt>
                  <c:pt idx="264">
                    <c:v>Rolling Stdev (30 Minute)</c:v>
                  </c:pt>
                  <c:pt idx="265">
                    <c:v>Rolling Stdev (30 Minute)</c:v>
                  </c:pt>
                  <c:pt idx="266">
                    <c:v>Rolling Stdev (30 Minute)</c:v>
                  </c:pt>
                  <c:pt idx="267">
                    <c:v>Rolling Stdev (30 Minute)</c:v>
                  </c:pt>
                  <c:pt idx="268">
                    <c:v>Rolling Stdev (30 Minute)</c:v>
                  </c:pt>
                  <c:pt idx="269">
                    <c:v>Rolling Stdev (30 Minute)</c:v>
                  </c:pt>
                  <c:pt idx="270">
                    <c:v>Rolling Stdev (30 Minute)</c:v>
                  </c:pt>
                  <c:pt idx="271">
                    <c:v>Rolling Stdev (30 Minute)</c:v>
                  </c:pt>
                  <c:pt idx="272">
                    <c:v>Rolling Stdev (30 Minute)</c:v>
                  </c:pt>
                  <c:pt idx="273">
                    <c:v>Rolling Stdev (30 Minute)</c:v>
                  </c:pt>
                  <c:pt idx="274">
                    <c:v>Rolling Stdev (30 Minute)</c:v>
                  </c:pt>
                  <c:pt idx="275">
                    <c:v>Rolling Stdev (30 Minute)</c:v>
                  </c:pt>
                  <c:pt idx="276">
                    <c:v>Rolling Stdev (30 Minute)</c:v>
                  </c:pt>
                  <c:pt idx="277">
                    <c:v>Rolling Stdev (30 Minute)</c:v>
                  </c:pt>
                  <c:pt idx="278">
                    <c:v>Rolling Stdev (30 Minute)</c:v>
                  </c:pt>
                  <c:pt idx="279">
                    <c:v>Rolling Stdev (30 Minute)</c:v>
                  </c:pt>
                  <c:pt idx="280">
                    <c:v>Rolling Stdev (30 Minute)</c:v>
                  </c:pt>
                  <c:pt idx="281">
                    <c:v>Rolling Stdev (30 Minute)</c:v>
                  </c:pt>
                  <c:pt idx="282">
                    <c:v>Rolling Stdev (30 Minute)</c:v>
                  </c:pt>
                  <c:pt idx="283">
                    <c:v>Rolling Stdev (30 Minute)</c:v>
                  </c:pt>
                  <c:pt idx="284">
                    <c:v>Rolling Stdev (30 Minute)</c:v>
                  </c:pt>
                  <c:pt idx="285">
                    <c:v>Rolling Stdev (30 Minute)</c:v>
                  </c:pt>
                  <c:pt idx="286">
                    <c:v>Rolling Stdev (30 Minute)</c:v>
                  </c:pt>
                  <c:pt idx="287">
                    <c:v>Rolling Stdev (30 Minute)</c:v>
                  </c:pt>
                  <c:pt idx="288">
                    <c:v>Rolling Stdev (30 Minute)</c:v>
                  </c:pt>
                  <c:pt idx="289">
                    <c:v>Rolling Stdev (30 Minute)</c:v>
                  </c:pt>
                  <c:pt idx="290">
                    <c:v>Rolling Stdev (30 Minute)</c:v>
                  </c:pt>
                  <c:pt idx="291">
                    <c:v>Rolling Stdev (30 Minute)</c:v>
                  </c:pt>
                  <c:pt idx="292">
                    <c:v>Rolling Stdev (30 Minute)</c:v>
                  </c:pt>
                  <c:pt idx="293">
                    <c:v>Rolling Stdev (30 Minute)</c:v>
                  </c:pt>
                  <c:pt idx="294">
                    <c:v>Rolling Stdev (30 Minute)</c:v>
                  </c:pt>
                  <c:pt idx="295">
                    <c:v>Rolling Stdev (30 Minute)</c:v>
                  </c:pt>
                  <c:pt idx="296">
                    <c:v>Rolling Stdev (30 Minute)</c:v>
                  </c:pt>
                  <c:pt idx="297">
                    <c:v>Rolling Stdev (30 Minute)</c:v>
                  </c:pt>
                  <c:pt idx="298">
                    <c:v>Rolling Stdev (30 Minute)</c:v>
                  </c:pt>
                  <c:pt idx="299">
                    <c:v>Rolling Stdev (30 Minute)</c:v>
                  </c:pt>
                  <c:pt idx="300">
                    <c:v>Rolling Stdev (30 Minute)</c:v>
                  </c:pt>
                  <c:pt idx="301">
                    <c:v>Rolling Stdev (30 Minute)</c:v>
                  </c:pt>
                  <c:pt idx="302">
                    <c:v>Rolling Stdev (30 Minute)</c:v>
                  </c:pt>
                  <c:pt idx="303">
                    <c:v>Rolling Stdev (30 Minute)</c:v>
                  </c:pt>
                  <c:pt idx="304">
                    <c:v>Rolling Stdev (30 Minute)</c:v>
                  </c:pt>
                  <c:pt idx="305">
                    <c:v>Rolling Stdev (30 Minute)</c:v>
                  </c:pt>
                  <c:pt idx="306">
                    <c:v>Rolling Stdev (30 Minute)</c:v>
                  </c:pt>
                  <c:pt idx="307">
                    <c:v>Rolling Stdev (30 Minute)</c:v>
                  </c:pt>
                  <c:pt idx="308">
                    <c:v>Rolling Stdev (30 Minute)</c:v>
                  </c:pt>
                  <c:pt idx="309">
                    <c:v>Rolling Stdev (30 Minute)</c:v>
                  </c:pt>
                  <c:pt idx="310">
                    <c:v>Rolling Stdev (30 Minute)</c:v>
                  </c:pt>
                  <c:pt idx="311">
                    <c:v>Rolling Stdev (30 Minute)</c:v>
                  </c:pt>
                  <c:pt idx="312">
                    <c:v>Rolling Stdev (30 Minute)</c:v>
                  </c:pt>
                  <c:pt idx="313">
                    <c:v>Rolling Stdev (30 Minute)</c:v>
                  </c:pt>
                  <c:pt idx="314">
                    <c:v>Rolling Stdev (30 Minute)</c:v>
                  </c:pt>
                  <c:pt idx="315">
                    <c:v>Rolling Stdev (30 Minute)</c:v>
                  </c:pt>
                  <c:pt idx="316">
                    <c:v>Rolling Stdev (30 Minute)</c:v>
                  </c:pt>
                  <c:pt idx="317">
                    <c:v>Rolling Stdev (30 Minute)</c:v>
                  </c:pt>
                  <c:pt idx="318">
                    <c:v>Rolling Stdev (30 Minute)</c:v>
                  </c:pt>
                  <c:pt idx="319">
                    <c:v>Rolling Stdev (30 Minute)</c:v>
                  </c:pt>
                  <c:pt idx="320">
                    <c:v>Rolling Stdev (30 Minute)</c:v>
                  </c:pt>
                  <c:pt idx="321">
                    <c:v>Rolling Stdev (30 Minute)</c:v>
                  </c:pt>
                  <c:pt idx="322">
                    <c:v>Rolling Stdev (30 Minute)</c:v>
                  </c:pt>
                  <c:pt idx="323">
                    <c:v>Rolling Stdev (30 Minute)</c:v>
                  </c:pt>
                  <c:pt idx="324">
                    <c:v>Rolling Stdev (30 Minute)</c:v>
                  </c:pt>
                  <c:pt idx="325">
                    <c:v>Rolling Stdev (30 Minute)</c:v>
                  </c:pt>
                  <c:pt idx="326">
                    <c:v>Rolling Stdev (30 Minute)</c:v>
                  </c:pt>
                  <c:pt idx="327">
                    <c:v>Rolling Stdev (30 Minute)</c:v>
                  </c:pt>
                  <c:pt idx="328">
                    <c:v>Rolling Stdev (30 Minute)</c:v>
                  </c:pt>
                  <c:pt idx="329">
                    <c:v>Rolling Stdev (30 Minute)</c:v>
                  </c:pt>
                  <c:pt idx="330">
                    <c:v>Rolling Stdev (30 Minute)</c:v>
                  </c:pt>
                  <c:pt idx="331">
                    <c:v>Rolling Stdev (30 Minute)</c:v>
                  </c:pt>
                  <c:pt idx="332">
                    <c:v>Rolling Stdev (30 Minute)</c:v>
                  </c:pt>
                  <c:pt idx="333">
                    <c:v>Rolling Stdev (30 Minute)</c:v>
                  </c:pt>
                  <c:pt idx="334">
                    <c:v>Rolling Stdev (30 Minute)</c:v>
                  </c:pt>
                  <c:pt idx="335">
                    <c:v>Rolling Stdev (30 Minute)</c:v>
                  </c:pt>
                  <c:pt idx="336">
                    <c:v>Rolling Stdev (30 Minute)</c:v>
                  </c:pt>
                  <c:pt idx="337">
                    <c:v>Rolling Stdev (30 Minute)</c:v>
                  </c:pt>
                  <c:pt idx="338">
                    <c:v>Rolling Stdev (30 Minute)</c:v>
                  </c:pt>
                  <c:pt idx="339">
                    <c:v>Rolling Stdev (30 Minute)</c:v>
                  </c:pt>
                  <c:pt idx="340">
                    <c:v>Rolling Stdev (30 Minute)</c:v>
                  </c:pt>
                  <c:pt idx="341">
                    <c:v>Rolling Stdev (30 Minute)</c:v>
                  </c:pt>
                  <c:pt idx="342">
                    <c:v>Rolling Stdev (30 Minute)</c:v>
                  </c:pt>
                  <c:pt idx="343">
                    <c:v>Rolling Stdev (30 Minute)</c:v>
                  </c:pt>
                  <c:pt idx="344">
                    <c:v>Rolling Stdev (30 Minute)</c:v>
                  </c:pt>
                  <c:pt idx="345">
                    <c:v>Rolling Stdev (30 Minute)</c:v>
                  </c:pt>
                  <c:pt idx="346">
                    <c:v>Rolling Stdev (30 Minute)</c:v>
                  </c:pt>
                  <c:pt idx="347">
                    <c:v>Rolling Stdev (30 Minute)</c:v>
                  </c:pt>
                  <c:pt idx="348">
                    <c:v>Rolling Stdev (30 Minute)</c:v>
                  </c:pt>
                  <c:pt idx="349">
                    <c:v>Rolling Stdev (30 Minute)</c:v>
                  </c:pt>
                  <c:pt idx="350">
                    <c:v>Rolling Stdev (30 Minute)</c:v>
                  </c:pt>
                  <c:pt idx="351">
                    <c:v>Rolling Stdev (30 Minute)</c:v>
                  </c:pt>
                  <c:pt idx="352">
                    <c:v>Rolling Stdev (30 Minute)</c:v>
                  </c:pt>
                  <c:pt idx="353">
                    <c:v>Rolling Stdev (30 Minute)</c:v>
                  </c:pt>
                  <c:pt idx="354">
                    <c:v>Rolling Stdev (30 Minute)</c:v>
                  </c:pt>
                  <c:pt idx="355">
                    <c:v>Rolling Stdev (30 Minute)</c:v>
                  </c:pt>
                  <c:pt idx="356">
                    <c:v>Rolling Stdev (30 Minute)</c:v>
                  </c:pt>
                  <c:pt idx="357">
                    <c:v>Rolling Stdev (30 Minute)</c:v>
                  </c:pt>
                  <c:pt idx="358">
                    <c:v>Rolling Stdev (30 Minute)</c:v>
                  </c:pt>
                  <c:pt idx="359">
                    <c:v>Rolling Stdev (30 Minute)</c:v>
                  </c:pt>
                  <c:pt idx="360">
                    <c:v>Rolling Stdev (30 Minute)</c:v>
                  </c:pt>
                  <c:pt idx="361">
                    <c:v>Rolling Stdev (30 Minute)</c:v>
                  </c:pt>
                  <c:pt idx="362">
                    <c:v>Rolling Stdev (30 Minute)</c:v>
                  </c:pt>
                  <c:pt idx="363">
                    <c:v>Rolling Stdev (30 Minute)</c:v>
                  </c:pt>
                  <c:pt idx="364">
                    <c:v>Rolling Stdev (30 Minute)</c:v>
                  </c:pt>
                  <c:pt idx="365">
                    <c:v>Rolling Stdev (30 Minute)</c:v>
                  </c:pt>
                  <c:pt idx="366">
                    <c:v>Rolling Stdev (30 Minute)</c:v>
                  </c:pt>
                  <c:pt idx="367">
                    <c:v>Rolling Stdev (30 Minute)</c:v>
                  </c:pt>
                  <c:pt idx="368">
                    <c:v>Rolling Stdev (30 Minute)</c:v>
                  </c:pt>
                  <c:pt idx="369">
                    <c:v>Rolling Stdev (30 Minute)</c:v>
                  </c:pt>
                  <c:pt idx="370">
                    <c:v>Rolling Stdev (30 Minute)</c:v>
                  </c:pt>
                  <c:pt idx="371">
                    <c:v>Rolling Stdev (30 Minute)</c:v>
                  </c:pt>
                  <c:pt idx="372">
                    <c:v>Rolling Stdev (30 Minute)</c:v>
                  </c:pt>
                  <c:pt idx="373">
                    <c:v>Rolling Stdev (30 Minute)</c:v>
                  </c:pt>
                  <c:pt idx="374">
                    <c:v>Rolling Stdev (30 Minute)</c:v>
                  </c:pt>
                  <c:pt idx="375">
                    <c:v>Rolling Stdev (30 Minute)</c:v>
                  </c:pt>
                  <c:pt idx="376">
                    <c:v>Rolling Stdev (30 Minute)</c:v>
                  </c:pt>
                  <c:pt idx="377">
                    <c:v>Rolling Stdev (30 Minute)</c:v>
                  </c:pt>
                  <c:pt idx="378">
                    <c:v>Rolling Stdev (30 Minute)</c:v>
                  </c:pt>
                  <c:pt idx="379">
                    <c:v>Rolling Stdev (30 Minute)</c:v>
                  </c:pt>
                  <c:pt idx="380">
                    <c:v>Rolling Stdev (30 Minute)</c:v>
                  </c:pt>
                  <c:pt idx="381">
                    <c:v>Rolling Stdev (30 Minute)</c:v>
                  </c:pt>
                  <c:pt idx="382">
                    <c:v>Rolling Stdev (30 Minute)</c:v>
                  </c:pt>
                  <c:pt idx="383">
                    <c:v>Rolling Stdev (30 Minute)</c:v>
                  </c:pt>
                  <c:pt idx="384">
                    <c:v>Rolling Stdev (30 Minute)</c:v>
                  </c:pt>
                  <c:pt idx="385">
                    <c:v>Rolling Stdev (30 Minute)</c:v>
                  </c:pt>
                  <c:pt idx="386">
                    <c:v>Rolling Stdev (30 Minute)</c:v>
                  </c:pt>
                  <c:pt idx="387">
                    <c:v>Rolling Stdev (30 Minute)</c:v>
                  </c:pt>
                  <c:pt idx="388">
                    <c:v>Rolling Stdev (30 Minute)</c:v>
                  </c:pt>
                  <c:pt idx="389">
                    <c:v>Rolling Stdev (30 Minute)</c:v>
                  </c:pt>
                  <c:pt idx="390">
                    <c:v>Rolling Stdev (30 Minute)</c:v>
                  </c:pt>
                  <c:pt idx="391">
                    <c:v>Rolling Stdev (30 Minute)</c:v>
                  </c:pt>
                  <c:pt idx="392">
                    <c:v>Rolling Stdev (30 Minute)</c:v>
                  </c:pt>
                  <c:pt idx="393">
                    <c:v>Rolling Stdev (30 Minute)</c:v>
                  </c:pt>
                  <c:pt idx="394">
                    <c:v>Rolling Stdev (30 Minute)</c:v>
                  </c:pt>
                  <c:pt idx="395">
                    <c:v>Rolling Stdev (30 Minute)</c:v>
                  </c:pt>
                  <c:pt idx="396">
                    <c:v>Rolling Stdev (30 Minute)</c:v>
                  </c:pt>
                  <c:pt idx="397">
                    <c:v>Rolling Stdev (30 Minute)</c:v>
                  </c:pt>
                  <c:pt idx="398">
                    <c:v>Rolling Stdev (30 Minute)</c:v>
                  </c:pt>
                  <c:pt idx="399">
                    <c:v>Rolling Stdev (30 Minute)</c:v>
                  </c:pt>
                  <c:pt idx="400">
                    <c:v>Rolling Stdev (30 Minute)</c:v>
                  </c:pt>
                  <c:pt idx="401">
                    <c:v>Rolling Stdev (30 Minute)</c:v>
                  </c:pt>
                  <c:pt idx="402">
                    <c:v>Rolling Stdev (30 Minute)</c:v>
                  </c:pt>
                  <c:pt idx="403">
                    <c:v>Rolling Stdev (30 Minute)</c:v>
                  </c:pt>
                  <c:pt idx="404">
                    <c:v>Rolling Stdev (30 Minute)</c:v>
                  </c:pt>
                  <c:pt idx="405">
                    <c:v>Rolling Stdev (30 Minute)</c:v>
                  </c:pt>
                  <c:pt idx="406">
                    <c:v>Rolling Stdev (30 Minute)</c:v>
                  </c:pt>
                  <c:pt idx="407">
                    <c:v>Rolling Stdev (30 Minute)</c:v>
                  </c:pt>
                  <c:pt idx="408">
                    <c:v>Rolling Stdev (30 Minute)</c:v>
                  </c:pt>
                  <c:pt idx="409">
                    <c:v>Rolling Stdev (30 Minute)</c:v>
                  </c:pt>
                  <c:pt idx="410">
                    <c:v>Rolling Stdev (30 Minute)</c:v>
                  </c:pt>
                  <c:pt idx="411">
                    <c:v>Rolling Stdev (30 Minute)</c:v>
                  </c:pt>
                  <c:pt idx="412">
                    <c:v>Rolling Stdev (30 Minute)</c:v>
                  </c:pt>
                  <c:pt idx="413">
                    <c:v>Rolling Stdev (30 Minute)</c:v>
                  </c:pt>
                  <c:pt idx="414">
                    <c:v>Rolling Stdev (30 Minute)</c:v>
                  </c:pt>
                  <c:pt idx="415">
                    <c:v>Rolling Stdev (30 Minute)</c:v>
                  </c:pt>
                  <c:pt idx="416">
                    <c:v>Rolling Stdev (30 Minute)</c:v>
                  </c:pt>
                  <c:pt idx="417">
                    <c:v>Rolling Stdev (30 Minute)</c:v>
                  </c:pt>
                  <c:pt idx="418">
                    <c:v>Rolling Stdev (30 Minute)</c:v>
                  </c:pt>
                  <c:pt idx="419">
                    <c:v>Rolling Stdev (30 Minute)</c:v>
                  </c:pt>
                  <c:pt idx="420">
                    <c:v>Rolling Stdev (30 Minute)</c:v>
                  </c:pt>
                  <c:pt idx="421">
                    <c:v>Rolling Stdev (30 Minute)</c:v>
                  </c:pt>
                  <c:pt idx="422">
                    <c:v>Rolling Stdev (30 Minute)</c:v>
                  </c:pt>
                  <c:pt idx="423">
                    <c:v>Rolling Stdev (30 Minute)</c:v>
                  </c:pt>
                  <c:pt idx="424">
                    <c:v>Rolling Stdev (30 Minute)</c:v>
                  </c:pt>
                  <c:pt idx="425">
                    <c:v>Rolling Stdev (30 Minute)</c:v>
                  </c:pt>
                  <c:pt idx="426">
                    <c:v>Rolling Stdev (30 Minute)</c:v>
                  </c:pt>
                  <c:pt idx="427">
                    <c:v>Rolling Stdev (30 Minute)</c:v>
                  </c:pt>
                  <c:pt idx="428">
                    <c:v>Rolling Stdev (30 Minute)</c:v>
                  </c:pt>
                  <c:pt idx="429">
                    <c:v>Rolling Stdev (30 Minute)</c:v>
                  </c:pt>
                  <c:pt idx="430">
                    <c:v>Rolling Stdev (30 Minute)</c:v>
                  </c:pt>
                  <c:pt idx="431">
                    <c:v>Rolling Stdev (30 Minute)</c:v>
                  </c:pt>
                  <c:pt idx="432">
                    <c:v>Rolling Stdev (30 Minute)</c:v>
                  </c:pt>
                  <c:pt idx="433">
                    <c:v>Rolling Stdev (30 Minute)</c:v>
                  </c:pt>
                  <c:pt idx="434">
                    <c:v>Rolling Stdev (30 Minute)</c:v>
                  </c:pt>
                  <c:pt idx="435">
                    <c:v>Rolling Stdev (30 Minute)</c:v>
                  </c:pt>
                  <c:pt idx="436">
                    <c:v>Rolling Stdev (30 Minute)</c:v>
                  </c:pt>
                  <c:pt idx="437">
                    <c:v>Rolling Stdev (30 Minute)</c:v>
                  </c:pt>
                  <c:pt idx="438">
                    <c:v>Rolling Stdev (30 Minute)</c:v>
                  </c:pt>
                  <c:pt idx="439">
                    <c:v>Rolling Stdev (30 Minute)</c:v>
                  </c:pt>
                  <c:pt idx="440">
                    <c:v>Rolling Stdev (30 Minute)</c:v>
                  </c:pt>
                  <c:pt idx="441">
                    <c:v>Rolling Stdev (30 Minute)</c:v>
                  </c:pt>
                  <c:pt idx="442">
                    <c:v>Rolling Stdev (30 Minute)</c:v>
                  </c:pt>
                  <c:pt idx="443">
                    <c:v>Rolling Stdev (30 Minute)</c:v>
                  </c:pt>
                  <c:pt idx="444">
                    <c:v>Rolling Stdev (30 Minute)</c:v>
                  </c:pt>
                  <c:pt idx="445">
                    <c:v>Rolling Stdev (30 Minute)</c:v>
                  </c:pt>
                  <c:pt idx="446">
                    <c:v>Rolling Stdev (30 Minute)</c:v>
                  </c:pt>
                  <c:pt idx="447">
                    <c:v>Rolling Stdev (30 Minute)</c:v>
                  </c:pt>
                  <c:pt idx="448">
                    <c:v>Rolling Stdev (30 Minute)</c:v>
                  </c:pt>
                  <c:pt idx="449">
                    <c:v>Rolling Stdev (30 Minute)</c:v>
                  </c:pt>
                  <c:pt idx="450">
                    <c:v>Rolling Stdev (30 Minute)</c:v>
                  </c:pt>
                  <c:pt idx="451">
                    <c:v>Rolling Stdev (30 Minute)</c:v>
                  </c:pt>
                  <c:pt idx="452">
                    <c:v>Rolling Stdev (30 Minute)</c:v>
                  </c:pt>
                  <c:pt idx="453">
                    <c:v>Rolling Stdev (30 Minute)</c:v>
                  </c:pt>
                  <c:pt idx="454">
                    <c:v>Rolling Stdev (30 Minute)</c:v>
                  </c:pt>
                  <c:pt idx="455">
                    <c:v>Rolling Stdev (30 Minute)</c:v>
                  </c:pt>
                  <c:pt idx="456">
                    <c:v>Rolling Stdev (30 Minute)</c:v>
                  </c:pt>
                  <c:pt idx="457">
                    <c:v>Rolling Stdev (30 Minute)</c:v>
                  </c:pt>
                  <c:pt idx="458">
                    <c:v>Rolling Stdev (30 Minute)</c:v>
                  </c:pt>
                  <c:pt idx="459">
                    <c:v>Rolling Stdev (30 Minute)</c:v>
                  </c:pt>
                  <c:pt idx="460">
                    <c:v>Rolling Stdev (30 Minute)</c:v>
                  </c:pt>
                  <c:pt idx="461">
                    <c:v>Rolling Stdev (30 Minute)</c:v>
                  </c:pt>
                  <c:pt idx="462">
                    <c:v>Rolling Stdev (30 Minute)</c:v>
                  </c:pt>
                  <c:pt idx="463">
                    <c:v>Rolling Stdev (30 Minute)</c:v>
                  </c:pt>
                  <c:pt idx="464">
                    <c:v>Rolling Stdev (30 Minute)</c:v>
                  </c:pt>
                  <c:pt idx="465">
                    <c:v>Rolling Stdev (30 Minute)</c:v>
                  </c:pt>
                  <c:pt idx="466">
                    <c:v>Rolling Stdev (30 Minute)</c:v>
                  </c:pt>
                  <c:pt idx="467">
                    <c:v>Rolling Stdev (30 Minute)</c:v>
                  </c:pt>
                  <c:pt idx="468">
                    <c:v>Rolling Stdev (30 Minute)</c:v>
                  </c:pt>
                  <c:pt idx="469">
                    <c:v>Rolling Stdev (30 Minute)</c:v>
                  </c:pt>
                  <c:pt idx="470">
                    <c:v>Rolling Stdev (30 Minute)</c:v>
                  </c:pt>
                  <c:pt idx="471">
                    <c:v>Rolling Stdev (30 Minute)</c:v>
                  </c:pt>
                  <c:pt idx="472">
                    <c:v>Rolling Stdev (30 Minute)</c:v>
                  </c:pt>
                  <c:pt idx="473">
                    <c:v>Rolling Stdev (30 Minute)</c:v>
                  </c:pt>
                  <c:pt idx="474">
                    <c:v>Rolling Stdev (30 Minute)</c:v>
                  </c:pt>
                  <c:pt idx="475">
                    <c:v>Rolling Stdev (30 Minute)</c:v>
                  </c:pt>
                  <c:pt idx="476">
                    <c:v>Rolling Stdev (30 Minute)</c:v>
                  </c:pt>
                  <c:pt idx="477">
                    <c:v>Rolling Stdev (30 Minute)</c:v>
                  </c:pt>
                  <c:pt idx="478">
                    <c:v>Rolling Stdev (30 Minute)</c:v>
                  </c:pt>
                  <c:pt idx="479">
                    <c:v>Rolling Stdev (30 Minute)</c:v>
                  </c:pt>
                  <c:pt idx="480">
                    <c:v>Rolling Stdev (30 Minute)</c:v>
                  </c:pt>
                  <c:pt idx="481">
                    <c:v>Rolling Stdev (30 Minute)</c:v>
                  </c:pt>
                  <c:pt idx="482">
                    <c:v>Rolling Stdev (30 Minute)</c:v>
                  </c:pt>
                  <c:pt idx="483">
                    <c:v>Rolling Stdev (30 Minute)</c:v>
                  </c:pt>
                  <c:pt idx="484">
                    <c:v>Rolling Stdev (30 Minute)</c:v>
                  </c:pt>
                  <c:pt idx="485">
                    <c:v>Rolling Stdev (30 Minute)</c:v>
                  </c:pt>
                  <c:pt idx="486">
                    <c:v>Rolling Stdev (30 Minute)</c:v>
                  </c:pt>
                  <c:pt idx="487">
                    <c:v>Rolling Stdev (30 Minute)</c:v>
                  </c:pt>
                  <c:pt idx="488">
                    <c:v>Rolling Stdev (30 Minute)</c:v>
                  </c:pt>
                  <c:pt idx="489">
                    <c:v>Rolling Stdev (30 Minute)</c:v>
                  </c:pt>
                  <c:pt idx="490">
                    <c:v>Rolling Stdev (30 Minute)</c:v>
                  </c:pt>
                  <c:pt idx="491">
                    <c:v>Rolling Stdev (30 Minute)</c:v>
                  </c:pt>
                  <c:pt idx="492">
                    <c:v>Rolling Stdev (30 Minute)</c:v>
                  </c:pt>
                  <c:pt idx="493">
                    <c:v>Rolling Stdev (30 Minute)</c:v>
                  </c:pt>
                  <c:pt idx="494">
                    <c:v>Rolling Stdev (30 Minute)</c:v>
                  </c:pt>
                  <c:pt idx="495">
                    <c:v>Rolling Stdev (30 Minute)</c:v>
                  </c:pt>
                  <c:pt idx="496">
                    <c:v>Rolling Stdev (30 Minute)</c:v>
                  </c:pt>
                  <c:pt idx="497">
                    <c:v>Rolling Stdev (30 Minute)</c:v>
                  </c:pt>
                  <c:pt idx="498">
                    <c:v>Rolling Stdev (30 Minute)</c:v>
                  </c:pt>
                  <c:pt idx="499">
                    <c:v>Rolling Stdev (30 Minute)</c:v>
                  </c:pt>
                  <c:pt idx="500">
                    <c:v>Rolling Stdev (30 Minute)</c:v>
                  </c:pt>
                  <c:pt idx="501">
                    <c:v>Rolling Stdev (30 Minute)</c:v>
                  </c:pt>
                  <c:pt idx="502">
                    <c:v>Rolling Stdev (30 Minute)</c:v>
                  </c:pt>
                  <c:pt idx="503">
                    <c:v>Rolling Stdev (30 Minute)</c:v>
                  </c:pt>
                  <c:pt idx="504">
                    <c:v>Rolling Stdev (30 Minute)</c:v>
                  </c:pt>
                  <c:pt idx="505">
                    <c:v>Rolling Stdev (30 Minute)</c:v>
                  </c:pt>
                  <c:pt idx="506">
                    <c:v>Rolling Stdev (30 Minute)</c:v>
                  </c:pt>
                  <c:pt idx="507">
                    <c:v>Rolling Stdev (30 Minute)</c:v>
                  </c:pt>
                  <c:pt idx="508">
                    <c:v>Rolling Stdev (30 Minute)</c:v>
                  </c:pt>
                  <c:pt idx="509">
                    <c:v>Rolling Stdev (30 Minute)</c:v>
                  </c:pt>
                  <c:pt idx="510">
                    <c:v>Rolling Stdev (30 Minute)</c:v>
                  </c:pt>
                  <c:pt idx="511">
                    <c:v>Rolling Stdev (30 Minute)</c:v>
                  </c:pt>
                  <c:pt idx="512">
                    <c:v>Rolling Stdev (30 Minute)</c:v>
                  </c:pt>
                  <c:pt idx="513">
                    <c:v>Rolling Stdev (30 Minute)</c:v>
                  </c:pt>
                  <c:pt idx="514">
                    <c:v>Rolling Stdev (30 Minute)</c:v>
                  </c:pt>
                  <c:pt idx="515">
                    <c:v>Rolling Stdev (30 Minute)</c:v>
                  </c:pt>
                  <c:pt idx="516">
                    <c:v>Rolling Stdev (30 Minute)</c:v>
                  </c:pt>
                  <c:pt idx="517">
                    <c:v>Rolling Stdev (30 Minute)</c:v>
                  </c:pt>
                  <c:pt idx="518">
                    <c:v>Rolling Stdev (30 Minute)</c:v>
                  </c:pt>
                  <c:pt idx="519">
                    <c:v>Rolling Stdev (30 Minute)</c:v>
                  </c:pt>
                  <c:pt idx="520">
                    <c:v>Rolling Stdev (30 Minute)</c:v>
                  </c:pt>
                  <c:pt idx="521">
                    <c:v>Rolling Stdev (30 Minute)</c:v>
                  </c:pt>
                  <c:pt idx="522">
                    <c:v>Rolling Stdev (30 Minute)</c:v>
                  </c:pt>
                  <c:pt idx="523">
                    <c:v>Rolling Stdev (30 Minute)</c:v>
                  </c:pt>
                  <c:pt idx="524">
                    <c:v>Rolling Stdev (30 Minute)</c:v>
                  </c:pt>
                  <c:pt idx="525">
                    <c:v>Rolling Stdev (30 Minute)</c:v>
                  </c:pt>
                  <c:pt idx="526">
                    <c:v>Rolling Stdev (30 Minute)</c:v>
                  </c:pt>
                  <c:pt idx="527">
                    <c:v>Rolling Stdev (30 Minute)</c:v>
                  </c:pt>
                  <c:pt idx="528">
                    <c:v>Rolling Stdev (30 Minute)</c:v>
                  </c:pt>
                  <c:pt idx="529">
                    <c:v>Rolling Stdev (30 Minute)</c:v>
                  </c:pt>
                  <c:pt idx="530">
                    <c:v>Rolling Stdev (30 Minute)</c:v>
                  </c:pt>
                  <c:pt idx="531">
                    <c:v>Rolling Stdev (30 Minute)</c:v>
                  </c:pt>
                  <c:pt idx="532">
                    <c:v>Rolling Stdev (30 Minute)</c:v>
                  </c:pt>
                  <c:pt idx="533">
                    <c:v>Rolling Stdev (30 Minute)</c:v>
                  </c:pt>
                  <c:pt idx="534">
                    <c:v>Rolling Stdev (30 Minute)</c:v>
                  </c:pt>
                  <c:pt idx="535">
                    <c:v>Rolling Stdev (30 Minute)</c:v>
                  </c:pt>
                  <c:pt idx="536">
                    <c:v>Rolling Stdev (30 Minute)</c:v>
                  </c:pt>
                  <c:pt idx="537">
                    <c:v>Rolling Stdev (30 Minute)</c:v>
                  </c:pt>
                  <c:pt idx="538">
                    <c:v>Rolling Stdev (30 Minute)</c:v>
                  </c:pt>
                  <c:pt idx="539">
                    <c:v>Rolling Stdev (30 Minute)</c:v>
                  </c:pt>
                  <c:pt idx="540">
                    <c:v>Rolling Stdev (30 Minute)</c:v>
                  </c:pt>
                  <c:pt idx="541">
                    <c:v>Rolling Stdev (30 Minute)</c:v>
                  </c:pt>
                  <c:pt idx="542">
                    <c:v>Rolling Stdev (30 Minute)</c:v>
                  </c:pt>
                  <c:pt idx="543">
                    <c:v>Rolling Stdev (30 Minute)</c:v>
                  </c:pt>
                  <c:pt idx="544">
                    <c:v>Rolling Stdev (30 Minute)</c:v>
                  </c:pt>
                  <c:pt idx="545">
                    <c:v>Rolling Stdev (30 Minute)</c:v>
                  </c:pt>
                  <c:pt idx="546">
                    <c:v>Rolling Stdev (30 Minute)</c:v>
                  </c:pt>
                  <c:pt idx="547">
                    <c:v>Rolling Stdev (30 Minute)</c:v>
                  </c:pt>
                  <c:pt idx="548">
                    <c:v>Rolling Stdev (30 Minute)</c:v>
                  </c:pt>
                  <c:pt idx="549">
                    <c:v>Rolling Stdev (30 Minute)</c:v>
                  </c:pt>
                  <c:pt idx="550">
                    <c:v>Rolling Stdev (30 Minute)</c:v>
                  </c:pt>
                  <c:pt idx="551">
                    <c:v>Rolling Stdev (30 Minute)</c:v>
                  </c:pt>
                  <c:pt idx="552">
                    <c:v>Rolling Stdev (30 Minute)</c:v>
                  </c:pt>
                  <c:pt idx="553">
                    <c:v>Rolling Stdev (30 Minute)</c:v>
                  </c:pt>
                  <c:pt idx="554">
                    <c:v>Rolling Stdev (30 Minute)</c:v>
                  </c:pt>
                  <c:pt idx="555">
                    <c:v>Rolling Stdev (30 Minute)</c:v>
                  </c:pt>
                  <c:pt idx="556">
                    <c:v>Rolling Stdev (30 Minute)</c:v>
                  </c:pt>
                  <c:pt idx="557">
                    <c:v>Rolling Stdev (30 Minute)</c:v>
                  </c:pt>
                  <c:pt idx="558">
                    <c:v>Rolling Stdev (30 Minute)</c:v>
                  </c:pt>
                  <c:pt idx="559">
                    <c:v>Rolling Stdev (30 Minute)</c:v>
                  </c:pt>
                  <c:pt idx="560">
                    <c:v>Rolling Stdev (30 Minute)</c:v>
                  </c:pt>
                  <c:pt idx="561">
                    <c:v>Rolling Stdev (30 Minute)</c:v>
                  </c:pt>
                  <c:pt idx="562">
                    <c:v>Rolling Stdev (30 Minute)</c:v>
                  </c:pt>
                  <c:pt idx="563">
                    <c:v>Rolling Stdev (30 Minute)</c:v>
                  </c:pt>
                  <c:pt idx="564">
                    <c:v>Rolling Stdev (30 Minute)</c:v>
                  </c:pt>
                  <c:pt idx="565">
                    <c:v>Rolling Stdev (30 Minute)</c:v>
                  </c:pt>
                  <c:pt idx="566">
                    <c:v>Rolling Stdev (30 Minute)</c:v>
                  </c:pt>
                  <c:pt idx="567">
                    <c:v>Rolling Stdev (30 Minute)</c:v>
                  </c:pt>
                  <c:pt idx="568">
                    <c:v>Rolling Stdev (30 Minute)</c:v>
                  </c:pt>
                  <c:pt idx="569">
                    <c:v>Rolling Stdev (30 Minute)</c:v>
                  </c:pt>
                  <c:pt idx="570">
                    <c:v>Rolling Stdev (30 Minute)</c:v>
                  </c:pt>
                  <c:pt idx="571">
                    <c:v>Rolling Stdev (30 Minute)</c:v>
                  </c:pt>
                  <c:pt idx="572">
                    <c:v>Rolling Stdev (30 Minute)</c:v>
                  </c:pt>
                  <c:pt idx="573">
                    <c:v>Rolling Stdev (30 Minute)</c:v>
                  </c:pt>
                  <c:pt idx="574">
                    <c:v>Rolling Stdev (30 Minute)</c:v>
                  </c:pt>
                  <c:pt idx="575">
                    <c:v>Rolling Stdev (30 Minute)</c:v>
                  </c:pt>
                  <c:pt idx="576">
                    <c:v>Rolling Stdev (30 Minute)</c:v>
                  </c:pt>
                  <c:pt idx="577">
                    <c:v>Rolling Stdev (30 Minute)</c:v>
                  </c:pt>
                  <c:pt idx="578">
                    <c:v>Rolling Stdev (30 Minute)</c:v>
                  </c:pt>
                  <c:pt idx="579">
                    <c:v>Rolling Stdev (30 Minute)</c:v>
                  </c:pt>
                  <c:pt idx="580">
                    <c:v>Rolling Stdev (30 Minute)</c:v>
                  </c:pt>
                  <c:pt idx="581">
                    <c:v>Rolling Stdev (30 Minute)</c:v>
                  </c:pt>
                  <c:pt idx="582">
                    <c:v>Rolling Stdev (30 Minute)</c:v>
                  </c:pt>
                  <c:pt idx="583">
                    <c:v>Rolling Stdev (30 Minute)</c:v>
                  </c:pt>
                  <c:pt idx="584">
                    <c:v>Rolling Stdev (30 Minute)</c:v>
                  </c:pt>
                  <c:pt idx="585">
                    <c:v>Rolling Stdev (30 Minute)</c:v>
                  </c:pt>
                  <c:pt idx="586">
                    <c:v>Rolling Stdev (30 Minute)</c:v>
                  </c:pt>
                  <c:pt idx="587">
                    <c:v>Rolling Stdev (30 Minute)</c:v>
                  </c:pt>
                  <c:pt idx="588">
                    <c:v>Rolling Stdev (30 Minute)</c:v>
                  </c:pt>
                  <c:pt idx="589">
                    <c:v>Rolling Stdev (30 Minute)</c:v>
                  </c:pt>
                  <c:pt idx="590">
                    <c:v>Rolling Stdev (30 Minute)</c:v>
                  </c:pt>
                  <c:pt idx="591">
                    <c:v>Rolling Stdev (30 Minute)</c:v>
                  </c:pt>
                  <c:pt idx="592">
                    <c:v>Rolling Stdev (30 Minute)</c:v>
                  </c:pt>
                  <c:pt idx="593">
                    <c:v>Rolling Stdev (30 Minute)</c:v>
                  </c:pt>
                  <c:pt idx="594">
                    <c:v>Rolling Stdev (30 Minute)</c:v>
                  </c:pt>
                  <c:pt idx="595">
                    <c:v>Rolling Stdev (30 Minute)</c:v>
                  </c:pt>
                  <c:pt idx="596">
                    <c:v>Rolling Stdev (30 Minute)</c:v>
                  </c:pt>
                  <c:pt idx="597">
                    <c:v>Rolling Stdev (30 Minute)</c:v>
                  </c:pt>
                  <c:pt idx="598">
                    <c:v>Rolling Stdev (30 Minute)</c:v>
                  </c:pt>
                  <c:pt idx="599">
                    <c:v>Rolling Stdev (30 Minute)</c:v>
                  </c:pt>
                  <c:pt idx="600">
                    <c:v>Rolling Stdev (30 Minute)</c:v>
                  </c:pt>
                  <c:pt idx="601">
                    <c:v>Rolling Stdev (30 Minute)</c:v>
                  </c:pt>
                  <c:pt idx="602">
                    <c:v>Rolling Stdev (30 Minute)</c:v>
                  </c:pt>
                  <c:pt idx="603">
                    <c:v>Rolling Stdev (30 Minute)</c:v>
                  </c:pt>
                  <c:pt idx="604">
                    <c:v>Rolling Stdev (30 Minute)</c:v>
                  </c:pt>
                  <c:pt idx="605">
                    <c:v>Rolling Stdev (30 Minute)</c:v>
                  </c:pt>
                  <c:pt idx="606">
                    <c:v>Rolling Stdev (30 Minute)</c:v>
                  </c:pt>
                  <c:pt idx="607">
                    <c:v>Rolling Stdev (30 Minute)</c:v>
                  </c:pt>
                  <c:pt idx="608">
                    <c:v>Rolling Stdev (30 Minute)</c:v>
                  </c:pt>
                  <c:pt idx="609">
                    <c:v>Rolling Stdev (30 Minute)</c:v>
                  </c:pt>
                  <c:pt idx="610">
                    <c:v>Rolling Stdev (30 Minute)</c:v>
                  </c:pt>
                  <c:pt idx="611">
                    <c:v>Rolling Stdev (30 Minute)</c:v>
                  </c:pt>
                  <c:pt idx="612">
                    <c:v>Rolling Stdev (30 Minute)</c:v>
                  </c:pt>
                  <c:pt idx="613">
                    <c:v>Rolling Stdev (30 Minute)</c:v>
                  </c:pt>
                  <c:pt idx="614">
                    <c:v>Rolling Stdev (30 Minute)</c:v>
                  </c:pt>
                  <c:pt idx="615">
                    <c:v>Rolling Stdev (30 Minute)</c:v>
                  </c:pt>
                  <c:pt idx="616">
                    <c:v>Rolling Stdev (30 Minute)</c:v>
                  </c:pt>
                  <c:pt idx="617">
                    <c:v>Rolling Stdev (30 Minute)</c:v>
                  </c:pt>
                  <c:pt idx="618">
                    <c:v>Rolling Stdev (30 Minute)</c:v>
                  </c:pt>
                  <c:pt idx="619">
                    <c:v>Rolling Stdev (30 Minute)</c:v>
                  </c:pt>
                  <c:pt idx="620">
                    <c:v>Rolling Stdev (30 Minute)</c:v>
                  </c:pt>
                  <c:pt idx="621">
                    <c:v>Rolling Stdev (30 Minute)</c:v>
                  </c:pt>
                  <c:pt idx="622">
                    <c:v>Rolling Stdev (30 Minute)</c:v>
                  </c:pt>
                  <c:pt idx="623">
                    <c:v>Rolling Stdev (30 Minute)</c:v>
                  </c:pt>
                  <c:pt idx="624">
                    <c:v>Rolling Stdev (30 Minute)</c:v>
                  </c:pt>
                  <c:pt idx="625">
                    <c:v>Rolling Stdev (30 Minute)</c:v>
                  </c:pt>
                  <c:pt idx="626">
                    <c:v>Rolling Stdev (30 Minute)</c:v>
                  </c:pt>
                  <c:pt idx="627">
                    <c:v>Rolling Stdev (30 Minute)</c:v>
                  </c:pt>
                  <c:pt idx="628">
                    <c:v>Rolling Stdev (30 Minute)</c:v>
                  </c:pt>
                  <c:pt idx="629">
                    <c:v>Rolling Stdev (30 Minute)</c:v>
                  </c:pt>
                  <c:pt idx="630">
                    <c:v>Rolling Stdev (30 Minute)</c:v>
                  </c:pt>
                  <c:pt idx="631">
                    <c:v>Rolling Stdev (30 Minute)</c:v>
                  </c:pt>
                  <c:pt idx="632">
                    <c:v>Rolling Stdev (30 Minute)</c:v>
                  </c:pt>
                  <c:pt idx="633">
                    <c:v>Rolling Stdev (30 Minute)</c:v>
                  </c:pt>
                  <c:pt idx="634">
                    <c:v>Rolling Stdev (30 Minute)</c:v>
                  </c:pt>
                  <c:pt idx="635">
                    <c:v>Rolling Stdev (30 Minute)</c:v>
                  </c:pt>
                  <c:pt idx="636">
                    <c:v>Rolling Stdev (30 Minute)</c:v>
                  </c:pt>
                  <c:pt idx="637">
                    <c:v>Rolling Stdev (30 Minute)</c:v>
                  </c:pt>
                  <c:pt idx="638">
                    <c:v>Rolling Stdev (30 Minute)</c:v>
                  </c:pt>
                  <c:pt idx="639">
                    <c:v>Rolling Stdev (30 Minute)</c:v>
                  </c:pt>
                  <c:pt idx="640">
                    <c:v>Rolling Stdev (30 Minute)</c:v>
                  </c:pt>
                  <c:pt idx="641">
                    <c:v>Rolling Stdev (30 Minute)</c:v>
                  </c:pt>
                  <c:pt idx="642">
                    <c:v>Rolling Stdev (30 Minute)</c:v>
                  </c:pt>
                  <c:pt idx="643">
                    <c:v>Rolling Stdev (30 Minute)</c:v>
                  </c:pt>
                  <c:pt idx="644">
                    <c:v>Rolling Stdev (30 Minute)</c:v>
                  </c:pt>
                  <c:pt idx="645">
                    <c:v>Rolling Stdev (30 Minute)</c:v>
                  </c:pt>
                  <c:pt idx="646">
                    <c:v>Rolling Stdev (30 Minute)</c:v>
                  </c:pt>
                  <c:pt idx="647">
                    <c:v>Rolling Stdev (30 Minute)</c:v>
                  </c:pt>
                  <c:pt idx="648">
                    <c:v>Rolling Stdev (30 Minute)</c:v>
                  </c:pt>
                  <c:pt idx="649">
                    <c:v>Rolling Stdev (30 Minute)</c:v>
                  </c:pt>
                  <c:pt idx="650">
                    <c:v>Rolling Stdev (30 Minute)</c:v>
                  </c:pt>
                  <c:pt idx="651">
                    <c:v>Rolling Stdev (30 Minute)</c:v>
                  </c:pt>
                  <c:pt idx="652">
                    <c:v>Rolling Stdev (30 Minute)</c:v>
                  </c:pt>
                  <c:pt idx="653">
                    <c:v>Rolling Stdev (30 Minute)</c:v>
                  </c:pt>
                  <c:pt idx="654">
                    <c:v>Rolling Stdev (30 Minute)</c:v>
                  </c:pt>
                  <c:pt idx="655">
                    <c:v>Rolling Stdev (30 Minute)</c:v>
                  </c:pt>
                  <c:pt idx="656">
                    <c:v>Rolling Stdev (30 Minute)</c:v>
                  </c:pt>
                  <c:pt idx="657">
                    <c:v>Rolling Stdev (30 Minute)</c:v>
                  </c:pt>
                  <c:pt idx="658">
                    <c:v>Rolling Stdev (30 Minute)</c:v>
                  </c:pt>
                  <c:pt idx="659">
                    <c:v>Rolling Stdev (30 Minute)</c:v>
                  </c:pt>
                  <c:pt idx="660">
                    <c:v>Rolling Stdev (30 Minute)</c:v>
                  </c:pt>
                  <c:pt idx="661">
                    <c:v>Rolling Stdev (30 Minute)</c:v>
                  </c:pt>
                  <c:pt idx="662">
                    <c:v>Rolling Stdev (30 Minute)</c:v>
                  </c:pt>
                  <c:pt idx="663">
                    <c:v>Rolling Stdev (30 Minute)</c:v>
                  </c:pt>
                  <c:pt idx="664">
                    <c:v>Rolling Stdev (30 Minute)</c:v>
                  </c:pt>
                  <c:pt idx="665">
                    <c:v>Rolling Stdev (30 Minute)</c:v>
                  </c:pt>
                  <c:pt idx="666">
                    <c:v>Rolling Stdev (30 Minute)</c:v>
                  </c:pt>
                  <c:pt idx="667">
                    <c:v>Rolling Stdev (30 Minute)</c:v>
                  </c:pt>
                  <c:pt idx="668">
                    <c:v>Rolling Stdev (30 Minute)</c:v>
                  </c:pt>
                  <c:pt idx="669">
                    <c:v>Rolling Stdev (30 Minute)</c:v>
                  </c:pt>
                  <c:pt idx="670">
                    <c:v>Rolling Stdev (30 Minute)</c:v>
                  </c:pt>
                  <c:pt idx="671">
                    <c:v>Rolling Stdev (30 Minute)</c:v>
                  </c:pt>
                  <c:pt idx="672">
                    <c:v>Rolling Stdev (30 Minute)</c:v>
                  </c:pt>
                  <c:pt idx="673">
                    <c:v>Rolling Stdev (30 Minute)</c:v>
                  </c:pt>
                  <c:pt idx="674">
                    <c:v>Rolling Stdev (30 Minute)</c:v>
                  </c:pt>
                  <c:pt idx="675">
                    <c:v>Rolling Stdev (30 Minute)</c:v>
                  </c:pt>
                  <c:pt idx="676">
                    <c:v>Rolling Stdev (30 Minute)</c:v>
                  </c:pt>
                  <c:pt idx="677">
                    <c:v>Rolling Stdev (30 Minute)</c:v>
                  </c:pt>
                  <c:pt idx="678">
                    <c:v>Rolling Stdev (30 Minute)</c:v>
                  </c:pt>
                  <c:pt idx="679">
                    <c:v>Rolling Stdev (30 Minute)</c:v>
                  </c:pt>
                  <c:pt idx="680">
                    <c:v>Rolling Stdev (30 Minute)</c:v>
                  </c:pt>
                  <c:pt idx="681">
                    <c:v>Rolling Stdev (30 Minute)</c:v>
                  </c:pt>
                  <c:pt idx="682">
                    <c:v>Rolling Stdev (30 Minute)</c:v>
                  </c:pt>
                  <c:pt idx="683">
                    <c:v>Rolling Stdev (30 Minute)</c:v>
                  </c:pt>
                  <c:pt idx="684">
                    <c:v>Rolling Stdev (30 Minute)</c:v>
                  </c:pt>
                  <c:pt idx="685">
                    <c:v>Rolling Stdev (30 Minute)</c:v>
                  </c:pt>
                  <c:pt idx="686">
                    <c:v>Rolling Stdev (30 Minute)</c:v>
                  </c:pt>
                  <c:pt idx="687">
                    <c:v>Rolling Stdev (30 Minute)</c:v>
                  </c:pt>
                  <c:pt idx="688">
                    <c:v>Rolling Stdev (30 Minute)</c:v>
                  </c:pt>
                  <c:pt idx="689">
                    <c:v>Rolling Stdev (30 Minute)</c:v>
                  </c:pt>
                  <c:pt idx="690">
                    <c:v>Rolling Stdev (30 Minute)</c:v>
                  </c:pt>
                  <c:pt idx="691">
                    <c:v>Rolling Stdev (30 Minute)</c:v>
                  </c:pt>
                  <c:pt idx="692">
                    <c:v>Rolling Stdev (30 Minute)</c:v>
                  </c:pt>
                  <c:pt idx="693">
                    <c:v>Rolling Stdev (30 Minute)</c:v>
                  </c:pt>
                  <c:pt idx="694">
                    <c:v>Rolling Stdev (30 Minute)</c:v>
                  </c:pt>
                  <c:pt idx="695">
                    <c:v>Rolling Stdev (30 Minute)</c:v>
                  </c:pt>
                  <c:pt idx="696">
                    <c:v>Rolling Stdev (30 Minute)</c:v>
                  </c:pt>
                  <c:pt idx="697">
                    <c:v>Rolling Stdev (30 Minute)</c:v>
                  </c:pt>
                  <c:pt idx="698">
                    <c:v>Rolling Stdev (30 Minute)</c:v>
                  </c:pt>
                  <c:pt idx="699">
                    <c:v>Rolling Stdev (30 Minute)</c:v>
                  </c:pt>
                  <c:pt idx="700">
                    <c:v>Rolling Stdev (30 Minute)</c:v>
                  </c:pt>
                  <c:pt idx="701">
                    <c:v>Rolling Stdev (30 Minute)</c:v>
                  </c:pt>
                  <c:pt idx="702">
                    <c:v>Rolling Stdev (30 Minute)</c:v>
                  </c:pt>
                  <c:pt idx="703">
                    <c:v>Rolling Stdev (30 Minute)</c:v>
                  </c:pt>
                  <c:pt idx="704">
                    <c:v>Rolling Stdev (30 Minute)</c:v>
                  </c:pt>
                  <c:pt idx="705">
                    <c:v>Rolling Stdev (30 Minute)</c:v>
                  </c:pt>
                  <c:pt idx="706">
                    <c:v>Rolling Stdev (30 Minute)</c:v>
                  </c:pt>
                  <c:pt idx="707">
                    <c:v>Rolling Stdev (30 Minute)</c:v>
                  </c:pt>
                  <c:pt idx="708">
                    <c:v>Rolling Stdev (30 Minute)</c:v>
                  </c:pt>
                  <c:pt idx="709">
                    <c:v>Rolling Stdev (30 Minute)</c:v>
                  </c:pt>
                  <c:pt idx="710">
                    <c:v>Rolling Stdev (30 Minute)</c:v>
                  </c:pt>
                  <c:pt idx="711">
                    <c:v>Rolling Stdev (30 Minute)</c:v>
                  </c:pt>
                  <c:pt idx="712">
                    <c:v>Rolling Stdev (30 Minute)</c:v>
                  </c:pt>
                  <c:pt idx="713">
                    <c:v>Rolling Stdev (30 Minute)</c:v>
                  </c:pt>
                  <c:pt idx="714">
                    <c:v>Rolling Stdev (30 Minute)</c:v>
                  </c:pt>
                  <c:pt idx="715">
                    <c:v>Rolling Stdev (30 Minute)</c:v>
                  </c:pt>
                  <c:pt idx="716">
                    <c:v>Rolling Stdev (30 Minute)</c:v>
                  </c:pt>
                  <c:pt idx="717">
                    <c:v>Rolling Stdev (30 Minute)</c:v>
                  </c:pt>
                  <c:pt idx="718">
                    <c:v>Rolling Stdev (30 Minute)</c:v>
                  </c:pt>
                  <c:pt idx="719">
                    <c:v>Rolling Stdev (30 Minute)</c:v>
                  </c:pt>
                  <c:pt idx="720">
                    <c:v>Rolling Stdev (30 Minute)</c:v>
                  </c:pt>
                  <c:pt idx="721">
                    <c:v>Rolling Stdev (30 Minute)</c:v>
                  </c:pt>
                  <c:pt idx="722">
                    <c:v>Rolling Stdev (30 Minute)</c:v>
                  </c:pt>
                  <c:pt idx="723">
                    <c:v>Rolling Stdev (30 Minute)</c:v>
                  </c:pt>
                  <c:pt idx="724">
                    <c:v>Rolling Stdev (30 Minute)</c:v>
                  </c:pt>
                  <c:pt idx="725">
                    <c:v>Rolling Stdev (30 Minute)</c:v>
                  </c:pt>
                  <c:pt idx="726">
                    <c:v>Rolling Stdev (30 Minute)</c:v>
                  </c:pt>
                  <c:pt idx="727">
                    <c:v>Rolling Stdev (30 Minute)</c:v>
                  </c:pt>
                  <c:pt idx="728">
                    <c:v>Rolling Stdev (30 Minute)</c:v>
                  </c:pt>
                  <c:pt idx="729">
                    <c:v>Rolling Stdev (30 Minute)</c:v>
                  </c:pt>
                  <c:pt idx="730">
                    <c:v>Rolling Stdev (30 Minute)</c:v>
                  </c:pt>
                  <c:pt idx="731">
                    <c:v>Rolling Stdev (30 Minute)</c:v>
                  </c:pt>
                  <c:pt idx="732">
                    <c:v>Rolling Stdev (30 Minute)</c:v>
                  </c:pt>
                  <c:pt idx="733">
                    <c:v>Rolling Stdev (30 Minute)</c:v>
                  </c:pt>
                  <c:pt idx="734">
                    <c:v>Rolling Stdev (30 Minute)</c:v>
                  </c:pt>
                  <c:pt idx="735">
                    <c:v>Rolling Stdev (30 Minute)</c:v>
                  </c:pt>
                  <c:pt idx="736">
                    <c:v>Rolling Stdev (30 Minute)</c:v>
                  </c:pt>
                  <c:pt idx="737">
                    <c:v>Rolling Stdev (30 Minute)</c:v>
                  </c:pt>
                  <c:pt idx="738">
                    <c:v>Rolling Stdev (30 Minute)</c:v>
                  </c:pt>
                  <c:pt idx="739">
                    <c:v>Rolling Stdev (30 Minute)</c:v>
                  </c:pt>
                  <c:pt idx="740">
                    <c:v>Rolling Stdev (30 Minute)</c:v>
                  </c:pt>
                  <c:pt idx="741">
                    <c:v>Rolling Stdev (30 Minute)</c:v>
                  </c:pt>
                  <c:pt idx="742">
                    <c:v>Rolling Stdev (30 Minute)</c:v>
                  </c:pt>
                  <c:pt idx="743">
                    <c:v>Rolling Stdev (30 Minute)</c:v>
                  </c:pt>
                  <c:pt idx="744">
                    <c:v>Rolling Stdev (30 Minute)</c:v>
                  </c:pt>
                  <c:pt idx="745">
                    <c:v>Rolling Stdev (30 Minute)</c:v>
                  </c:pt>
                  <c:pt idx="746">
                    <c:v>Rolling Stdev (30 Minute)</c:v>
                  </c:pt>
                  <c:pt idx="747">
                    <c:v>Rolling Stdev (30 Minute)</c:v>
                  </c:pt>
                  <c:pt idx="748">
                    <c:v>Rolling Stdev (30 Minute)</c:v>
                  </c:pt>
                  <c:pt idx="749">
                    <c:v>Rolling Stdev (30 Minute)</c:v>
                  </c:pt>
                  <c:pt idx="750">
                    <c:v>Rolling Stdev (30 Minute)</c:v>
                  </c:pt>
                  <c:pt idx="751">
                    <c:v>Rolling Stdev (30 Minute)</c:v>
                  </c:pt>
                  <c:pt idx="752">
                    <c:v>Rolling Stdev (30 Minute)</c:v>
                  </c:pt>
                  <c:pt idx="753">
                    <c:v>Rolling Stdev (30 Minute)</c:v>
                  </c:pt>
                  <c:pt idx="754">
                    <c:v>Rolling Stdev (30 Minute)</c:v>
                  </c:pt>
                  <c:pt idx="755">
                    <c:v>Rolling Stdev (30 Minute)</c:v>
                  </c:pt>
                  <c:pt idx="756">
                    <c:v>Rolling Stdev (30 Minute)</c:v>
                  </c:pt>
                  <c:pt idx="757">
                    <c:v>Rolling Stdev (30 Minute)</c:v>
                  </c:pt>
                  <c:pt idx="758">
                    <c:v>Rolling Stdev (30 Minute)</c:v>
                  </c:pt>
                  <c:pt idx="759">
                    <c:v>Rolling Stdev (30 Minute)</c:v>
                  </c:pt>
                  <c:pt idx="760">
                    <c:v>Rolling Stdev (30 Minute)</c:v>
                  </c:pt>
                  <c:pt idx="761">
                    <c:v>Rolling Stdev (30 Minute)</c:v>
                  </c:pt>
                  <c:pt idx="762">
                    <c:v>Rolling Stdev (30 Minute)</c:v>
                  </c:pt>
                  <c:pt idx="763">
                    <c:v>Rolling Stdev (30 Minute)</c:v>
                  </c:pt>
                  <c:pt idx="764">
                    <c:v>Rolling Stdev (30 Minute)</c:v>
                  </c:pt>
                  <c:pt idx="765">
                    <c:v>Rolling Stdev (30 Minute)</c:v>
                  </c:pt>
                  <c:pt idx="766">
                    <c:v>Rolling Stdev (30 Minute)</c:v>
                  </c:pt>
                  <c:pt idx="767">
                    <c:v>Rolling Stdev (30 Minute)</c:v>
                  </c:pt>
                  <c:pt idx="768">
                    <c:v>Rolling Stdev (30 Minute)</c:v>
                  </c:pt>
                  <c:pt idx="769">
                    <c:v>Rolling Stdev (30 Minute)</c:v>
                  </c:pt>
                  <c:pt idx="770">
                    <c:v>Rolling Stdev (30 Minute)</c:v>
                  </c:pt>
                  <c:pt idx="771">
                    <c:v>Rolling Stdev (30 Minute)</c:v>
                  </c:pt>
                  <c:pt idx="772">
                    <c:v>Rolling Stdev (30 Minute)</c:v>
                  </c:pt>
                  <c:pt idx="773">
                    <c:v>Rolling Stdev (30 Minute)</c:v>
                  </c:pt>
                  <c:pt idx="774">
                    <c:v>Rolling Stdev (30 Minute)</c:v>
                  </c:pt>
                  <c:pt idx="775">
                    <c:v>Rolling Stdev (30 Minute)</c:v>
                  </c:pt>
                  <c:pt idx="776">
                    <c:v>Rolling Stdev (30 Minute)</c:v>
                  </c:pt>
                  <c:pt idx="777">
                    <c:v>Rolling Stdev (30 Minute)</c:v>
                  </c:pt>
                  <c:pt idx="778">
                    <c:v>Rolling Stdev (30 Minute)</c:v>
                  </c:pt>
                  <c:pt idx="779">
                    <c:v>Rolling Stdev (30 Minute)</c:v>
                  </c:pt>
                  <c:pt idx="780">
                    <c:v>Rolling Stdev (30 Minute)</c:v>
                  </c:pt>
                  <c:pt idx="781">
                    <c:v>Rolling Stdev (30 Minute)</c:v>
                  </c:pt>
                  <c:pt idx="782">
                    <c:v>Rolling Stdev (30 Minute)</c:v>
                  </c:pt>
                  <c:pt idx="783">
                    <c:v>Rolling Stdev (30 Minute)</c:v>
                  </c:pt>
                  <c:pt idx="784">
                    <c:v>Rolling Stdev (30 Minute)</c:v>
                  </c:pt>
                  <c:pt idx="785">
                    <c:v>Rolling Stdev (30 Minute)</c:v>
                  </c:pt>
                  <c:pt idx="786">
                    <c:v>Rolling Stdev (30 Minute)</c:v>
                  </c:pt>
                  <c:pt idx="787">
                    <c:v>Rolling Stdev (30 Minute)</c:v>
                  </c:pt>
                  <c:pt idx="788">
                    <c:v>Rolling Stdev (30 Minute)</c:v>
                  </c:pt>
                  <c:pt idx="789">
                    <c:v>Rolling Stdev (30 Minute)</c:v>
                  </c:pt>
                  <c:pt idx="790">
                    <c:v>Rolling Stdev (30 Minute)</c:v>
                  </c:pt>
                  <c:pt idx="791">
                    <c:v>Rolling Stdev (30 Minute)</c:v>
                  </c:pt>
                  <c:pt idx="792">
                    <c:v>Rolling Stdev (30 Minute)</c:v>
                  </c:pt>
                  <c:pt idx="793">
                    <c:v>Rolling Stdev (30 Minute)</c:v>
                  </c:pt>
                  <c:pt idx="794">
                    <c:v>Rolling Stdev (30 Minute)</c:v>
                  </c:pt>
                  <c:pt idx="795">
                    <c:v>Rolling Stdev (30 Minute)</c:v>
                  </c:pt>
                  <c:pt idx="796">
                    <c:v>Rolling Stdev (30 Minute)</c:v>
                  </c:pt>
                  <c:pt idx="797">
                    <c:v>Rolling Stdev (30 Minute)</c:v>
                  </c:pt>
                  <c:pt idx="798">
                    <c:v>Rolling Stdev (30 Minute)</c:v>
                  </c:pt>
                  <c:pt idx="799">
                    <c:v>Rolling Stdev (30 Minute)</c:v>
                  </c:pt>
                  <c:pt idx="800">
                    <c:v>Rolling Stdev (30 Minute)</c:v>
                  </c:pt>
                  <c:pt idx="801">
                    <c:v>Rolling Stdev (30 Minute)</c:v>
                  </c:pt>
                  <c:pt idx="802">
                    <c:v>Rolling Stdev (30 Minute)</c:v>
                  </c:pt>
                  <c:pt idx="803">
                    <c:v>Rolling Stdev (30 Minute)</c:v>
                  </c:pt>
                  <c:pt idx="804">
                    <c:v>Rolling Stdev (30 Minute)</c:v>
                  </c:pt>
                  <c:pt idx="805">
                    <c:v>Rolling Stdev (30 Minute)</c:v>
                  </c:pt>
                  <c:pt idx="806">
                    <c:v>Rolling Stdev (30 Minute)</c:v>
                  </c:pt>
                  <c:pt idx="807">
                    <c:v>Rolling Stdev (30 Minute)</c:v>
                  </c:pt>
                  <c:pt idx="808">
                    <c:v>Rolling Stdev (30 Minute)</c:v>
                  </c:pt>
                  <c:pt idx="809">
                    <c:v>Rolling Stdev (30 Minute)</c:v>
                  </c:pt>
                  <c:pt idx="810">
                    <c:v>Rolling Stdev (30 Minute)</c:v>
                  </c:pt>
                  <c:pt idx="811">
                    <c:v>Rolling Stdev (30 Minute)</c:v>
                  </c:pt>
                  <c:pt idx="812">
                    <c:v>Rolling Stdev (30 Minute)</c:v>
                  </c:pt>
                  <c:pt idx="813">
                    <c:v>Rolling Stdev (30 Minute)</c:v>
                  </c:pt>
                  <c:pt idx="814">
                    <c:v>Rolling Stdev (30 Minute)</c:v>
                  </c:pt>
                  <c:pt idx="815">
                    <c:v>Rolling Stdev (30 Minute)</c:v>
                  </c:pt>
                  <c:pt idx="816">
                    <c:v>Rolling Stdev (30 Minute)</c:v>
                  </c:pt>
                  <c:pt idx="817">
                    <c:v>Rolling Stdev (30 Minute)</c:v>
                  </c:pt>
                  <c:pt idx="818">
                    <c:v>Rolling Stdev (30 Minute)</c:v>
                  </c:pt>
                  <c:pt idx="819">
                    <c:v>Rolling Stdev (30 Minute)</c:v>
                  </c:pt>
                  <c:pt idx="820">
                    <c:v>Rolling Stdev (30 Minute)</c:v>
                  </c:pt>
                  <c:pt idx="821">
                    <c:v>Rolling Stdev (30 Minute)</c:v>
                  </c:pt>
                  <c:pt idx="822">
                    <c:v>Rolling Stdev (30 Minute)</c:v>
                  </c:pt>
                  <c:pt idx="823">
                    <c:v>Rolling Stdev (30 Minute)</c:v>
                  </c:pt>
                  <c:pt idx="824">
                    <c:v>Rolling Stdev (30 Minute)</c:v>
                  </c:pt>
                  <c:pt idx="825">
                    <c:v>Rolling Stdev (30 Minute)</c:v>
                  </c:pt>
                  <c:pt idx="826">
                    <c:v>Rolling Stdev (30 Minute)</c:v>
                  </c:pt>
                  <c:pt idx="827">
                    <c:v>Rolling Stdev (30 Minute)</c:v>
                  </c:pt>
                  <c:pt idx="828">
                    <c:v>Rolling Stdev (30 Minute)</c:v>
                  </c:pt>
                  <c:pt idx="829">
                    <c:v>Rolling Stdev (30 Minute)</c:v>
                  </c:pt>
                  <c:pt idx="830">
                    <c:v>Rolling Stdev (30 Minute)</c:v>
                  </c:pt>
                  <c:pt idx="831">
                    <c:v>Rolling Stdev (30 Minute)</c:v>
                  </c:pt>
                  <c:pt idx="832">
                    <c:v>Rolling Stdev (30 Minute)</c:v>
                  </c:pt>
                  <c:pt idx="833">
                    <c:v>Rolling Stdev (30 Minute)</c:v>
                  </c:pt>
                  <c:pt idx="834">
                    <c:v>Rolling Stdev (30 Minute)</c:v>
                  </c:pt>
                  <c:pt idx="835">
                    <c:v>Rolling Stdev (30 Minute)</c:v>
                  </c:pt>
                  <c:pt idx="836">
                    <c:v>Rolling Stdev (30 Minute)</c:v>
                  </c:pt>
                  <c:pt idx="837">
                    <c:v>Rolling Stdev (30 Minute)</c:v>
                  </c:pt>
                  <c:pt idx="838">
                    <c:v>Rolling Stdev (30 Minute)</c:v>
                  </c:pt>
                  <c:pt idx="839">
                    <c:v>Rolling Stdev (30 Minute)</c:v>
                  </c:pt>
                  <c:pt idx="840">
                    <c:v>Rolling Stdev (30 Minute)</c:v>
                  </c:pt>
                  <c:pt idx="841">
                    <c:v>Rolling Stdev (30 Minute)</c:v>
                  </c:pt>
                  <c:pt idx="842">
                    <c:v>Rolling Stdev (30 Minute)</c:v>
                  </c:pt>
                  <c:pt idx="843">
                    <c:v>Rolling Stdev (30 Minute)</c:v>
                  </c:pt>
                  <c:pt idx="844">
                    <c:v>Rolling Stdev (30 Minute)</c:v>
                  </c:pt>
                  <c:pt idx="845">
                    <c:v>Rolling Stdev (30 Minute)</c:v>
                  </c:pt>
                  <c:pt idx="846">
                    <c:v>Rolling Stdev (30 Minute)</c:v>
                  </c:pt>
                  <c:pt idx="847">
                    <c:v>Rolling Stdev (30 Minute)</c:v>
                  </c:pt>
                  <c:pt idx="848">
                    <c:v>Rolling Stdev (30 Minute)</c:v>
                  </c:pt>
                  <c:pt idx="849">
                    <c:v>Rolling Stdev (30 Minute)</c:v>
                  </c:pt>
                  <c:pt idx="850">
                    <c:v>Rolling Stdev (30 Minute)</c:v>
                  </c:pt>
                  <c:pt idx="851">
                    <c:v>Rolling Stdev (30 Minute)</c:v>
                  </c:pt>
                  <c:pt idx="852">
                    <c:v>Rolling Stdev (30 Minute)</c:v>
                  </c:pt>
                  <c:pt idx="853">
                    <c:v>Rolling Stdev (30 Minute)</c:v>
                  </c:pt>
                  <c:pt idx="854">
                    <c:v>Rolling Stdev (30 Minute)</c:v>
                  </c:pt>
                  <c:pt idx="855">
                    <c:v>Rolling Stdev (30 Minute)</c:v>
                  </c:pt>
                  <c:pt idx="856">
                    <c:v>Rolling Stdev (30 Minute)</c:v>
                  </c:pt>
                  <c:pt idx="857">
                    <c:v>Rolling Stdev (30 Minute)</c:v>
                  </c:pt>
                  <c:pt idx="858">
                    <c:v>Rolling Stdev (30 Minute)</c:v>
                  </c:pt>
                  <c:pt idx="859">
                    <c:v>Rolling Stdev (30 Minute)</c:v>
                  </c:pt>
                  <c:pt idx="860">
                    <c:v>Rolling Stdev (30 Minute)</c:v>
                  </c:pt>
                  <c:pt idx="861">
                    <c:v>Rolling Stdev (30 Minute)</c:v>
                  </c:pt>
                  <c:pt idx="862">
                    <c:v>Rolling Stdev (30 Minute)</c:v>
                  </c:pt>
                  <c:pt idx="863">
                    <c:v>Rolling Stdev (30 Minute)</c:v>
                  </c:pt>
                  <c:pt idx="864">
                    <c:v>Rolling Stdev (30 Minute)</c:v>
                  </c:pt>
                  <c:pt idx="865">
                    <c:v>Rolling Stdev (30 Minute)</c:v>
                  </c:pt>
                  <c:pt idx="866">
                    <c:v>Rolling Stdev (30 Minute)</c:v>
                  </c:pt>
                  <c:pt idx="867">
                    <c:v>Rolling Stdev (30 Minute)</c:v>
                  </c:pt>
                  <c:pt idx="868">
                    <c:v>Rolling Stdev (30 Minute)</c:v>
                  </c:pt>
                  <c:pt idx="869">
                    <c:v>Rolling Stdev (30 Minute)</c:v>
                  </c:pt>
                  <c:pt idx="870">
                    <c:v>Rolling Stdev (30 Minute)</c:v>
                  </c:pt>
                  <c:pt idx="871">
                    <c:v>Rolling Stdev (30 Minute)</c:v>
                  </c:pt>
                  <c:pt idx="872">
                    <c:v>Rolling Stdev (30 Minute)</c:v>
                  </c:pt>
                  <c:pt idx="873">
                    <c:v>Rolling Stdev (30 Minute)</c:v>
                  </c:pt>
                  <c:pt idx="874">
                    <c:v>Rolling Stdev (30 Minute)</c:v>
                  </c:pt>
                  <c:pt idx="875">
                    <c:v>Rolling Stdev (30 Minute)</c:v>
                  </c:pt>
                  <c:pt idx="876">
                    <c:v>Rolling Stdev (30 Minute)</c:v>
                  </c:pt>
                  <c:pt idx="877">
                    <c:v>Rolling Stdev (30 Minute)</c:v>
                  </c:pt>
                  <c:pt idx="878">
                    <c:v>Rolling Stdev (30 Minute)</c:v>
                  </c:pt>
                  <c:pt idx="879">
                    <c:v>Rolling Stdev (30 Minute)</c:v>
                  </c:pt>
                  <c:pt idx="880">
                    <c:v>Rolling Stdev (30 Minute)</c:v>
                  </c:pt>
                  <c:pt idx="881">
                    <c:v>Rolling Stdev (30 Minute)</c:v>
                  </c:pt>
                  <c:pt idx="882">
                    <c:v>Rolling Stdev (30 Minute)</c:v>
                  </c:pt>
                  <c:pt idx="883">
                    <c:v>Rolling Stdev (30 Minute)</c:v>
                  </c:pt>
                  <c:pt idx="884">
                    <c:v>Rolling Stdev (30 Minute)</c:v>
                  </c:pt>
                  <c:pt idx="885">
                    <c:v>Rolling Stdev (30 Minute)</c:v>
                  </c:pt>
                  <c:pt idx="886">
                    <c:v>Rolling Stdev (30 Minute)</c:v>
                  </c:pt>
                  <c:pt idx="887">
                    <c:v>Rolling Stdev (30 Minute)</c:v>
                  </c:pt>
                  <c:pt idx="888">
                    <c:v>Rolling Stdev (30 Minute)</c:v>
                  </c:pt>
                  <c:pt idx="889">
                    <c:v>Rolling Stdev (30 Minute)</c:v>
                  </c:pt>
                  <c:pt idx="890">
                    <c:v>Rolling Stdev (30 Minute)</c:v>
                  </c:pt>
                  <c:pt idx="891">
                    <c:v>Rolling Stdev (30 Minute)</c:v>
                  </c:pt>
                  <c:pt idx="892">
                    <c:v>Rolling Stdev (30 Minute)</c:v>
                  </c:pt>
                  <c:pt idx="893">
                    <c:v>Rolling Stdev (30 Minute)</c:v>
                  </c:pt>
                  <c:pt idx="894">
                    <c:v>Rolling Stdev (30 Minute)</c:v>
                  </c:pt>
                  <c:pt idx="895">
                    <c:v>Rolling Stdev (30 Minute)</c:v>
                  </c:pt>
                  <c:pt idx="896">
                    <c:v>Rolling Stdev (30 Minute)</c:v>
                  </c:pt>
                  <c:pt idx="897">
                    <c:v>Rolling Stdev (30 Minute)</c:v>
                  </c:pt>
                  <c:pt idx="898">
                    <c:v>Rolling Stdev (30 Minute)</c:v>
                  </c:pt>
                  <c:pt idx="899">
                    <c:v>Rolling Stdev (30 Minute)</c:v>
                  </c:pt>
                  <c:pt idx="900">
                    <c:v>Rolling Stdev (30 Minute)</c:v>
                  </c:pt>
                  <c:pt idx="901">
                    <c:v>Rolling Stdev (30 Minute)</c:v>
                  </c:pt>
                  <c:pt idx="902">
                    <c:v>Rolling Stdev (30 Minute)</c:v>
                  </c:pt>
                  <c:pt idx="903">
                    <c:v>Rolling Stdev (30 Minute)</c:v>
                  </c:pt>
                  <c:pt idx="904">
                    <c:v>Rolling Stdev (30 Minute)</c:v>
                  </c:pt>
                  <c:pt idx="905">
                    <c:v>Rolling Stdev (30 Minute)</c:v>
                  </c:pt>
                  <c:pt idx="906">
                    <c:v>Rolling Stdev (30 Minute)</c:v>
                  </c:pt>
                  <c:pt idx="907">
                    <c:v>Rolling Stdev (30 Minute)</c:v>
                  </c:pt>
                  <c:pt idx="908">
                    <c:v>Rolling Stdev (30 Minute)</c:v>
                  </c:pt>
                  <c:pt idx="909">
                    <c:v>Rolling Stdev (30 Minute)</c:v>
                  </c:pt>
                  <c:pt idx="910">
                    <c:v>Rolling Stdev (30 Minute)</c:v>
                  </c:pt>
                  <c:pt idx="911">
                    <c:v>Rolling Stdev (30 Minute)</c:v>
                  </c:pt>
                  <c:pt idx="912">
                    <c:v>Rolling Stdev (30 Minute)</c:v>
                  </c:pt>
                  <c:pt idx="913">
                    <c:v>Rolling Stdev (30 Minute)</c:v>
                  </c:pt>
                  <c:pt idx="914">
                    <c:v>Rolling Stdev (30 Minute)</c:v>
                  </c:pt>
                  <c:pt idx="915">
                    <c:v>Rolling Stdev (30 Minute)</c:v>
                  </c:pt>
                  <c:pt idx="916">
                    <c:v>Rolling Stdev (30 Minute)</c:v>
                  </c:pt>
                  <c:pt idx="917">
                    <c:v>Rolling Stdev (30 Minute)</c:v>
                  </c:pt>
                  <c:pt idx="918">
                    <c:v>Rolling Stdev (30 Minute)</c:v>
                  </c:pt>
                  <c:pt idx="919">
                    <c:v>Rolling Stdev (30 Minute)</c:v>
                  </c:pt>
                  <c:pt idx="920">
                    <c:v>Rolling Stdev (30 Minute)</c:v>
                  </c:pt>
                  <c:pt idx="921">
                    <c:v>Rolling Stdev (30 Minute)</c:v>
                  </c:pt>
                  <c:pt idx="922">
                    <c:v>Rolling Stdev (30 Minute)</c:v>
                  </c:pt>
                  <c:pt idx="923">
                    <c:v>Rolling Stdev (30 Minute)</c:v>
                  </c:pt>
                  <c:pt idx="924">
                    <c:v>Rolling Stdev (30 Minute)</c:v>
                  </c:pt>
                  <c:pt idx="925">
                    <c:v>Rolling Stdev (30 Minute)</c:v>
                  </c:pt>
                  <c:pt idx="926">
                    <c:v>Rolling Stdev (30 Minute)</c:v>
                  </c:pt>
                  <c:pt idx="927">
                    <c:v>Rolling Stdev (30 Minute)</c:v>
                  </c:pt>
                  <c:pt idx="928">
                    <c:v>Rolling Stdev (30 Minute)</c:v>
                  </c:pt>
                  <c:pt idx="929">
                    <c:v>Rolling Stdev (30 Minute)</c:v>
                  </c:pt>
                  <c:pt idx="930">
                    <c:v>Rolling Stdev (30 Minute)</c:v>
                  </c:pt>
                  <c:pt idx="931">
                    <c:v>Rolling Stdev (30 Minute)</c:v>
                  </c:pt>
                  <c:pt idx="932">
                    <c:v>Rolling Stdev (30 Minute)</c:v>
                  </c:pt>
                  <c:pt idx="933">
                    <c:v>Rolling Stdev (30 Minute)</c:v>
                  </c:pt>
                  <c:pt idx="934">
                    <c:v>Rolling Stdev (30 Minute)</c:v>
                  </c:pt>
                  <c:pt idx="935">
                    <c:v>Rolling Stdev (30 Minute)</c:v>
                  </c:pt>
                  <c:pt idx="936">
                    <c:v>Rolling Stdev (30 Minute)</c:v>
                  </c:pt>
                  <c:pt idx="937">
                    <c:v>Rolling Stdev (30 Minute)</c:v>
                  </c:pt>
                  <c:pt idx="938">
                    <c:v>Rolling Stdev (30 Minute)</c:v>
                  </c:pt>
                  <c:pt idx="939">
                    <c:v>Rolling Stdev (30 Minute)</c:v>
                  </c:pt>
                  <c:pt idx="940">
                    <c:v>Rolling Stdev (30 Minute)</c:v>
                  </c:pt>
                  <c:pt idx="941">
                    <c:v>Rolling Stdev (30 Minute)</c:v>
                  </c:pt>
                  <c:pt idx="942">
                    <c:v>Rolling Stdev (30 Minute)</c:v>
                  </c:pt>
                  <c:pt idx="943">
                    <c:v>Rolling Stdev (30 Minute)</c:v>
                  </c:pt>
                  <c:pt idx="944">
                    <c:v>Rolling Stdev (30 Minute)</c:v>
                  </c:pt>
                  <c:pt idx="945">
                    <c:v>Rolling Stdev (30 Minute)</c:v>
                  </c:pt>
                  <c:pt idx="946">
                    <c:v>Rolling Stdev (30 Minute)</c:v>
                  </c:pt>
                  <c:pt idx="947">
                    <c:v>Rolling Stdev (30 Minute)</c:v>
                  </c:pt>
                  <c:pt idx="948">
                    <c:v>Rolling Stdev (30 Minute)</c:v>
                  </c:pt>
                  <c:pt idx="949">
                    <c:v>Rolling Stdev (30 Minute)</c:v>
                  </c:pt>
                  <c:pt idx="950">
                    <c:v>Rolling Stdev (30 Minute)</c:v>
                  </c:pt>
                  <c:pt idx="951">
                    <c:v>Rolling Stdev (30 Minute)</c:v>
                  </c:pt>
                  <c:pt idx="952">
                    <c:v>Rolling Stdev (30 Minute)</c:v>
                  </c:pt>
                  <c:pt idx="953">
                    <c:v>Rolling Stdev (30 Minute)</c:v>
                  </c:pt>
                  <c:pt idx="954">
                    <c:v>Rolling Stdev (30 Minute)</c:v>
                  </c:pt>
                  <c:pt idx="955">
                    <c:v>Rolling Stdev (30 Minute)</c:v>
                  </c:pt>
                  <c:pt idx="956">
                    <c:v>Rolling Stdev (30 Minute)</c:v>
                  </c:pt>
                  <c:pt idx="957">
                    <c:v>Rolling Stdev (30 Minute)</c:v>
                  </c:pt>
                  <c:pt idx="958">
                    <c:v>Rolling Stdev (30 Minute)</c:v>
                  </c:pt>
                  <c:pt idx="959">
                    <c:v>Rolling Stdev (30 Minute)</c:v>
                  </c:pt>
                  <c:pt idx="960">
                    <c:v>Rolling Stdev (30 Minute)</c:v>
                  </c:pt>
                  <c:pt idx="961">
                    <c:v>Rolling Stdev (30 Minute)</c:v>
                  </c:pt>
                  <c:pt idx="962">
                    <c:v>Rolling Stdev (30 Minute)</c:v>
                  </c:pt>
                  <c:pt idx="963">
                    <c:v>Rolling Stdev (30 Minute)</c:v>
                  </c:pt>
                  <c:pt idx="964">
                    <c:v>Rolling Stdev (30 Minute)</c:v>
                  </c:pt>
                  <c:pt idx="965">
                    <c:v>Rolling Stdev (30 Minute)</c:v>
                  </c:pt>
                  <c:pt idx="966">
                    <c:v>Rolling Stdev (30 Minute)</c:v>
                  </c:pt>
                  <c:pt idx="967">
                    <c:v>Rolling Stdev (30 Minute)</c:v>
                  </c:pt>
                  <c:pt idx="968">
                    <c:v>Rolling Stdev (30 Minute)</c:v>
                  </c:pt>
                  <c:pt idx="969">
                    <c:v>Rolling Stdev (30 Minute)</c:v>
                  </c:pt>
                  <c:pt idx="970">
                    <c:v>Rolling Stdev (30 Minute)</c:v>
                  </c:pt>
                  <c:pt idx="971">
                    <c:v>Rolling Stdev (30 Minute)</c:v>
                  </c:pt>
                  <c:pt idx="972">
                    <c:v>Rolling Stdev (30 Minute)</c:v>
                  </c:pt>
                  <c:pt idx="973">
                    <c:v>Rolling Stdev (30 Minute)</c:v>
                  </c:pt>
                  <c:pt idx="974">
                    <c:v>Rolling Stdev (30 Minute)</c:v>
                  </c:pt>
                  <c:pt idx="975">
                    <c:v>Rolling Stdev (30 Minute)</c:v>
                  </c:pt>
                  <c:pt idx="976">
                    <c:v>Rolling Stdev (30 Minute)</c:v>
                  </c:pt>
                  <c:pt idx="977">
                    <c:v>Rolling Stdev (30 Minute)</c:v>
                  </c:pt>
                  <c:pt idx="978">
                    <c:v>Rolling Stdev (30 Minute)</c:v>
                  </c:pt>
                  <c:pt idx="979">
                    <c:v>Rolling Stdev (30 Minute)</c:v>
                  </c:pt>
                  <c:pt idx="980">
                    <c:v>Rolling Stdev (30 Minute)</c:v>
                  </c:pt>
                  <c:pt idx="981">
                    <c:v>Rolling Stdev (30 Minute)</c:v>
                  </c:pt>
                  <c:pt idx="982">
                    <c:v>Rolling Stdev (30 Minute)</c:v>
                  </c:pt>
                  <c:pt idx="983">
                    <c:v>Rolling Stdev (30 Minute)</c:v>
                  </c:pt>
                  <c:pt idx="984">
                    <c:v>Rolling Stdev (30 Minute)</c:v>
                  </c:pt>
                  <c:pt idx="985">
                    <c:v>Rolling Stdev (30 Minute)</c:v>
                  </c:pt>
                  <c:pt idx="986">
                    <c:v>Rolling Stdev (30 Minute)</c:v>
                  </c:pt>
                  <c:pt idx="987">
                    <c:v>Rolling Stdev (30 Minute)</c:v>
                  </c:pt>
                  <c:pt idx="988">
                    <c:v>Rolling Stdev (30 Minute)</c:v>
                  </c:pt>
                  <c:pt idx="989">
                    <c:v>Rolling Stdev (30 Minute)</c:v>
                  </c:pt>
                  <c:pt idx="990">
                    <c:v>Rolling Stdev (30 Minute)</c:v>
                  </c:pt>
                  <c:pt idx="991">
                    <c:v>Rolling Stdev (30 Minute)</c:v>
                  </c:pt>
                  <c:pt idx="992">
                    <c:v>Rolling Stdev (30 Minute)</c:v>
                  </c:pt>
                  <c:pt idx="993">
                    <c:v>Rolling Stdev (30 Minute)</c:v>
                  </c:pt>
                  <c:pt idx="994">
                    <c:v>Rolling Stdev (30 Minute)</c:v>
                  </c:pt>
                  <c:pt idx="995">
                    <c:v>Rolling Stdev (30 Minute)</c:v>
                  </c:pt>
                  <c:pt idx="996">
                    <c:v>Rolling Stdev (30 Minute)</c:v>
                  </c:pt>
                  <c:pt idx="997">
                    <c:v>Rolling Stdev (30 Minute)</c:v>
                  </c:pt>
                  <c:pt idx="998">
                    <c:v>Rolling Stdev (30 Minute)</c:v>
                  </c:pt>
                  <c:pt idx="999">
                    <c:v>Rolling Stdev (30 Minute)</c:v>
                  </c:pt>
                  <c:pt idx="1000">
                    <c:v>Rolling Stdev (30 Minute)</c:v>
                  </c:pt>
                  <c:pt idx="1001">
                    <c:v>Rolling Stdev (30 Minute)</c:v>
                  </c:pt>
                  <c:pt idx="1002">
                    <c:v>Rolling Stdev (30 Minute)</c:v>
                  </c:pt>
                  <c:pt idx="1003">
                    <c:v>Rolling Stdev (30 Minute)</c:v>
                  </c:pt>
                  <c:pt idx="1004">
                    <c:v>Rolling Stdev (30 Minute)</c:v>
                  </c:pt>
                  <c:pt idx="1005">
                    <c:v>Rolling Stdev (30 Minute)</c:v>
                  </c:pt>
                  <c:pt idx="1006">
                    <c:v>Rolling Stdev (30 Minute)</c:v>
                  </c:pt>
                  <c:pt idx="1007">
                    <c:v>Rolling Stdev (30 Minute)</c:v>
                  </c:pt>
                  <c:pt idx="1008">
                    <c:v>Rolling Stdev (30 Minute)</c:v>
                  </c:pt>
                  <c:pt idx="1009">
                    <c:v>Rolling Stdev (30 Minute)</c:v>
                  </c:pt>
                  <c:pt idx="1010">
                    <c:v>Rolling Stdev (30 Minute)</c:v>
                  </c:pt>
                  <c:pt idx="1011">
                    <c:v>Rolling Stdev (30 Minute)</c:v>
                  </c:pt>
                  <c:pt idx="1012">
                    <c:v>Rolling Stdev (30 Minute)</c:v>
                  </c:pt>
                  <c:pt idx="1013">
                    <c:v>Rolling Stdev (30 Minute)</c:v>
                  </c:pt>
                  <c:pt idx="1014">
                    <c:v>Rolling Stdev (30 Minute)</c:v>
                  </c:pt>
                  <c:pt idx="1015">
                    <c:v>Rolling Stdev (30 Minute)</c:v>
                  </c:pt>
                  <c:pt idx="1016">
                    <c:v>Rolling Stdev (30 Minute)</c:v>
                  </c:pt>
                  <c:pt idx="1017">
                    <c:v>Rolling Stdev (30 Minute)</c:v>
                  </c:pt>
                  <c:pt idx="1018">
                    <c:v>Rolling Stdev (30 Minute)</c:v>
                  </c:pt>
                  <c:pt idx="1019">
                    <c:v>Rolling Stdev (30 Minute)</c:v>
                  </c:pt>
                  <c:pt idx="1020">
                    <c:v>Rolling Stdev (30 Minute)</c:v>
                  </c:pt>
                  <c:pt idx="1021">
                    <c:v>Rolling Stdev (30 Minute)</c:v>
                  </c:pt>
                  <c:pt idx="1022">
                    <c:v>Rolling Stdev (30 Minute)</c:v>
                  </c:pt>
                  <c:pt idx="1023">
                    <c:v>Rolling Stdev (30 Minute)</c:v>
                  </c:pt>
                  <c:pt idx="1024">
                    <c:v>Rolling Stdev (30 Minute)</c:v>
                  </c:pt>
                  <c:pt idx="1025">
                    <c:v>Rolling Stdev (30 Minute)</c:v>
                  </c:pt>
                  <c:pt idx="1026">
                    <c:v>Rolling Stdev (30 Minute)</c:v>
                  </c:pt>
                  <c:pt idx="1027">
                    <c:v>Rolling Stdev (30 Minute)</c:v>
                  </c:pt>
                  <c:pt idx="1028">
                    <c:v>Rolling Stdev (30 Minute)</c:v>
                  </c:pt>
                  <c:pt idx="1029">
                    <c:v>Rolling Stdev (30 Minute)</c:v>
                  </c:pt>
                  <c:pt idx="1030">
                    <c:v>Rolling Stdev (30 Minute)</c:v>
                  </c:pt>
                  <c:pt idx="1031">
                    <c:v>Rolling Stdev (30 Minute)</c:v>
                  </c:pt>
                  <c:pt idx="1032">
                    <c:v>Rolling Stdev (30 Minute)</c:v>
                  </c:pt>
                  <c:pt idx="1033">
                    <c:v>Rolling Stdev (30 Minute)</c:v>
                  </c:pt>
                  <c:pt idx="1034">
                    <c:v>Rolling Stdev (30 Minute)</c:v>
                  </c:pt>
                  <c:pt idx="1035">
                    <c:v>Rolling Stdev (30 Minute)</c:v>
                  </c:pt>
                  <c:pt idx="1036">
                    <c:v>Rolling Stdev (30 Minute)</c:v>
                  </c:pt>
                  <c:pt idx="1037">
                    <c:v>Rolling Stdev (30 Minute)</c:v>
                  </c:pt>
                  <c:pt idx="1038">
                    <c:v>Rolling Stdev (30 Minute)</c:v>
                  </c:pt>
                  <c:pt idx="1039">
                    <c:v>Rolling Stdev (30 Minute)</c:v>
                  </c:pt>
                  <c:pt idx="1040">
                    <c:v>Rolling Stdev (30 Minute)</c:v>
                  </c:pt>
                  <c:pt idx="1041">
                    <c:v>Rolling Stdev (30 Minute)</c:v>
                  </c:pt>
                  <c:pt idx="1042">
                    <c:v>Rolling Stdev (30 Minute)</c:v>
                  </c:pt>
                  <c:pt idx="1043">
                    <c:v>Rolling Stdev (30 Minute)</c:v>
                  </c:pt>
                  <c:pt idx="1044">
                    <c:v>Rolling Stdev (30 Minute)</c:v>
                  </c:pt>
                  <c:pt idx="1045">
                    <c:v>Rolling Stdev (30 Minute)</c:v>
                  </c:pt>
                  <c:pt idx="1046">
                    <c:v>Rolling Stdev (30 Minute)</c:v>
                  </c:pt>
                  <c:pt idx="1047">
                    <c:v>Rolling Stdev (30 Minute)</c:v>
                  </c:pt>
                  <c:pt idx="1048">
                    <c:v>Rolling Stdev (30 Minute)</c:v>
                  </c:pt>
                  <c:pt idx="1049">
                    <c:v>Rolling Stdev (30 Minute)</c:v>
                  </c:pt>
                  <c:pt idx="1050">
                    <c:v>Rolling Stdev (30 Minute)</c:v>
                  </c:pt>
                  <c:pt idx="1051">
                    <c:v>Rolling Stdev (30 Minute)</c:v>
                  </c:pt>
                  <c:pt idx="1052">
                    <c:v>Rolling Stdev (30 Minute)</c:v>
                  </c:pt>
                  <c:pt idx="1053">
                    <c:v>Rolling Stdev (30 Minute)</c:v>
                  </c:pt>
                  <c:pt idx="1054">
                    <c:v>Rolling Stdev (30 Minute)</c:v>
                  </c:pt>
                  <c:pt idx="1055">
                    <c:v>Rolling Stdev (30 Minute)</c:v>
                  </c:pt>
                  <c:pt idx="1056">
                    <c:v>Rolling Stdev (30 Minute)</c:v>
                  </c:pt>
                  <c:pt idx="1057">
                    <c:v>Rolling Stdev (30 Minute)</c:v>
                  </c:pt>
                  <c:pt idx="1058">
                    <c:v>Rolling Stdev (30 Minute)</c:v>
                  </c:pt>
                  <c:pt idx="1059">
                    <c:v>Rolling Stdev (30 Minute)</c:v>
                  </c:pt>
                  <c:pt idx="1060">
                    <c:v>Rolling Stdev (30 Minute)</c:v>
                  </c:pt>
                  <c:pt idx="1061">
                    <c:v>Rolling Stdev (30 Minute)</c:v>
                  </c:pt>
                  <c:pt idx="1062">
                    <c:v>Rolling Stdev (30 Minute)</c:v>
                  </c:pt>
                  <c:pt idx="1063">
                    <c:v>Rolling Stdev (30 Minute)</c:v>
                  </c:pt>
                  <c:pt idx="1064">
                    <c:v>Rolling Stdev (30 Minute)</c:v>
                  </c:pt>
                  <c:pt idx="1065">
                    <c:v>Rolling Stdev (30 Minute)</c:v>
                  </c:pt>
                  <c:pt idx="1066">
                    <c:v>Rolling Stdev (30 Minute)</c:v>
                  </c:pt>
                  <c:pt idx="1067">
                    <c:v>Rolling Stdev (30 Minute)</c:v>
                  </c:pt>
                  <c:pt idx="1068">
                    <c:v>Rolling Stdev (30 Minute)</c:v>
                  </c:pt>
                  <c:pt idx="1069">
                    <c:v>Rolling Stdev (30 Minute)</c:v>
                  </c:pt>
                  <c:pt idx="1070">
                    <c:v>Rolling Stdev (30 Minute)</c:v>
                  </c:pt>
                  <c:pt idx="1071">
                    <c:v>Rolling Stdev (30 Minute)</c:v>
                  </c:pt>
                  <c:pt idx="1072">
                    <c:v>Rolling Stdev (30 Minute)</c:v>
                  </c:pt>
                  <c:pt idx="1073">
                    <c:v>Rolling Stdev (30 Minute)</c:v>
                  </c:pt>
                  <c:pt idx="1074">
                    <c:v>Rolling Stdev (30 Minute)</c:v>
                  </c:pt>
                  <c:pt idx="1075">
                    <c:v>Rolling Stdev (30 Minute)</c:v>
                  </c:pt>
                  <c:pt idx="1076">
                    <c:v>Rolling Stdev (30 Minute)</c:v>
                  </c:pt>
                  <c:pt idx="1077">
                    <c:v>Rolling Stdev (30 Minute)</c:v>
                  </c:pt>
                  <c:pt idx="1078">
                    <c:v>Rolling Stdev (30 Minute)</c:v>
                  </c:pt>
                  <c:pt idx="1079">
                    <c:v>Rolling Stdev (30 Minute)</c:v>
                  </c:pt>
                  <c:pt idx="1080">
                    <c:v>Rolling Stdev (30 Minute)</c:v>
                  </c:pt>
                  <c:pt idx="1081">
                    <c:v>Rolling Stdev (30 Minute)</c:v>
                  </c:pt>
                  <c:pt idx="1082">
                    <c:v>Rolling Stdev (30 Minute)</c:v>
                  </c:pt>
                  <c:pt idx="1083">
                    <c:v>Rolling Stdev (30 Minute)</c:v>
                  </c:pt>
                  <c:pt idx="1084">
                    <c:v>Rolling Stdev (30 Minute)</c:v>
                  </c:pt>
                  <c:pt idx="1085">
                    <c:v>Rolling Stdev (30 Minute)</c:v>
                  </c:pt>
                  <c:pt idx="1086">
                    <c:v>Rolling Stdev (30 Minute)</c:v>
                  </c:pt>
                  <c:pt idx="1087">
                    <c:v>Rolling Stdev (30 Minute)</c:v>
                  </c:pt>
                  <c:pt idx="1088">
                    <c:v>Rolling Stdev (30 Minute)</c:v>
                  </c:pt>
                  <c:pt idx="1089">
                    <c:v>Rolling Stdev (30 Minute)</c:v>
                  </c:pt>
                  <c:pt idx="1090">
                    <c:v>Rolling Stdev (30 Minute)</c:v>
                  </c:pt>
                  <c:pt idx="1091">
                    <c:v>Rolling Stdev (30 Minute)</c:v>
                  </c:pt>
                  <c:pt idx="1092">
                    <c:v>Rolling Stdev (30 Minute)</c:v>
                  </c:pt>
                  <c:pt idx="1093">
                    <c:v>Rolling Stdev (30 Minute)</c:v>
                  </c:pt>
                  <c:pt idx="1094">
                    <c:v>Rolling Stdev (30 Minute)</c:v>
                  </c:pt>
                  <c:pt idx="1095">
                    <c:v>Rolling Stdev (30 Minute)</c:v>
                  </c:pt>
                  <c:pt idx="1096">
                    <c:v>Rolling Stdev (30 Minute)</c:v>
                  </c:pt>
                  <c:pt idx="1097">
                    <c:v>Rolling Stdev (30 Minute)</c:v>
                  </c:pt>
                  <c:pt idx="1098">
                    <c:v>Rolling Stdev (30 Minute)</c:v>
                  </c:pt>
                  <c:pt idx="1099">
                    <c:v>Rolling Stdev (30 Minute)</c:v>
                  </c:pt>
                  <c:pt idx="1100">
                    <c:v>Rolling Stdev (30 Minute)</c:v>
                  </c:pt>
                  <c:pt idx="1101">
                    <c:v>Rolling Stdev (30 Minute)</c:v>
                  </c:pt>
                  <c:pt idx="1102">
                    <c:v>Rolling Stdev (30 Minute)</c:v>
                  </c:pt>
                  <c:pt idx="1103">
                    <c:v>Rolling Stdev (30 Minute)</c:v>
                  </c:pt>
                  <c:pt idx="1104">
                    <c:v>Rolling Stdev (30 Minute)</c:v>
                  </c:pt>
                  <c:pt idx="1105">
                    <c:v>Rolling Stdev (30 Minute)</c:v>
                  </c:pt>
                  <c:pt idx="1106">
                    <c:v>Rolling Stdev (30 Minute)</c:v>
                  </c:pt>
                  <c:pt idx="1107">
                    <c:v>Rolling Stdev (30 Minute)</c:v>
                  </c:pt>
                  <c:pt idx="1108">
                    <c:v>Rolling Stdev (30 Minute)</c:v>
                  </c:pt>
                  <c:pt idx="1109">
                    <c:v>Rolling Stdev (30 Minute)</c:v>
                  </c:pt>
                  <c:pt idx="1110">
                    <c:v>Rolling Stdev (30 Minute)</c:v>
                  </c:pt>
                  <c:pt idx="1111">
                    <c:v>Rolling Stdev (30 Minute)</c:v>
                  </c:pt>
                  <c:pt idx="1112">
                    <c:v>Rolling Stdev (30 Minute)</c:v>
                  </c:pt>
                  <c:pt idx="1113">
                    <c:v>Rolling Stdev (30 Minute)</c:v>
                  </c:pt>
                  <c:pt idx="1114">
                    <c:v>Rolling Stdev (30 Minute)</c:v>
                  </c:pt>
                  <c:pt idx="1115">
                    <c:v>Rolling Stdev (30 Minute)</c:v>
                  </c:pt>
                  <c:pt idx="1116">
                    <c:v>Rolling Stdev (30 Minute)</c:v>
                  </c:pt>
                  <c:pt idx="1117">
                    <c:v>Rolling Stdev (30 Minute)</c:v>
                  </c:pt>
                  <c:pt idx="1118">
                    <c:v>Rolling Stdev (30 Minute)</c:v>
                  </c:pt>
                  <c:pt idx="1119">
                    <c:v>Rolling Stdev (30 Minute)</c:v>
                  </c:pt>
                  <c:pt idx="1120">
                    <c:v>Rolling Stdev (30 Minute)</c:v>
                  </c:pt>
                  <c:pt idx="1121">
                    <c:v>Rolling Stdev (30 Minute)</c:v>
                  </c:pt>
                  <c:pt idx="1122">
                    <c:v>Rolling Stdev (30 Minute)</c:v>
                  </c:pt>
                  <c:pt idx="1123">
                    <c:v>Rolling Stdev (30 Minute)</c:v>
                  </c:pt>
                  <c:pt idx="1124">
                    <c:v>Rolling Stdev (30 Minute)</c:v>
                  </c:pt>
                  <c:pt idx="1125">
                    <c:v>Rolling Stdev (30 Minute)</c:v>
                  </c:pt>
                  <c:pt idx="1126">
                    <c:v>Rolling Stdev (30 Minute)</c:v>
                  </c:pt>
                  <c:pt idx="1127">
                    <c:v>Rolling Stdev (30 Minute)</c:v>
                  </c:pt>
                  <c:pt idx="1128">
                    <c:v>Rolling Stdev (30 Minute)</c:v>
                  </c:pt>
                  <c:pt idx="1129">
                    <c:v>Rolling Stdev (30 Minute)</c:v>
                  </c:pt>
                  <c:pt idx="1130">
                    <c:v>Rolling Stdev (30 Minute)</c:v>
                  </c:pt>
                  <c:pt idx="1131">
                    <c:v>Rolling Stdev (30 Minute)</c:v>
                  </c:pt>
                  <c:pt idx="1132">
                    <c:v>Rolling Stdev (30 Minute)</c:v>
                  </c:pt>
                  <c:pt idx="1133">
                    <c:v>Rolling Stdev (30 Minute)</c:v>
                  </c:pt>
                  <c:pt idx="1134">
                    <c:v>Rolling Stdev (30 Minute)</c:v>
                  </c:pt>
                  <c:pt idx="1135">
                    <c:v>Rolling Stdev (30 Minute)</c:v>
                  </c:pt>
                  <c:pt idx="1136">
                    <c:v>Rolling Stdev (30 Minute)</c:v>
                  </c:pt>
                  <c:pt idx="1137">
                    <c:v>Rolling Stdev (30 Minute)</c:v>
                  </c:pt>
                  <c:pt idx="1138">
                    <c:v>Rolling Stdev (30 Minute)</c:v>
                  </c:pt>
                  <c:pt idx="1139">
                    <c:v>Rolling Stdev (30 Minute)</c:v>
                  </c:pt>
                  <c:pt idx="1140">
                    <c:v>Rolling Stdev (30 Minute)</c:v>
                  </c:pt>
                  <c:pt idx="1141">
                    <c:v>Rolling Stdev (30 Minute)</c:v>
                  </c:pt>
                  <c:pt idx="1142">
                    <c:v>Rolling Stdev (30 Minute)</c:v>
                  </c:pt>
                  <c:pt idx="1143">
                    <c:v>Rolling Stdev (30 Minute)</c:v>
                  </c:pt>
                  <c:pt idx="1144">
                    <c:v>Rolling Stdev (30 Minute)</c:v>
                  </c:pt>
                  <c:pt idx="1145">
                    <c:v>Rolling Stdev (30 Minute)</c:v>
                  </c:pt>
                  <c:pt idx="1146">
                    <c:v>Rolling Stdev (30 Minute)</c:v>
                  </c:pt>
                  <c:pt idx="1147">
                    <c:v>Rolling Stdev (30 Minute)</c:v>
                  </c:pt>
                  <c:pt idx="1148">
                    <c:v>Rolling Stdev (30 Minute)</c:v>
                  </c:pt>
                  <c:pt idx="1149">
                    <c:v>Rolling Stdev (30 Minute)</c:v>
                  </c:pt>
                  <c:pt idx="1150">
                    <c:v>Rolling Stdev (30 Minute)</c:v>
                  </c:pt>
                  <c:pt idx="1151">
                    <c:v>Rolling Stdev (30 Minute)</c:v>
                  </c:pt>
                  <c:pt idx="1152">
                    <c:v>Rolling Stdev (30 Minute)</c:v>
                  </c:pt>
                  <c:pt idx="1153">
                    <c:v>Rolling Stdev (30 Minute)</c:v>
                  </c:pt>
                  <c:pt idx="1154">
                    <c:v>Rolling Stdev (30 Minute)</c:v>
                  </c:pt>
                  <c:pt idx="1155">
                    <c:v>Rolling Stdev (30 Minute)</c:v>
                  </c:pt>
                  <c:pt idx="1156">
                    <c:v>Rolling Stdev (30 Minute)</c:v>
                  </c:pt>
                  <c:pt idx="1157">
                    <c:v>Rolling Stdev (30 Minute)</c:v>
                  </c:pt>
                  <c:pt idx="1158">
                    <c:v>Rolling Stdev (30 Minute)</c:v>
                  </c:pt>
                  <c:pt idx="1159">
                    <c:v>Rolling Stdev (30 Minute)</c:v>
                  </c:pt>
                  <c:pt idx="1160">
                    <c:v>Rolling Stdev (30 Minute)</c:v>
                  </c:pt>
                  <c:pt idx="1161">
                    <c:v>Rolling Stdev (30 Minute)</c:v>
                  </c:pt>
                  <c:pt idx="1162">
                    <c:v>Rolling Stdev (30 Minute)</c:v>
                  </c:pt>
                  <c:pt idx="1163">
                    <c:v>Rolling Stdev (30 Minute)</c:v>
                  </c:pt>
                  <c:pt idx="1164">
                    <c:v>Rolling Stdev (30 Minute)</c:v>
                  </c:pt>
                  <c:pt idx="1165">
                    <c:v>Rolling Stdev (30 Minute)</c:v>
                  </c:pt>
                  <c:pt idx="1166">
                    <c:v>Rolling Stdev (30 Minute)</c:v>
                  </c:pt>
                  <c:pt idx="1167">
                    <c:v>Rolling Stdev (30 Minute)</c:v>
                  </c:pt>
                  <c:pt idx="1168">
                    <c:v>Rolling Stdev (30 Minute)</c:v>
                  </c:pt>
                  <c:pt idx="1169">
                    <c:v>Rolling Stdev (30 Minute)</c:v>
                  </c:pt>
                  <c:pt idx="1170">
                    <c:v>Rolling Stdev (30 Minute)</c:v>
                  </c:pt>
                  <c:pt idx="1171">
                    <c:v>Rolling Stdev (30 Minute)</c:v>
                  </c:pt>
                  <c:pt idx="1172">
                    <c:v>Rolling Stdev (30 Minute)</c:v>
                  </c:pt>
                  <c:pt idx="1173">
                    <c:v>Rolling Stdev (30 Minute)</c:v>
                  </c:pt>
                  <c:pt idx="1174">
                    <c:v>Rolling Stdev (30 Minute)</c:v>
                  </c:pt>
                  <c:pt idx="1175">
                    <c:v>Rolling Stdev (30 Minute)</c:v>
                  </c:pt>
                  <c:pt idx="1176">
                    <c:v>Rolling Stdev (30 Minute)</c:v>
                  </c:pt>
                  <c:pt idx="1177">
                    <c:v>Rolling Stdev (30 Minute)</c:v>
                  </c:pt>
                  <c:pt idx="1178">
                    <c:v>Rolling Stdev (30 Minute)</c:v>
                  </c:pt>
                  <c:pt idx="1179">
                    <c:v>Rolling Stdev (30 Minute)</c:v>
                  </c:pt>
                  <c:pt idx="1180">
                    <c:v>Rolling Stdev (30 Minute)</c:v>
                  </c:pt>
                  <c:pt idx="1181">
                    <c:v>Rolling Stdev (30 Minute)</c:v>
                  </c:pt>
                  <c:pt idx="1182">
                    <c:v>Rolling Stdev (30 Minute)</c:v>
                  </c:pt>
                  <c:pt idx="1183">
                    <c:v>Rolling Stdev (30 Minute)</c:v>
                  </c:pt>
                  <c:pt idx="1184">
                    <c:v>Rolling Stdev (30 Minute)</c:v>
                  </c:pt>
                  <c:pt idx="1185">
                    <c:v>Rolling Stdev (30 Minute)</c:v>
                  </c:pt>
                  <c:pt idx="1186">
                    <c:v>Rolling Stdev (30 Minute)</c:v>
                  </c:pt>
                  <c:pt idx="1187">
                    <c:v>Rolling Stdev (30 Minute)</c:v>
                  </c:pt>
                  <c:pt idx="1188">
                    <c:v>Rolling Stdev (30 Minute)</c:v>
                  </c:pt>
                  <c:pt idx="1189">
                    <c:v>Rolling Stdev (30 Minute)</c:v>
                  </c:pt>
                  <c:pt idx="1190">
                    <c:v>Rolling Stdev (30 Minute)</c:v>
                  </c:pt>
                  <c:pt idx="1191">
                    <c:v>Rolling Stdev (30 Minute)</c:v>
                  </c:pt>
                  <c:pt idx="1192">
                    <c:v>Rolling Stdev (30 Minute)</c:v>
                  </c:pt>
                  <c:pt idx="1193">
                    <c:v>Rolling Stdev (30 Minute)</c:v>
                  </c:pt>
                  <c:pt idx="1194">
                    <c:v>Rolling Stdev (30 Minute)</c:v>
                  </c:pt>
                  <c:pt idx="1195">
                    <c:v>Rolling Stdev (30 Minute)</c:v>
                  </c:pt>
                  <c:pt idx="1196">
                    <c:v>Rolling Stdev (30 Minute)</c:v>
                  </c:pt>
                  <c:pt idx="1197">
                    <c:v>Rolling Stdev (30 Minute)</c:v>
                  </c:pt>
                  <c:pt idx="1198">
                    <c:v>Rolling Stdev (30 Minute)</c:v>
                  </c:pt>
                  <c:pt idx="1199">
                    <c:v>Rolling Stdev (30 Minute)</c:v>
                  </c:pt>
                  <c:pt idx="1200">
                    <c:v>Rolling Stdev (30 Minute)</c:v>
                  </c:pt>
                  <c:pt idx="1201">
                    <c:v>Rolling Stdev (30 Minute)</c:v>
                  </c:pt>
                  <c:pt idx="1202">
                    <c:v>Rolling Stdev (30 Minute)</c:v>
                  </c:pt>
                  <c:pt idx="1203">
                    <c:v>Rolling Stdev (30 Minute)</c:v>
                  </c:pt>
                  <c:pt idx="1204">
                    <c:v>Rolling Stdev (30 Minute)</c:v>
                  </c:pt>
                  <c:pt idx="1205">
                    <c:v>Rolling Stdev (30 Minute)</c:v>
                  </c:pt>
                  <c:pt idx="1206">
                    <c:v>Rolling Stdev (30 Minute)</c:v>
                  </c:pt>
                  <c:pt idx="1207">
                    <c:v>Rolling Stdev (30 Minute)</c:v>
                  </c:pt>
                  <c:pt idx="1208">
                    <c:v>Rolling Stdev (30 Minute)</c:v>
                  </c:pt>
                  <c:pt idx="1209">
                    <c:v>Rolling Stdev (30 Minute)</c:v>
                  </c:pt>
                  <c:pt idx="1210">
                    <c:v>Rolling Stdev (30 Minute)</c:v>
                  </c:pt>
                  <c:pt idx="1211">
                    <c:v>Rolling Stdev (30 Minute)</c:v>
                  </c:pt>
                  <c:pt idx="1212">
                    <c:v>Rolling Stdev (30 Minute)</c:v>
                  </c:pt>
                  <c:pt idx="1213">
                    <c:v>Rolling Stdev (30 Minute)</c:v>
                  </c:pt>
                  <c:pt idx="1214">
                    <c:v>Rolling Stdev (30 Minute)</c:v>
                  </c:pt>
                  <c:pt idx="1215">
                    <c:v>Rolling Stdev (30 Minute)</c:v>
                  </c:pt>
                  <c:pt idx="1216">
                    <c:v>Rolling Stdev (30 Minute)</c:v>
                  </c:pt>
                  <c:pt idx="1217">
                    <c:v>Rolling Stdev (30 Minute)</c:v>
                  </c:pt>
                  <c:pt idx="1218">
                    <c:v>Rolling Stdev (30 Minute)</c:v>
                  </c:pt>
                  <c:pt idx="1219">
                    <c:v>Rolling Stdev (30 Minute)</c:v>
                  </c:pt>
                  <c:pt idx="1220">
                    <c:v>Rolling Stdev (30 Minute)</c:v>
                  </c:pt>
                  <c:pt idx="1221">
                    <c:v>Rolling Stdev (30 Minute)</c:v>
                  </c:pt>
                  <c:pt idx="1222">
                    <c:v>Rolling Stdev (30 Minute)</c:v>
                  </c:pt>
                  <c:pt idx="1223">
                    <c:v>Rolling Stdev (30 Minute)</c:v>
                  </c:pt>
                  <c:pt idx="1224">
                    <c:v>Rolling Stdev (30 Minute)</c:v>
                  </c:pt>
                  <c:pt idx="1225">
                    <c:v>Rolling Stdev (30 Minute)</c:v>
                  </c:pt>
                  <c:pt idx="1226">
                    <c:v>Rolling Stdev (30 Minute)</c:v>
                  </c:pt>
                  <c:pt idx="1227">
                    <c:v>Rolling Stdev (30 Minute)</c:v>
                  </c:pt>
                  <c:pt idx="1228">
                    <c:v>Rolling Stdev (30 Minute)</c:v>
                  </c:pt>
                  <c:pt idx="1229">
                    <c:v>Rolling Stdev (30 Minute)</c:v>
                  </c:pt>
                  <c:pt idx="1230">
                    <c:v>Rolling Stdev (30 Minute)</c:v>
                  </c:pt>
                  <c:pt idx="1231">
                    <c:v>Rolling Stdev (30 Minute)</c:v>
                  </c:pt>
                  <c:pt idx="1232">
                    <c:v>Rolling Stdev (30 Minute)</c:v>
                  </c:pt>
                  <c:pt idx="1233">
                    <c:v>Rolling Stdev (30 Minute)</c:v>
                  </c:pt>
                  <c:pt idx="1234">
                    <c:v>Rolling Stdev (30 Minute)</c:v>
                  </c:pt>
                  <c:pt idx="1235">
                    <c:v>Rolling Stdev (30 Minute)</c:v>
                  </c:pt>
                  <c:pt idx="1236">
                    <c:v>Rolling Stdev (30 Minute)</c:v>
                  </c:pt>
                  <c:pt idx="1237">
                    <c:v>Rolling Stdev (30 Minute)</c:v>
                  </c:pt>
                  <c:pt idx="1238">
                    <c:v>Rolling Stdev (30 Minute)</c:v>
                  </c:pt>
                  <c:pt idx="1239">
                    <c:v>Rolling Stdev (30 Minute)</c:v>
                  </c:pt>
                  <c:pt idx="1240">
                    <c:v>Rolling Stdev (30 Minute)</c:v>
                  </c:pt>
                  <c:pt idx="1241">
                    <c:v>Rolling Stdev (30 Minute)</c:v>
                  </c:pt>
                  <c:pt idx="1242">
                    <c:v>Rolling Stdev (30 Minute)</c:v>
                  </c:pt>
                  <c:pt idx="1243">
                    <c:v>Rolling Stdev (30 Minute)</c:v>
                  </c:pt>
                  <c:pt idx="1244">
                    <c:v>Rolling Stdev (30 Minute)</c:v>
                  </c:pt>
                  <c:pt idx="1245">
                    <c:v>Rolling Stdev (30 Minute)</c:v>
                  </c:pt>
                  <c:pt idx="1246">
                    <c:v>Rolling Stdev (30 Minute)</c:v>
                  </c:pt>
                  <c:pt idx="1247">
                    <c:v>Rolling Stdev (30 Minute)</c:v>
                  </c:pt>
                  <c:pt idx="1248">
                    <c:v>Rolling Stdev (30 Minute)</c:v>
                  </c:pt>
                  <c:pt idx="1249">
                    <c:v>Rolling Stdev (30 Minute)</c:v>
                  </c:pt>
                  <c:pt idx="1250">
                    <c:v>Rolling Stdev (30 Minute)</c:v>
                  </c:pt>
                  <c:pt idx="1251">
                    <c:v>Rolling Stdev (30 Minute)</c:v>
                  </c:pt>
                  <c:pt idx="1252">
                    <c:v>Rolling Stdev (30 Minute)</c:v>
                  </c:pt>
                  <c:pt idx="1253">
                    <c:v>Rolling Stdev (30 Minute)</c:v>
                  </c:pt>
                  <c:pt idx="1254">
                    <c:v>Rolling Stdev (30 Minute)</c:v>
                  </c:pt>
                  <c:pt idx="1255">
                    <c:v>Rolling Stdev (30 Minute)</c:v>
                  </c:pt>
                  <c:pt idx="1256">
                    <c:v>Rolling Stdev (30 Minute)</c:v>
                  </c:pt>
                  <c:pt idx="1257">
                    <c:v>Rolling Stdev (30 Minute)</c:v>
                  </c:pt>
                  <c:pt idx="1258">
                    <c:v>Rolling Stdev (30 Minute)</c:v>
                  </c:pt>
                  <c:pt idx="1259">
                    <c:v>Rolling Stdev (30 Minute)</c:v>
                  </c:pt>
                  <c:pt idx="1260">
                    <c:v>Rolling Stdev (30 Minute)</c:v>
                  </c:pt>
                  <c:pt idx="1261">
                    <c:v>Rolling Stdev (30 Minute)</c:v>
                  </c:pt>
                  <c:pt idx="1262">
                    <c:v>Rolling Stdev (30 Minute)</c:v>
                  </c:pt>
                  <c:pt idx="1263">
                    <c:v>Rolling Stdev (30 Minute)</c:v>
                  </c:pt>
                  <c:pt idx="1264">
                    <c:v>Rolling Stdev (30 Minute)</c:v>
                  </c:pt>
                  <c:pt idx="1265">
                    <c:v>Rolling Stdev (30 Minute)</c:v>
                  </c:pt>
                  <c:pt idx="1266">
                    <c:v>Rolling Stdev (30 Minute)</c:v>
                  </c:pt>
                  <c:pt idx="1267">
                    <c:v>Rolling Stdev (30 Minute)</c:v>
                  </c:pt>
                  <c:pt idx="1268">
                    <c:v>Rolling Stdev (30 Minute)</c:v>
                  </c:pt>
                  <c:pt idx="1269">
                    <c:v>Rolling Stdev (30 Minute)</c:v>
                  </c:pt>
                  <c:pt idx="1270">
                    <c:v>Rolling Stdev (30 Minute)</c:v>
                  </c:pt>
                  <c:pt idx="1271">
                    <c:v>Rolling Stdev (30 Minute)</c:v>
                  </c:pt>
                  <c:pt idx="1272">
                    <c:v>Rolling Stdev (30 Minute)</c:v>
                  </c:pt>
                  <c:pt idx="1273">
                    <c:v>Rolling Stdev (30 Minute)</c:v>
                  </c:pt>
                  <c:pt idx="1274">
                    <c:v>Rolling Stdev (30 Minute)</c:v>
                  </c:pt>
                  <c:pt idx="1275">
                    <c:v>Rolling Stdev (30 Minute)</c:v>
                  </c:pt>
                  <c:pt idx="1276">
                    <c:v>Rolling Stdev (30 Minute)</c:v>
                  </c:pt>
                  <c:pt idx="1277">
                    <c:v>Rolling Stdev (30 Minute)</c:v>
                  </c:pt>
                  <c:pt idx="1278">
                    <c:v>Rolling Stdev (30 Minute)</c:v>
                  </c:pt>
                  <c:pt idx="1279">
                    <c:v>Rolling Stdev (30 Minute)</c:v>
                  </c:pt>
                  <c:pt idx="1280">
                    <c:v>Rolling Stdev (30 Minute)</c:v>
                  </c:pt>
                  <c:pt idx="1281">
                    <c:v>Rolling Stdev (30 Minute)</c:v>
                  </c:pt>
                  <c:pt idx="1282">
                    <c:v>Rolling Stdev (30 Minute)</c:v>
                  </c:pt>
                  <c:pt idx="1283">
                    <c:v>Rolling Stdev (30 Minute)</c:v>
                  </c:pt>
                  <c:pt idx="1284">
                    <c:v>Rolling Stdev (30 Minute)</c:v>
                  </c:pt>
                  <c:pt idx="1285">
                    <c:v>Rolling Stdev (30 Minute)</c:v>
                  </c:pt>
                  <c:pt idx="1286">
                    <c:v>Rolling Stdev (30 Minute)</c:v>
                  </c:pt>
                  <c:pt idx="1287">
                    <c:v>Rolling Stdev (30 Minute)</c:v>
                  </c:pt>
                  <c:pt idx="1288">
                    <c:v>Rolling Stdev (30 Minute)</c:v>
                  </c:pt>
                  <c:pt idx="1289">
                    <c:v>Rolling Stdev (30 Minute)</c:v>
                  </c:pt>
                  <c:pt idx="1290">
                    <c:v>Rolling Stdev (30 Minute)</c:v>
                  </c:pt>
                  <c:pt idx="1291">
                    <c:v>Rolling Stdev (30 Minute)</c:v>
                  </c:pt>
                  <c:pt idx="1292">
                    <c:v>Rolling Stdev (30 Minute)</c:v>
                  </c:pt>
                  <c:pt idx="1293">
                    <c:v>Rolling Stdev (30 Minute)</c:v>
                  </c:pt>
                  <c:pt idx="1294">
                    <c:v>Rolling Stdev (30 Minute)</c:v>
                  </c:pt>
                  <c:pt idx="1295">
                    <c:v>Rolling Stdev (30 Minute)</c:v>
                  </c:pt>
                  <c:pt idx="1296">
                    <c:v>Rolling Stdev (30 Minute)</c:v>
                  </c:pt>
                  <c:pt idx="1297">
                    <c:v>Rolling Stdev (30 Minute)</c:v>
                  </c:pt>
                  <c:pt idx="1298">
                    <c:v>Rolling Stdev (30 Minute)</c:v>
                  </c:pt>
                  <c:pt idx="1299">
                    <c:v>Rolling Stdev (30 Minute)</c:v>
                  </c:pt>
                  <c:pt idx="1300">
                    <c:v>Rolling Stdev (30 Minute)</c:v>
                  </c:pt>
                  <c:pt idx="1301">
                    <c:v>Rolling Stdev (30 Minute)</c:v>
                  </c:pt>
                  <c:pt idx="1302">
                    <c:v>Rolling Stdev (30 Minute)</c:v>
                  </c:pt>
                  <c:pt idx="1303">
                    <c:v>Rolling Stdev (30 Minute)</c:v>
                  </c:pt>
                  <c:pt idx="1304">
                    <c:v>Rolling Stdev (30 Minute)</c:v>
                  </c:pt>
                  <c:pt idx="1305">
                    <c:v>Rolling Stdev (30 Minute)</c:v>
                  </c:pt>
                  <c:pt idx="1306">
                    <c:v>Rolling Stdev (30 Minute)</c:v>
                  </c:pt>
                  <c:pt idx="1307">
                    <c:v>Rolling Stdev (30 Minute)</c:v>
                  </c:pt>
                  <c:pt idx="1308">
                    <c:v>Rolling Stdev (30 Minute)</c:v>
                  </c:pt>
                  <c:pt idx="1309">
                    <c:v>Rolling Stdev (30 Minute)</c:v>
                  </c:pt>
                  <c:pt idx="1310">
                    <c:v>Rolling Stdev (30 Minute)</c:v>
                  </c:pt>
                  <c:pt idx="1311">
                    <c:v>Rolling Stdev (30 Minute)</c:v>
                  </c:pt>
                  <c:pt idx="1312">
                    <c:v>Rolling Stdev (30 Minute)</c:v>
                  </c:pt>
                  <c:pt idx="1313">
                    <c:v>Rolling Stdev (30 Minute)</c:v>
                  </c:pt>
                  <c:pt idx="1314">
                    <c:v>Rolling Stdev (30 Minute)</c:v>
                  </c:pt>
                  <c:pt idx="1315">
                    <c:v>Rolling Stdev (30 Minute)</c:v>
                  </c:pt>
                  <c:pt idx="1316">
                    <c:v>Rolling Stdev (30 Minute)</c:v>
                  </c:pt>
                  <c:pt idx="1317">
                    <c:v>Rolling Stdev (30 Minute)</c:v>
                  </c:pt>
                  <c:pt idx="1318">
                    <c:v>Rolling Stdev (30 Minute)</c:v>
                  </c:pt>
                  <c:pt idx="1319">
                    <c:v>Rolling Stdev (30 Minute)</c:v>
                  </c:pt>
                  <c:pt idx="1320">
                    <c:v>Rolling Stdev (30 Minute)</c:v>
                  </c:pt>
                  <c:pt idx="1321">
                    <c:v>Rolling Stdev (30 Minute)</c:v>
                  </c:pt>
                  <c:pt idx="1322">
                    <c:v>Rolling Stdev (30 Minute)</c:v>
                  </c:pt>
                  <c:pt idx="1323">
                    <c:v>Rolling Stdev (30 Minute)</c:v>
                  </c:pt>
                  <c:pt idx="1324">
                    <c:v>Rolling Stdev (30 Minute)</c:v>
                  </c:pt>
                  <c:pt idx="1325">
                    <c:v>Rolling Stdev (30 Minute)</c:v>
                  </c:pt>
                  <c:pt idx="1326">
                    <c:v>Rolling Stdev (30 Minute)</c:v>
                  </c:pt>
                  <c:pt idx="1327">
                    <c:v>Rolling Stdev (30 Minute)</c:v>
                  </c:pt>
                  <c:pt idx="1328">
                    <c:v>Rolling Stdev (30 Minute)</c:v>
                  </c:pt>
                  <c:pt idx="1329">
                    <c:v>Rolling Stdev (30 Minute)</c:v>
                  </c:pt>
                  <c:pt idx="1330">
                    <c:v>Rolling Stdev (30 Minute)</c:v>
                  </c:pt>
                  <c:pt idx="1331">
                    <c:v>Rolling Stdev (30 Minute)</c:v>
                  </c:pt>
                  <c:pt idx="1332">
                    <c:v>Rolling Stdev (30 Minute)</c:v>
                  </c:pt>
                  <c:pt idx="1333">
                    <c:v>Rolling Stdev (30 Minute)</c:v>
                  </c:pt>
                  <c:pt idx="1334">
                    <c:v>Rolling Stdev (30 Minute)</c:v>
                  </c:pt>
                  <c:pt idx="1335">
                    <c:v>Rolling Stdev (30 Minute)</c:v>
                  </c:pt>
                  <c:pt idx="1336">
                    <c:v>Rolling Stdev (30 Minute)</c:v>
                  </c:pt>
                  <c:pt idx="1337">
                    <c:v>Rolling Stdev (30 Minute)</c:v>
                  </c:pt>
                  <c:pt idx="1338">
                    <c:v>Rolling Stdev (30 Minute)</c:v>
                  </c:pt>
                  <c:pt idx="1339">
                    <c:v>Rolling Stdev (30 Minute)</c:v>
                  </c:pt>
                  <c:pt idx="1340">
                    <c:v>Rolling Stdev (30 Minute)</c:v>
                  </c:pt>
                  <c:pt idx="1341">
                    <c:v>Rolling Stdev (30 Minute)</c:v>
                  </c:pt>
                  <c:pt idx="1342">
                    <c:v>Rolling Stdev (30 Minute)</c:v>
                  </c:pt>
                  <c:pt idx="1343">
                    <c:v>Rolling Stdev (30 Minute)</c:v>
                  </c:pt>
                  <c:pt idx="1344">
                    <c:v>Rolling Stdev (30 Minute)</c:v>
                  </c:pt>
                  <c:pt idx="1345">
                    <c:v>Rolling Stdev (30 Minute)</c:v>
                  </c:pt>
                  <c:pt idx="1346">
                    <c:v>Rolling Stdev (30 Minute)</c:v>
                  </c:pt>
                  <c:pt idx="1347">
                    <c:v>Rolling Stdev (30 Minute)</c:v>
                  </c:pt>
                  <c:pt idx="1348">
                    <c:v>Rolling Stdev (30 Minute)</c:v>
                  </c:pt>
                  <c:pt idx="1349">
                    <c:v>Rolling Stdev (30 Minute)</c:v>
                  </c:pt>
                  <c:pt idx="1350">
                    <c:v>Rolling Stdev (30 Minute)</c:v>
                  </c:pt>
                  <c:pt idx="1351">
                    <c:v>Rolling Stdev (30 Minute)</c:v>
                  </c:pt>
                  <c:pt idx="1352">
                    <c:v>Rolling Stdev (30 Minute)</c:v>
                  </c:pt>
                  <c:pt idx="1353">
                    <c:v>Rolling Stdev (30 Minute)</c:v>
                  </c:pt>
                  <c:pt idx="1354">
                    <c:v>Rolling Stdev (30 Minute)</c:v>
                  </c:pt>
                  <c:pt idx="1355">
                    <c:v>Rolling Stdev (30 Minute)</c:v>
                  </c:pt>
                  <c:pt idx="1356">
                    <c:v>Rolling Stdev (30 Minute)</c:v>
                  </c:pt>
                  <c:pt idx="1357">
                    <c:v>Rolling Stdev (30 Minute)</c:v>
                  </c:pt>
                  <c:pt idx="1358">
                    <c:v>Rolling Stdev (30 Minute)</c:v>
                  </c:pt>
                  <c:pt idx="1359">
                    <c:v>Rolling Stdev (30 Minute)</c:v>
                  </c:pt>
                  <c:pt idx="1360">
                    <c:v>Rolling Stdev (30 Minute)</c:v>
                  </c:pt>
                  <c:pt idx="1361">
                    <c:v>Rolling Stdev (30 Minute)</c:v>
                  </c:pt>
                  <c:pt idx="1362">
                    <c:v>Rolling Stdev (30 Minute)</c:v>
                  </c:pt>
                  <c:pt idx="1363">
                    <c:v>Rolling Stdev (30 Minute)</c:v>
                  </c:pt>
                  <c:pt idx="1364">
                    <c:v>Rolling Stdev (30 Minute)</c:v>
                  </c:pt>
                  <c:pt idx="1365">
                    <c:v>Rolling Stdev (30 Minute)</c:v>
                  </c:pt>
                  <c:pt idx="1366">
                    <c:v>Rolling Stdev (30 Minute)</c:v>
                  </c:pt>
                  <c:pt idx="1367">
                    <c:v>Rolling Stdev (30 Minute)</c:v>
                  </c:pt>
                  <c:pt idx="1368">
                    <c:v>Rolling Stdev (30 Minute)</c:v>
                  </c:pt>
                  <c:pt idx="1369">
                    <c:v>Rolling Stdev (30 Minute)</c:v>
                  </c:pt>
                  <c:pt idx="1370">
                    <c:v>Rolling Stdev (30 Minute)</c:v>
                  </c:pt>
                  <c:pt idx="1371">
                    <c:v>Rolling Stdev (30 Minute)</c:v>
                  </c:pt>
                  <c:pt idx="1372">
                    <c:v>Rolling Stdev (30 Minute)</c:v>
                  </c:pt>
                  <c:pt idx="1373">
                    <c:v>Rolling Stdev (30 Minute)</c:v>
                  </c:pt>
                  <c:pt idx="1374">
                    <c:v>Rolling Stdev (30 Minute)</c:v>
                  </c:pt>
                  <c:pt idx="1375">
                    <c:v>Rolling Stdev (30 Minute)</c:v>
                  </c:pt>
                  <c:pt idx="1376">
                    <c:v>Rolling Stdev (30 Minute)</c:v>
                  </c:pt>
                  <c:pt idx="1377">
                    <c:v>Rolling Stdev (30 Minute)</c:v>
                  </c:pt>
                  <c:pt idx="1378">
                    <c:v>Rolling Stdev (30 Minute)</c:v>
                  </c:pt>
                  <c:pt idx="1379">
                    <c:v>Rolling Stdev (30 Minute)</c:v>
                  </c:pt>
                  <c:pt idx="1380">
                    <c:v>Rolling Stdev (30 Minute)</c:v>
                  </c:pt>
                  <c:pt idx="1381">
                    <c:v>Rolling Stdev (30 Minute)</c:v>
                  </c:pt>
                  <c:pt idx="1382">
                    <c:v>Rolling Stdev (30 Minute)</c:v>
                  </c:pt>
                  <c:pt idx="1383">
                    <c:v>Rolling Stdev (30 Minute)</c:v>
                  </c:pt>
                  <c:pt idx="1384">
                    <c:v>Rolling Stdev (30 Minute)</c:v>
                  </c:pt>
                  <c:pt idx="1385">
                    <c:v>Rolling Stdev (30 Minute)</c:v>
                  </c:pt>
                  <c:pt idx="1386">
                    <c:v>Rolling Stdev (30 Minute)</c:v>
                  </c:pt>
                  <c:pt idx="1387">
                    <c:v>Rolling Stdev (30 Minute)</c:v>
                  </c:pt>
                  <c:pt idx="1388">
                    <c:v>Rolling Stdev (30 Minute)</c:v>
                  </c:pt>
                  <c:pt idx="1389">
                    <c:v>Rolling Stdev (30 Minute)</c:v>
                  </c:pt>
                  <c:pt idx="1390">
                    <c:v>Rolling Stdev (30 Minute)</c:v>
                  </c:pt>
                  <c:pt idx="1391">
                    <c:v>Rolling Stdev (30 Minute)</c:v>
                  </c:pt>
                  <c:pt idx="1392">
                    <c:v>Rolling Stdev (30 Minute)</c:v>
                  </c:pt>
                  <c:pt idx="1393">
                    <c:v>Rolling Stdev (30 Minute)</c:v>
                  </c:pt>
                  <c:pt idx="1394">
                    <c:v>Rolling Stdev (30 Minute)</c:v>
                  </c:pt>
                  <c:pt idx="1395">
                    <c:v>Rolling Stdev (30 Minute)</c:v>
                  </c:pt>
                  <c:pt idx="1396">
                    <c:v>Rolling Stdev (30 Minute)</c:v>
                  </c:pt>
                  <c:pt idx="1397">
                    <c:v>Rolling Stdev (30 Minute)</c:v>
                  </c:pt>
                  <c:pt idx="1398">
                    <c:v>Rolling Stdev (30 Minute)</c:v>
                  </c:pt>
                  <c:pt idx="1399">
                    <c:v>Rolling Stdev (30 Minute)</c:v>
                  </c:pt>
                  <c:pt idx="1400">
                    <c:v>Rolling Stdev (30 Minute)</c:v>
                  </c:pt>
                  <c:pt idx="1401">
                    <c:v>Rolling Stdev (30 Minute)</c:v>
                  </c:pt>
                  <c:pt idx="1402">
                    <c:v>Rolling Stdev (30 Minute)</c:v>
                  </c:pt>
                  <c:pt idx="1403">
                    <c:v>Rolling Stdev (30 Minute)</c:v>
                  </c:pt>
                  <c:pt idx="1404">
                    <c:v>Rolling Stdev (30 Minute)</c:v>
                  </c:pt>
                  <c:pt idx="1405">
                    <c:v>Rolling Stdev (30 Minute)</c:v>
                  </c:pt>
                  <c:pt idx="1406">
                    <c:v>Rolling Stdev (30 Minute)</c:v>
                  </c:pt>
                  <c:pt idx="1407">
                    <c:v>Rolling Stdev (30 Minute)</c:v>
                  </c:pt>
                  <c:pt idx="1408">
                    <c:v>Rolling Stdev (30 Minute)</c:v>
                  </c:pt>
                  <c:pt idx="1409">
                    <c:v>Rolling Stdev (30 Minute)</c:v>
                  </c:pt>
                  <c:pt idx="1410">
                    <c:v>Rolling Stdev (30 Minute)</c:v>
                  </c:pt>
                  <c:pt idx="1411">
                    <c:v>Rolling Stdev (30 Minute)</c:v>
                  </c:pt>
                  <c:pt idx="1412">
                    <c:v>Rolling Stdev (30 Minute)</c:v>
                  </c:pt>
                  <c:pt idx="1413">
                    <c:v>Rolling Stdev (30 Minute)</c:v>
                  </c:pt>
                  <c:pt idx="1414">
                    <c:v>Rolling Stdev (30 Minute)</c:v>
                  </c:pt>
                  <c:pt idx="1415">
                    <c:v>Rolling Stdev (30 Minute)</c:v>
                  </c:pt>
                  <c:pt idx="1416">
                    <c:v>Rolling Stdev (30 Minute)</c:v>
                  </c:pt>
                  <c:pt idx="1417">
                    <c:v>Rolling Stdev (30 Minute)</c:v>
                  </c:pt>
                  <c:pt idx="1418">
                    <c:v>Rolling Stdev (30 Minute)</c:v>
                  </c:pt>
                  <c:pt idx="1419">
                    <c:v>Rolling Stdev (30 Minute)</c:v>
                  </c:pt>
                  <c:pt idx="1420">
                    <c:v>Rolling Stdev (30 Minute)</c:v>
                  </c:pt>
                  <c:pt idx="1421">
                    <c:v>Rolling Stdev (30 Minute)</c:v>
                  </c:pt>
                  <c:pt idx="1422">
                    <c:v>Rolling Stdev (30 Minute)</c:v>
                  </c:pt>
                  <c:pt idx="1423">
                    <c:v>Rolling Stdev (30 Minute)</c:v>
                  </c:pt>
                  <c:pt idx="1424">
                    <c:v>Rolling Stdev (30 Minute)</c:v>
                  </c:pt>
                  <c:pt idx="1425">
                    <c:v>Rolling Stdev (30 Minute)</c:v>
                  </c:pt>
                  <c:pt idx="1426">
                    <c:v>Rolling Stdev (30 Minute)</c:v>
                  </c:pt>
                  <c:pt idx="1427">
                    <c:v>Rolling Stdev (30 Minute)</c:v>
                  </c:pt>
                  <c:pt idx="1428">
                    <c:v>Rolling Stdev (30 Minute)</c:v>
                  </c:pt>
                  <c:pt idx="1429">
                    <c:v>Rolling Stdev (30 Minute)</c:v>
                  </c:pt>
                  <c:pt idx="1430">
                    <c:v>Rolling Stdev (30 Minute)</c:v>
                  </c:pt>
                  <c:pt idx="1431">
                    <c:v>Rolling Stdev (30 Minute)</c:v>
                  </c:pt>
                  <c:pt idx="1432">
                    <c:v>Rolling Stdev (30 Minute)</c:v>
                  </c:pt>
                  <c:pt idx="1433">
                    <c:v>Rolling Stdev (30 Minute)</c:v>
                  </c:pt>
                  <c:pt idx="1434">
                    <c:v>Rolling Stdev (30 Minute)</c:v>
                  </c:pt>
                  <c:pt idx="1435">
                    <c:v>Rolling Stdev (30 Minute)</c:v>
                  </c:pt>
                  <c:pt idx="1436">
                    <c:v>Rolling Stdev (30 Minute)</c:v>
                  </c:pt>
                  <c:pt idx="1437">
                    <c:v>Rolling Stdev (30 Minute)</c:v>
                  </c:pt>
                  <c:pt idx="1438">
                    <c:v>Rolling Stdev (30 Minute)</c:v>
                  </c:pt>
                  <c:pt idx="1439">
                    <c:v>Rolling Stdev (30 Minute)</c:v>
                  </c:pt>
                  <c:pt idx="1440">
                    <c:v>Rolling Stdev (30 Minute)</c:v>
                  </c:pt>
                  <c:pt idx="1441">
                    <c:v>Rolling Stdev (30 Minute)</c:v>
                  </c:pt>
                  <c:pt idx="1442">
                    <c:v>Rolling Stdev (30 Minute)</c:v>
                  </c:pt>
                  <c:pt idx="1443">
                    <c:v>Rolling Stdev (30 Minute)</c:v>
                  </c:pt>
                  <c:pt idx="1444">
                    <c:v>Rolling Stdev (30 Minute)</c:v>
                  </c:pt>
                  <c:pt idx="1445">
                    <c:v>Rolling Stdev (30 Minute)</c:v>
                  </c:pt>
                  <c:pt idx="1446">
                    <c:v>Rolling Stdev (30 Minute)</c:v>
                  </c:pt>
                  <c:pt idx="1447">
                    <c:v>Rolling Stdev (30 Minute)</c:v>
                  </c:pt>
                  <c:pt idx="1448">
                    <c:v>Rolling Stdev (30 Minute)</c:v>
                  </c:pt>
                  <c:pt idx="1449">
                    <c:v>Rolling Stdev (30 Minute)</c:v>
                  </c:pt>
                  <c:pt idx="1450">
                    <c:v>Rolling Stdev (30 Minute)</c:v>
                  </c:pt>
                  <c:pt idx="1451">
                    <c:v>Rolling Stdev (30 Minute)</c:v>
                  </c:pt>
                  <c:pt idx="1452">
                    <c:v>Rolling Stdev (30 Minute)</c:v>
                  </c:pt>
                  <c:pt idx="1453">
                    <c:v>Rolling Stdev (30 Minute)</c:v>
                  </c:pt>
                  <c:pt idx="1454">
                    <c:v>Rolling Stdev (30 Minute)</c:v>
                  </c:pt>
                  <c:pt idx="1455">
                    <c:v>Rolling Stdev (30 Minute)</c:v>
                  </c:pt>
                  <c:pt idx="1456">
                    <c:v>Rolling Stdev (30 Minute)</c:v>
                  </c:pt>
                  <c:pt idx="1457">
                    <c:v>Rolling Stdev (30 Minute)</c:v>
                  </c:pt>
                  <c:pt idx="1458">
                    <c:v>Rolling Stdev (30 Minute)</c:v>
                  </c:pt>
                  <c:pt idx="1459">
                    <c:v>Rolling Stdev (30 Minute)</c:v>
                  </c:pt>
                  <c:pt idx="1460">
                    <c:v>Rolling Stdev (30 Minute)</c:v>
                  </c:pt>
                  <c:pt idx="1461">
                    <c:v>Rolling Stdev (30 Minute)</c:v>
                  </c:pt>
                  <c:pt idx="1462">
                    <c:v>Rolling Stdev (30 Minute)</c:v>
                  </c:pt>
                  <c:pt idx="1463">
                    <c:v>Rolling Stdev (30 Minute)</c:v>
                  </c:pt>
                  <c:pt idx="1464">
                    <c:v>Rolling Stdev (30 Minute)</c:v>
                  </c:pt>
                  <c:pt idx="1465">
                    <c:v>Rolling Stdev (30 Minute)</c:v>
                  </c:pt>
                  <c:pt idx="1466">
                    <c:v>Rolling Stdev (30 Minute)</c:v>
                  </c:pt>
                  <c:pt idx="1467">
                    <c:v>Rolling Stdev (30 Minute)</c:v>
                  </c:pt>
                  <c:pt idx="1468">
                    <c:v>Rolling Stdev (30 Minute)</c:v>
                  </c:pt>
                  <c:pt idx="1469">
                    <c:v>Rolling Stdev (30 Minute)</c:v>
                  </c:pt>
                  <c:pt idx="1470">
                    <c:v>Rolling Stdev (30 Minute)</c:v>
                  </c:pt>
                  <c:pt idx="1471">
                    <c:v>Rolling Stdev (30 Minute)</c:v>
                  </c:pt>
                  <c:pt idx="1472">
                    <c:v>Rolling Stdev (30 Minute)</c:v>
                  </c:pt>
                  <c:pt idx="1473">
                    <c:v>Rolling Stdev (30 Minute)</c:v>
                  </c:pt>
                  <c:pt idx="1474">
                    <c:v>Rolling Stdev (30 Minute)</c:v>
                  </c:pt>
                  <c:pt idx="1475">
                    <c:v>Rolling Stdev (30 Minute)</c:v>
                  </c:pt>
                  <c:pt idx="1476">
                    <c:v>Rolling Stdev (30 Minute)</c:v>
                  </c:pt>
                  <c:pt idx="1477">
                    <c:v>Rolling Stdev (30 Minute)</c:v>
                  </c:pt>
                  <c:pt idx="1478">
                    <c:v>Rolling Stdev (30 Minute)</c:v>
                  </c:pt>
                  <c:pt idx="1479">
                    <c:v>Rolling Stdev (30 Minute)</c:v>
                  </c:pt>
                  <c:pt idx="1480">
                    <c:v>Rolling Stdev (30 Minute)</c:v>
                  </c:pt>
                  <c:pt idx="1481">
                    <c:v>Rolling Stdev (30 Minute)</c:v>
                  </c:pt>
                  <c:pt idx="1482">
                    <c:v>Rolling Stdev (30 Minute)</c:v>
                  </c:pt>
                  <c:pt idx="1483">
                    <c:v>Rolling Stdev (30 Minute)</c:v>
                  </c:pt>
                  <c:pt idx="1484">
                    <c:v>Rolling Stdev (30 Minute)</c:v>
                  </c:pt>
                  <c:pt idx="1485">
                    <c:v>Rolling Stdev (30 Minute)</c:v>
                  </c:pt>
                  <c:pt idx="1486">
                    <c:v>Rolling Stdev (30 Minute)</c:v>
                  </c:pt>
                  <c:pt idx="1487">
                    <c:v>Rolling Stdev (30 Minute)</c:v>
                  </c:pt>
                  <c:pt idx="1488">
                    <c:v>Rolling Stdev (30 Minute)</c:v>
                  </c:pt>
                  <c:pt idx="1489">
                    <c:v>Rolling Stdev (30 Minute)</c:v>
                  </c:pt>
                  <c:pt idx="1490">
                    <c:v>Rolling Stdev (30 Minute)</c:v>
                  </c:pt>
                  <c:pt idx="1491">
                    <c:v>Rolling Stdev (30 Minute)</c:v>
                  </c:pt>
                  <c:pt idx="1492">
                    <c:v>Rolling Stdev (30 Minute)</c:v>
                  </c:pt>
                  <c:pt idx="1493">
                    <c:v>Rolling Stdev (30 Minute)</c:v>
                  </c:pt>
                  <c:pt idx="1494">
                    <c:v>Rolling Stdev (30 Minute)</c:v>
                  </c:pt>
                  <c:pt idx="1495">
                    <c:v>Rolling Stdev (30 Minute)</c:v>
                  </c:pt>
                  <c:pt idx="1496">
                    <c:v>Rolling Stdev (30 Minute)</c:v>
                  </c:pt>
                  <c:pt idx="1497">
                    <c:v>Rolling Stdev (30 Minute)</c:v>
                  </c:pt>
                  <c:pt idx="1498">
                    <c:v>Rolling Stdev (30 Minute)</c:v>
                  </c:pt>
                  <c:pt idx="1499">
                    <c:v>Rolling Stdev (30 Minute)</c:v>
                  </c:pt>
                  <c:pt idx="1500">
                    <c:v>Rolling Stdev (30 Minute)</c:v>
                  </c:pt>
                  <c:pt idx="1501">
                    <c:v>Rolling Stdev (30 Minute)</c:v>
                  </c:pt>
                  <c:pt idx="1502">
                    <c:v>Rolling Stdev (30 Minute)</c:v>
                  </c:pt>
                  <c:pt idx="1503">
                    <c:v>Rolling Stdev (30 Minute)</c:v>
                  </c:pt>
                  <c:pt idx="1504">
                    <c:v>Rolling Stdev (30 Minute)</c:v>
                  </c:pt>
                  <c:pt idx="1505">
                    <c:v>Rolling Stdev (30 Minute)</c:v>
                  </c:pt>
                  <c:pt idx="1506">
                    <c:v>Rolling Stdev (30 Minute)</c:v>
                  </c:pt>
                  <c:pt idx="1507">
                    <c:v>Rolling Stdev (30 Minute)</c:v>
                  </c:pt>
                  <c:pt idx="1508">
                    <c:v>Rolling Stdev (30 Minute)</c:v>
                  </c:pt>
                  <c:pt idx="1509">
                    <c:v>Rolling Stdev (30 Minute)</c:v>
                  </c:pt>
                  <c:pt idx="1510">
                    <c:v>Rolling Stdev (30 Minute)</c:v>
                  </c:pt>
                  <c:pt idx="1511">
                    <c:v>Rolling Stdev (30 Minute)</c:v>
                  </c:pt>
                  <c:pt idx="1512">
                    <c:v>Rolling Stdev (30 Minute)</c:v>
                  </c:pt>
                  <c:pt idx="1513">
                    <c:v>Rolling Stdev (30 Minute)</c:v>
                  </c:pt>
                  <c:pt idx="1514">
                    <c:v>Rolling Stdev (30 Minute)</c:v>
                  </c:pt>
                  <c:pt idx="1515">
                    <c:v>Rolling Stdev (30 Minute)</c:v>
                  </c:pt>
                  <c:pt idx="1516">
                    <c:v>Rolling Stdev (30 Minute)</c:v>
                  </c:pt>
                  <c:pt idx="1517">
                    <c:v>Rolling Stdev (30 Minute)</c:v>
                  </c:pt>
                  <c:pt idx="1518">
                    <c:v>Rolling Stdev (30 Minute)</c:v>
                  </c:pt>
                  <c:pt idx="1519">
                    <c:v>Rolling Stdev (30 Minute)</c:v>
                  </c:pt>
                  <c:pt idx="1520">
                    <c:v>Rolling Stdev (30 Minute)</c:v>
                  </c:pt>
                  <c:pt idx="1521">
                    <c:v>Rolling Stdev (30 Minute)</c:v>
                  </c:pt>
                  <c:pt idx="1522">
                    <c:v>Rolling Stdev (30 Minute)</c:v>
                  </c:pt>
                  <c:pt idx="1523">
                    <c:v>Rolling Stdev (30 Minute)</c:v>
                  </c:pt>
                  <c:pt idx="1524">
                    <c:v>Rolling Stdev (30 Minute)</c:v>
                  </c:pt>
                  <c:pt idx="1525">
                    <c:v>Rolling Stdev (30 Minute)</c:v>
                  </c:pt>
                  <c:pt idx="1526">
                    <c:v>Rolling Stdev (30 Minute)</c:v>
                  </c:pt>
                  <c:pt idx="1527">
                    <c:v>Rolling Stdev (30 Minute)</c:v>
                  </c:pt>
                  <c:pt idx="1528">
                    <c:v>Rolling Stdev (30 Minute)</c:v>
                  </c:pt>
                  <c:pt idx="1529">
                    <c:v>Rolling Stdev (30 Minute)</c:v>
                  </c:pt>
                  <c:pt idx="1530">
                    <c:v>Rolling Stdev (30 Minute)</c:v>
                  </c:pt>
                  <c:pt idx="1531">
                    <c:v>Rolling Stdev (30 Minute)</c:v>
                  </c:pt>
                  <c:pt idx="1532">
                    <c:v>Rolling Stdev (30 Minute)</c:v>
                  </c:pt>
                  <c:pt idx="1533">
                    <c:v>Rolling Stdev (30 Minute)</c:v>
                  </c:pt>
                  <c:pt idx="1534">
                    <c:v>Rolling Stdev (30 Minute)</c:v>
                  </c:pt>
                  <c:pt idx="1535">
                    <c:v>Rolling Stdev (30 Minute)</c:v>
                  </c:pt>
                  <c:pt idx="1536">
                    <c:v>Rolling Stdev (30 Minute)</c:v>
                  </c:pt>
                  <c:pt idx="1537">
                    <c:v>Rolling Stdev (30 Minute)</c:v>
                  </c:pt>
                  <c:pt idx="1538">
                    <c:v>Rolling Stdev (30 Minute)</c:v>
                  </c:pt>
                  <c:pt idx="1539">
                    <c:v>Rolling Stdev (30 Minute)</c:v>
                  </c:pt>
                  <c:pt idx="1540">
                    <c:v>Rolling Stdev (30 Minute)</c:v>
                  </c:pt>
                  <c:pt idx="1541">
                    <c:v>Rolling Stdev (30 Minute)</c:v>
                  </c:pt>
                  <c:pt idx="1542">
                    <c:v>Rolling Stdev (30 Minute)</c:v>
                  </c:pt>
                  <c:pt idx="1543">
                    <c:v>Rolling Stdev (30 Minute)</c:v>
                  </c:pt>
                  <c:pt idx="1544">
                    <c:v>Rolling Stdev (30 Minute)</c:v>
                  </c:pt>
                  <c:pt idx="1545">
                    <c:v>Rolling Stdev (30 Minute)</c:v>
                  </c:pt>
                  <c:pt idx="1546">
                    <c:v>Rolling Stdev (30 Minute)</c:v>
                  </c:pt>
                  <c:pt idx="1547">
                    <c:v>Rolling Stdev (30 Minute)</c:v>
                  </c:pt>
                  <c:pt idx="1548">
                    <c:v>Rolling Stdev (30 Minute)</c:v>
                  </c:pt>
                  <c:pt idx="1549">
                    <c:v>Rolling Stdev (30 Minute)</c:v>
                  </c:pt>
                  <c:pt idx="1550">
                    <c:v>Rolling Stdev (30 Minute)</c:v>
                  </c:pt>
                  <c:pt idx="1551">
                    <c:v>Rolling Stdev (30 Minute)</c:v>
                  </c:pt>
                  <c:pt idx="1552">
                    <c:v>Rolling Stdev (30 Minute)</c:v>
                  </c:pt>
                  <c:pt idx="1553">
                    <c:v>Rolling Stdev (30 Minute)</c:v>
                  </c:pt>
                  <c:pt idx="1554">
                    <c:v>Rolling Stdev (30 Minute)</c:v>
                  </c:pt>
                  <c:pt idx="1555">
                    <c:v>Rolling Stdev (30 Minute)</c:v>
                  </c:pt>
                  <c:pt idx="1556">
                    <c:v>Rolling Stdev (30 Minute)</c:v>
                  </c:pt>
                  <c:pt idx="1557">
                    <c:v>Rolling Stdev (30 Minute)</c:v>
                  </c:pt>
                  <c:pt idx="1558">
                    <c:v>Rolling Stdev (30 Minute)</c:v>
                  </c:pt>
                  <c:pt idx="1559">
                    <c:v>Rolling Stdev (30 Minute)</c:v>
                  </c:pt>
                  <c:pt idx="1560">
                    <c:v>Rolling Stdev (30 Minute)</c:v>
                  </c:pt>
                  <c:pt idx="1561">
                    <c:v>Rolling Stdev (30 Minute)</c:v>
                  </c:pt>
                  <c:pt idx="1562">
                    <c:v>Rolling Stdev (30 Minute)</c:v>
                  </c:pt>
                  <c:pt idx="1563">
                    <c:v>Rolling Stdev (30 Minute)</c:v>
                  </c:pt>
                  <c:pt idx="1564">
                    <c:v>Rolling Stdev (30 Minute)</c:v>
                  </c:pt>
                  <c:pt idx="1565">
                    <c:v>Rolling Stdev (30 Minute)</c:v>
                  </c:pt>
                  <c:pt idx="1566">
                    <c:v>Rolling Stdev (30 Minute)</c:v>
                  </c:pt>
                  <c:pt idx="1567">
                    <c:v>Rolling Stdev (30 Minute)</c:v>
                  </c:pt>
                  <c:pt idx="1568">
                    <c:v>Rolling Stdev (30 Minute)</c:v>
                  </c:pt>
                  <c:pt idx="1569">
                    <c:v>Rolling Stdev (30 Minute)</c:v>
                  </c:pt>
                  <c:pt idx="1570">
                    <c:v>Rolling Stdev (30 Minute)</c:v>
                  </c:pt>
                  <c:pt idx="1571">
                    <c:v>Rolling Stdev (30 Minute)</c:v>
                  </c:pt>
                  <c:pt idx="1572">
                    <c:v>Rolling Stdev (30 Minute)</c:v>
                  </c:pt>
                  <c:pt idx="1573">
                    <c:v>Rolling Stdev (30 Minute)</c:v>
                  </c:pt>
                  <c:pt idx="1574">
                    <c:v>Rolling Stdev (30 Minute)</c:v>
                  </c:pt>
                  <c:pt idx="1575">
                    <c:v>Rolling Stdev (30 Minute)</c:v>
                  </c:pt>
                  <c:pt idx="1576">
                    <c:v>Rolling Stdev (30 Minute)</c:v>
                  </c:pt>
                  <c:pt idx="1577">
                    <c:v>Rolling Stdev (30 Minute)</c:v>
                  </c:pt>
                  <c:pt idx="1578">
                    <c:v>Rolling Stdev (30 Minute)</c:v>
                  </c:pt>
                  <c:pt idx="1579">
                    <c:v>Rolling Stdev (30 Minute)</c:v>
                  </c:pt>
                  <c:pt idx="1580">
                    <c:v>Rolling Stdev (30 Minute)</c:v>
                  </c:pt>
                  <c:pt idx="1581">
                    <c:v>Rolling Stdev (30 Minute)</c:v>
                  </c:pt>
                  <c:pt idx="1582">
                    <c:v>Rolling Stdev (30 Minute)</c:v>
                  </c:pt>
                  <c:pt idx="1583">
                    <c:v>Rolling Stdev (30 Minute)</c:v>
                  </c:pt>
                  <c:pt idx="1584">
                    <c:v>Rolling Stdev (30 Minute)</c:v>
                  </c:pt>
                  <c:pt idx="1585">
                    <c:v>Rolling Stdev (30 Minute)</c:v>
                  </c:pt>
                  <c:pt idx="1586">
                    <c:v>Rolling Stdev (30 Minute)</c:v>
                  </c:pt>
                  <c:pt idx="1587">
                    <c:v>Rolling Stdev (30 Minute)</c:v>
                  </c:pt>
                  <c:pt idx="1588">
                    <c:v>Rolling Stdev (30 Minute)</c:v>
                  </c:pt>
                  <c:pt idx="1589">
                    <c:v>Rolling Stdev (30 Minute)</c:v>
                  </c:pt>
                  <c:pt idx="1590">
                    <c:v>Rolling Stdev (30 Minute)</c:v>
                  </c:pt>
                  <c:pt idx="1591">
                    <c:v>Rolling Stdev (30 Minute)</c:v>
                  </c:pt>
                  <c:pt idx="1592">
                    <c:v>Rolling Stdev (30 Minute)</c:v>
                  </c:pt>
                  <c:pt idx="1593">
                    <c:v>Rolling Stdev (30 Minute)</c:v>
                  </c:pt>
                  <c:pt idx="1594">
                    <c:v>Rolling Stdev (30 Minute)</c:v>
                  </c:pt>
                  <c:pt idx="1595">
                    <c:v>Rolling Stdev (30 Minute)</c:v>
                  </c:pt>
                  <c:pt idx="1596">
                    <c:v>Rolling Stdev (30 Minute)</c:v>
                  </c:pt>
                  <c:pt idx="1597">
                    <c:v>Rolling Stdev (30 Minute)</c:v>
                  </c:pt>
                  <c:pt idx="1598">
                    <c:v>Rolling Stdev (30 Minute)</c:v>
                  </c:pt>
                  <c:pt idx="1599">
                    <c:v>Rolling Stdev (30 Minute)</c:v>
                  </c:pt>
                  <c:pt idx="1600">
                    <c:v>Rolling Stdev (30 Minute)</c:v>
                  </c:pt>
                  <c:pt idx="1601">
                    <c:v>Rolling Stdev (30 Minute)</c:v>
                  </c:pt>
                  <c:pt idx="1602">
                    <c:v>Rolling Stdev (30 Minute)</c:v>
                  </c:pt>
                  <c:pt idx="1603">
                    <c:v>Rolling Stdev (30 Minute)</c:v>
                  </c:pt>
                  <c:pt idx="1604">
                    <c:v>Rolling Stdev (30 Minute)</c:v>
                  </c:pt>
                  <c:pt idx="1605">
                    <c:v>Rolling Stdev (30 Minute)</c:v>
                  </c:pt>
                  <c:pt idx="1606">
                    <c:v>Rolling Stdev (30 Minute)</c:v>
                  </c:pt>
                  <c:pt idx="1607">
                    <c:v>Rolling Stdev (30 Minute)</c:v>
                  </c:pt>
                  <c:pt idx="1608">
                    <c:v>Rolling Stdev (30 Minute)</c:v>
                  </c:pt>
                  <c:pt idx="1609">
                    <c:v>Rolling Stdev (30 Minute)</c:v>
                  </c:pt>
                  <c:pt idx="1610">
                    <c:v>Rolling Stdev (30 Minute)</c:v>
                  </c:pt>
                  <c:pt idx="1611">
                    <c:v>Rolling Stdev (30 Minute)</c:v>
                  </c:pt>
                  <c:pt idx="1612">
                    <c:v>Rolling Stdev (30 Minute)</c:v>
                  </c:pt>
                  <c:pt idx="1613">
                    <c:v>Rolling Stdev (30 Minute)</c:v>
                  </c:pt>
                  <c:pt idx="1614">
                    <c:v>Rolling Stdev (30 Minute)</c:v>
                  </c:pt>
                  <c:pt idx="1615">
                    <c:v>Rolling Stdev (30 Minute)</c:v>
                  </c:pt>
                  <c:pt idx="1616">
                    <c:v>Rolling Stdev (30 Minute)</c:v>
                  </c:pt>
                  <c:pt idx="1617">
                    <c:v>Rolling Stdev (30 Minute)</c:v>
                  </c:pt>
                  <c:pt idx="1618">
                    <c:v>Rolling Stdev (30 Minute)</c:v>
                  </c:pt>
                  <c:pt idx="1619">
                    <c:v>Rolling Stdev (30 Minute)</c:v>
                  </c:pt>
                  <c:pt idx="1620">
                    <c:v>Rolling Stdev (30 Minute)</c:v>
                  </c:pt>
                  <c:pt idx="1621">
                    <c:v>Rolling Stdev (30 Minute)</c:v>
                  </c:pt>
                  <c:pt idx="1622">
                    <c:v>Rolling Stdev (30 Minute)</c:v>
                  </c:pt>
                  <c:pt idx="1623">
                    <c:v>Rolling Stdev (30 Minute)</c:v>
                  </c:pt>
                  <c:pt idx="1624">
                    <c:v>Rolling Stdev (30 Minute)</c:v>
                  </c:pt>
                  <c:pt idx="1625">
                    <c:v>Rolling Stdev (30 Minute)</c:v>
                  </c:pt>
                  <c:pt idx="1626">
                    <c:v>Rolling Stdev (30 Minute)</c:v>
                  </c:pt>
                  <c:pt idx="1627">
                    <c:v>Rolling Stdev (30 Minute)</c:v>
                  </c:pt>
                  <c:pt idx="1628">
                    <c:v>Rolling Stdev (30 Minute)</c:v>
                  </c:pt>
                  <c:pt idx="1629">
                    <c:v>Rolling Stdev (30 Minute)</c:v>
                  </c:pt>
                  <c:pt idx="1630">
                    <c:v>Rolling Stdev (30 Minute)</c:v>
                  </c:pt>
                  <c:pt idx="1631">
                    <c:v>Rolling Stdev (30 Minute)</c:v>
                  </c:pt>
                  <c:pt idx="1632">
                    <c:v>Rolling Stdev (30 Minute)</c:v>
                  </c:pt>
                  <c:pt idx="1633">
                    <c:v>Rolling Stdev (30 Minute)</c:v>
                  </c:pt>
                  <c:pt idx="1634">
                    <c:v>Rolling Stdev (30 Minute)</c:v>
                  </c:pt>
                  <c:pt idx="1635">
                    <c:v>Rolling Stdev (30 Minute)</c:v>
                  </c:pt>
                  <c:pt idx="1636">
                    <c:v>Rolling Stdev (30 Minute)</c:v>
                  </c:pt>
                  <c:pt idx="1637">
                    <c:v>Rolling Stdev (30 Minute)</c:v>
                  </c:pt>
                  <c:pt idx="1638">
                    <c:v>Rolling Stdev (30 Minute)</c:v>
                  </c:pt>
                  <c:pt idx="1639">
                    <c:v>Rolling Stdev (30 Minute)</c:v>
                  </c:pt>
                  <c:pt idx="1640">
                    <c:v>Rolling Stdev (30 Minute)</c:v>
                  </c:pt>
                  <c:pt idx="1641">
                    <c:v>Rolling Stdev (30 Minute)</c:v>
                  </c:pt>
                  <c:pt idx="1642">
                    <c:v>Rolling Stdev (30 Minute)</c:v>
                  </c:pt>
                  <c:pt idx="1643">
                    <c:v>Rolling Stdev (30 Minute)</c:v>
                  </c:pt>
                  <c:pt idx="1644">
                    <c:v>Rolling Stdev (30 Minute)</c:v>
                  </c:pt>
                  <c:pt idx="1645">
                    <c:v>Rolling Stdev (30 Minute)</c:v>
                  </c:pt>
                  <c:pt idx="1646">
                    <c:v>Rolling Stdev (30 Minute)</c:v>
                  </c:pt>
                  <c:pt idx="1647">
                    <c:v>Rolling Stdev (30 Minute)</c:v>
                  </c:pt>
                  <c:pt idx="1648">
                    <c:v>Rolling Stdev (30 Minute)</c:v>
                  </c:pt>
                  <c:pt idx="1649">
                    <c:v>Rolling Stdev (30 Minute)</c:v>
                  </c:pt>
                  <c:pt idx="1650">
                    <c:v>Rolling Stdev (30 Minute)</c:v>
                  </c:pt>
                  <c:pt idx="1651">
                    <c:v>Rolling Stdev (30 Minute)</c:v>
                  </c:pt>
                  <c:pt idx="1652">
                    <c:v>Rolling Stdev (30 Minute)</c:v>
                  </c:pt>
                  <c:pt idx="1653">
                    <c:v>Rolling Stdev (30 Minute)</c:v>
                  </c:pt>
                  <c:pt idx="1654">
                    <c:v>Rolling Stdev (30 Minute)</c:v>
                  </c:pt>
                  <c:pt idx="1655">
                    <c:v>Rolling Stdev (30 Minute)</c:v>
                  </c:pt>
                  <c:pt idx="1656">
                    <c:v>Rolling Stdev (30 Minute)</c:v>
                  </c:pt>
                  <c:pt idx="1657">
                    <c:v>Rolling Stdev (30 Minute)</c:v>
                  </c:pt>
                  <c:pt idx="1658">
                    <c:v>Rolling Stdev (30 Minute)</c:v>
                  </c:pt>
                  <c:pt idx="1659">
                    <c:v>Rolling Stdev (30 Minute)</c:v>
                  </c:pt>
                  <c:pt idx="1660">
                    <c:v>Rolling Stdev (30 Minute)</c:v>
                  </c:pt>
                  <c:pt idx="1661">
                    <c:v>Rolling Stdev (30 Minute)</c:v>
                  </c:pt>
                  <c:pt idx="1662">
                    <c:v>Rolling Stdev (30 Minute)</c:v>
                  </c:pt>
                  <c:pt idx="1663">
                    <c:v>Rolling Stdev (30 Minute)</c:v>
                  </c:pt>
                  <c:pt idx="1664">
                    <c:v>Rolling Stdev (30 Minute)</c:v>
                  </c:pt>
                  <c:pt idx="1665">
                    <c:v>Rolling Stdev (30 Minute)</c:v>
                  </c:pt>
                  <c:pt idx="1666">
                    <c:v>Rolling Stdev (30 Minute)</c:v>
                  </c:pt>
                  <c:pt idx="1667">
                    <c:v>Rolling Stdev (30 Minute)</c:v>
                  </c:pt>
                  <c:pt idx="1668">
                    <c:v>Rolling Stdev (30 Minute)</c:v>
                  </c:pt>
                  <c:pt idx="1669">
                    <c:v>Rolling Stdev (30 Minute)</c:v>
                  </c:pt>
                  <c:pt idx="1670">
                    <c:v>Rolling Stdev (30 Minute)</c:v>
                  </c:pt>
                  <c:pt idx="1671">
                    <c:v>Rolling Stdev (30 Minute)</c:v>
                  </c:pt>
                  <c:pt idx="1672">
                    <c:v>Rolling Stdev (30 Minute)</c:v>
                  </c:pt>
                  <c:pt idx="1673">
                    <c:v>Rolling Stdev (30 Minute)</c:v>
                  </c:pt>
                  <c:pt idx="1674">
                    <c:v>Rolling Stdev (30 Minute)</c:v>
                  </c:pt>
                  <c:pt idx="1675">
                    <c:v>Rolling Stdev (30 Minute)</c:v>
                  </c:pt>
                  <c:pt idx="1676">
                    <c:v>Rolling Stdev (30 Minute)</c:v>
                  </c:pt>
                  <c:pt idx="1677">
                    <c:v>Rolling Stdev (30 Minute)</c:v>
                  </c:pt>
                  <c:pt idx="1678">
                    <c:v>Rolling Stdev (30 Minute)</c:v>
                  </c:pt>
                  <c:pt idx="1679">
                    <c:v>Rolling Stdev (30 Minute)</c:v>
                  </c:pt>
                  <c:pt idx="1680">
                    <c:v>Rolling Stdev (30 Minute)</c:v>
                  </c:pt>
                  <c:pt idx="1681">
                    <c:v>Rolling Stdev (30 Minute)</c:v>
                  </c:pt>
                  <c:pt idx="1682">
                    <c:v>Rolling Stdev (30 Minute)</c:v>
                  </c:pt>
                  <c:pt idx="1683">
                    <c:v>Rolling Stdev (30 Minute)</c:v>
                  </c:pt>
                  <c:pt idx="1684">
                    <c:v>Rolling Stdev (30 Minute)</c:v>
                  </c:pt>
                  <c:pt idx="1685">
                    <c:v>Rolling Stdev (30 Minute)</c:v>
                  </c:pt>
                  <c:pt idx="1686">
                    <c:v>Rolling Stdev (30 Minute)</c:v>
                  </c:pt>
                  <c:pt idx="1687">
                    <c:v>Rolling Stdev (30 Minute)</c:v>
                  </c:pt>
                  <c:pt idx="1688">
                    <c:v>Rolling Stdev (30 Minute)</c:v>
                  </c:pt>
                  <c:pt idx="1689">
                    <c:v>Rolling Stdev (30 Minute)</c:v>
                  </c:pt>
                  <c:pt idx="1690">
                    <c:v>Rolling Stdev (30 Minute)</c:v>
                  </c:pt>
                  <c:pt idx="1691">
                    <c:v>Rolling Stdev (30 Minute)</c:v>
                  </c:pt>
                  <c:pt idx="1692">
                    <c:v>Rolling Stdev (30 Minute)</c:v>
                  </c:pt>
                  <c:pt idx="1693">
                    <c:v>Rolling Stdev (30 Minute)</c:v>
                  </c:pt>
                  <c:pt idx="1694">
                    <c:v>Rolling Stdev (30 Minute)</c:v>
                  </c:pt>
                  <c:pt idx="1695">
                    <c:v>Rolling Stdev (30 Minute)</c:v>
                  </c:pt>
                  <c:pt idx="1696">
                    <c:v>Rolling Stdev (30 Minute)</c:v>
                  </c:pt>
                  <c:pt idx="1697">
                    <c:v>Rolling Stdev (30 Minute)</c:v>
                  </c:pt>
                  <c:pt idx="1698">
                    <c:v>Rolling Stdev (30 Minute)</c:v>
                  </c:pt>
                  <c:pt idx="1699">
                    <c:v>Rolling Stdev (30 Minute)</c:v>
                  </c:pt>
                  <c:pt idx="1700">
                    <c:v>Rolling Stdev (30 Minute)</c:v>
                  </c:pt>
                  <c:pt idx="1701">
                    <c:v>Rolling Stdev (30 Minute)</c:v>
                  </c:pt>
                  <c:pt idx="1702">
                    <c:v>Rolling Stdev (30 Minute)</c:v>
                  </c:pt>
                  <c:pt idx="1703">
                    <c:v>Rolling Stdev (30 Minute)</c:v>
                  </c:pt>
                  <c:pt idx="1704">
                    <c:v>Rolling Stdev (30 Minute)</c:v>
                  </c:pt>
                  <c:pt idx="1705">
                    <c:v>Rolling Stdev (30 Minute)</c:v>
                  </c:pt>
                  <c:pt idx="1706">
                    <c:v>Rolling Stdev (30 Minute)</c:v>
                  </c:pt>
                  <c:pt idx="1707">
                    <c:v>Rolling Stdev (30 Minute)</c:v>
                  </c:pt>
                  <c:pt idx="1708">
                    <c:v>Rolling Stdev (30 Minute)</c:v>
                  </c:pt>
                  <c:pt idx="1709">
                    <c:v>Rolling Stdev (30 Minute)</c:v>
                  </c:pt>
                  <c:pt idx="1710">
                    <c:v>Rolling Stdev (30 Minute)</c:v>
                  </c:pt>
                  <c:pt idx="1711">
                    <c:v>Rolling Stdev (30 Minute)</c:v>
                  </c:pt>
                  <c:pt idx="1712">
                    <c:v>Rolling Stdev (30 Minute)</c:v>
                  </c:pt>
                  <c:pt idx="1713">
                    <c:v>Rolling Stdev (30 Minute)</c:v>
                  </c:pt>
                  <c:pt idx="1714">
                    <c:v>Rolling Stdev (30 Minute)</c:v>
                  </c:pt>
                  <c:pt idx="1715">
                    <c:v>Rolling Stdev (30 Minute)</c:v>
                  </c:pt>
                  <c:pt idx="1716">
                    <c:v>Rolling Stdev (30 Minute)</c:v>
                  </c:pt>
                  <c:pt idx="1717">
                    <c:v>Rolling Stdev (30 Minute)</c:v>
                  </c:pt>
                  <c:pt idx="1718">
                    <c:v>Rolling Stdev (30 Minute)</c:v>
                  </c:pt>
                  <c:pt idx="1719">
                    <c:v>Rolling Stdev (30 Minute)</c:v>
                  </c:pt>
                  <c:pt idx="1720">
                    <c:v>Rolling Stdev (30 Minute)</c:v>
                  </c:pt>
                  <c:pt idx="1721">
                    <c:v>Rolling Stdev (30 Minute)</c:v>
                  </c:pt>
                  <c:pt idx="1722">
                    <c:v>Rolling Stdev (30 Minute)</c:v>
                  </c:pt>
                  <c:pt idx="1723">
                    <c:v>Rolling Stdev (30 Minute)</c:v>
                  </c:pt>
                  <c:pt idx="1724">
                    <c:v>Rolling Stdev (30 Minute)</c:v>
                  </c:pt>
                  <c:pt idx="1725">
                    <c:v>Rolling Stdev (30 Minute)</c:v>
                  </c:pt>
                  <c:pt idx="1726">
                    <c:v>Rolling Stdev (30 Minute)</c:v>
                  </c:pt>
                  <c:pt idx="1727">
                    <c:v>Rolling Stdev (30 Minute)</c:v>
                  </c:pt>
                  <c:pt idx="1728">
                    <c:v>Rolling Stdev (30 Minute)</c:v>
                  </c:pt>
                  <c:pt idx="1729">
                    <c:v>Rolling Stdev (30 Minute)</c:v>
                  </c:pt>
                  <c:pt idx="1730">
                    <c:v>Rolling Stdev (30 Minute)</c:v>
                  </c:pt>
                  <c:pt idx="1731">
                    <c:v>Rolling Stdev (30 Minute)</c:v>
                  </c:pt>
                  <c:pt idx="1732">
                    <c:v>Rolling Stdev (30 Minute)</c:v>
                  </c:pt>
                  <c:pt idx="1733">
                    <c:v>Rolling Stdev (30 Minute)</c:v>
                  </c:pt>
                  <c:pt idx="1734">
                    <c:v>Rolling Stdev (30 Minute)</c:v>
                  </c:pt>
                  <c:pt idx="1735">
                    <c:v>Rolling Stdev (30 Minute)</c:v>
                  </c:pt>
                  <c:pt idx="1736">
                    <c:v>Rolling Stdev (30 Minute)</c:v>
                  </c:pt>
                  <c:pt idx="1737">
                    <c:v>Rolling Stdev (30 Minute)</c:v>
                  </c:pt>
                  <c:pt idx="1738">
                    <c:v>Rolling Stdev (30 Minute)</c:v>
                  </c:pt>
                  <c:pt idx="1739">
                    <c:v>Rolling Stdev (30 Minute)</c:v>
                  </c:pt>
                  <c:pt idx="1740">
                    <c:v>Rolling Stdev (30 Minute)</c:v>
                  </c:pt>
                  <c:pt idx="1741">
                    <c:v>Rolling Stdev (30 Minute)</c:v>
                  </c:pt>
                  <c:pt idx="1742">
                    <c:v>Rolling Stdev (30 Minute)</c:v>
                  </c:pt>
                  <c:pt idx="1743">
                    <c:v>Rolling Stdev (30 Minute)</c:v>
                  </c:pt>
                  <c:pt idx="1744">
                    <c:v>Rolling Stdev (30 Minute)</c:v>
                  </c:pt>
                  <c:pt idx="1745">
                    <c:v>Rolling Stdev (30 Minute)</c:v>
                  </c:pt>
                  <c:pt idx="1746">
                    <c:v>Rolling Stdev (30 Minute)</c:v>
                  </c:pt>
                  <c:pt idx="1747">
                    <c:v>Rolling Stdev (30 Minute)</c:v>
                  </c:pt>
                  <c:pt idx="1748">
                    <c:v>Rolling Stdev (30 Minute)</c:v>
                  </c:pt>
                  <c:pt idx="1749">
                    <c:v>Rolling Stdev (30 Minute)</c:v>
                  </c:pt>
                  <c:pt idx="1750">
                    <c:v>Rolling Stdev (30 Minute)</c:v>
                  </c:pt>
                  <c:pt idx="1751">
                    <c:v>Rolling Stdev (30 Minute)</c:v>
                  </c:pt>
                  <c:pt idx="1752">
                    <c:v>Rolling Stdev (30 Minute)</c:v>
                  </c:pt>
                  <c:pt idx="1753">
                    <c:v>Rolling Stdev (30 Minute)</c:v>
                  </c:pt>
                  <c:pt idx="1754">
                    <c:v>Rolling Stdev (30 Minute)</c:v>
                  </c:pt>
                  <c:pt idx="1755">
                    <c:v>Rolling Stdev (30 Minute)</c:v>
                  </c:pt>
                  <c:pt idx="1756">
                    <c:v>Rolling Stdev (30 Minute)</c:v>
                  </c:pt>
                  <c:pt idx="1757">
                    <c:v>Rolling Stdev (30 Minute)</c:v>
                  </c:pt>
                  <c:pt idx="1758">
                    <c:v>Rolling Stdev (30 Minute)</c:v>
                  </c:pt>
                  <c:pt idx="1759">
                    <c:v>Rolling Stdev (30 Minute)</c:v>
                  </c:pt>
                  <c:pt idx="1760">
                    <c:v>Rolling Stdev (30 Minute)</c:v>
                  </c:pt>
                  <c:pt idx="1761">
                    <c:v>Rolling Stdev (30 Minute)</c:v>
                  </c:pt>
                  <c:pt idx="1762">
                    <c:v>Rolling Stdev (30 Minute)</c:v>
                  </c:pt>
                  <c:pt idx="1763">
                    <c:v>Rolling Stdev (30 Minute)</c:v>
                  </c:pt>
                  <c:pt idx="1764">
                    <c:v>Rolling Stdev (30 Minute)</c:v>
                  </c:pt>
                  <c:pt idx="1765">
                    <c:v>Rolling Stdev (30 Minute)</c:v>
                  </c:pt>
                  <c:pt idx="1766">
                    <c:v>Rolling Stdev (30 Minute)</c:v>
                  </c:pt>
                  <c:pt idx="1767">
                    <c:v>Rolling Stdev (30 Minute)</c:v>
                  </c:pt>
                  <c:pt idx="1768">
                    <c:v>Rolling Stdev (30 Minute)</c:v>
                  </c:pt>
                  <c:pt idx="1769">
                    <c:v>Rolling Stdev (30 Minute)</c:v>
                  </c:pt>
                  <c:pt idx="1770">
                    <c:v>Rolling Stdev (30 Minute)</c:v>
                  </c:pt>
                  <c:pt idx="1771">
                    <c:v>Rolling Stdev (30 Minute)</c:v>
                  </c:pt>
                  <c:pt idx="1772">
                    <c:v>Rolling Stdev (30 Minute)</c:v>
                  </c:pt>
                  <c:pt idx="1773">
                    <c:v>Rolling Stdev (30 Minute)</c:v>
                  </c:pt>
                  <c:pt idx="1774">
                    <c:v>Rolling Stdev (30 Minute)</c:v>
                  </c:pt>
                  <c:pt idx="1775">
                    <c:v>Rolling Stdev (30 Minute)</c:v>
                  </c:pt>
                  <c:pt idx="1776">
                    <c:v>Rolling Stdev (30 Minute)</c:v>
                  </c:pt>
                  <c:pt idx="1777">
                    <c:v>Rolling Stdev (30 Minute)</c:v>
                  </c:pt>
                  <c:pt idx="1778">
                    <c:v>Rolling Stdev (30 Minute)</c:v>
                  </c:pt>
                  <c:pt idx="1779">
                    <c:v>Rolling Stdev (30 Minute)</c:v>
                  </c:pt>
                  <c:pt idx="1780">
                    <c:v>Rolling Stdev (30 Minute)</c:v>
                  </c:pt>
                  <c:pt idx="1781">
                    <c:v>Rolling Stdev (30 Minute)</c:v>
                  </c:pt>
                  <c:pt idx="1782">
                    <c:v>Rolling Stdev (30 Minute)</c:v>
                  </c:pt>
                  <c:pt idx="1783">
                    <c:v>Rolling Stdev (30 Minute)</c:v>
                  </c:pt>
                  <c:pt idx="1784">
                    <c:v>Rolling Stdev (30 Minute)</c:v>
                  </c:pt>
                  <c:pt idx="1785">
                    <c:v>Rolling Stdev (30 Minute)</c:v>
                  </c:pt>
                  <c:pt idx="1786">
                    <c:v>Rolling Stdev (30 Minute)</c:v>
                  </c:pt>
                  <c:pt idx="1787">
                    <c:v>Rolling Stdev (30 Minute)</c:v>
                  </c:pt>
                  <c:pt idx="1788">
                    <c:v>Rolling Stdev (30 Minute)</c:v>
                  </c:pt>
                  <c:pt idx="1789">
                    <c:v>Rolling Stdev (30 Minute)</c:v>
                  </c:pt>
                  <c:pt idx="1790">
                    <c:v>Rolling Stdev (30 Minute)</c:v>
                  </c:pt>
                  <c:pt idx="1791">
                    <c:v>Rolling Stdev (30 Minute)</c:v>
                  </c:pt>
                  <c:pt idx="1792">
                    <c:v>Rolling Stdev (30 Minute)</c:v>
                  </c:pt>
                  <c:pt idx="1793">
                    <c:v>Rolling Stdev (30 Minute)</c:v>
                  </c:pt>
                  <c:pt idx="1794">
                    <c:v>Rolling Stdev (30 Minute)</c:v>
                  </c:pt>
                  <c:pt idx="1795">
                    <c:v>Rolling Stdev (30 Minute)</c:v>
                  </c:pt>
                  <c:pt idx="1796">
                    <c:v>Rolling Stdev (30 Minute)</c:v>
                  </c:pt>
                  <c:pt idx="1797">
                    <c:v>Rolling Stdev (30 Minute)</c:v>
                  </c:pt>
                  <c:pt idx="1798">
                    <c:v>Rolling Stdev (30 Minute)</c:v>
                  </c:pt>
                  <c:pt idx="1799">
                    <c:v>Rolling Stdev (30 Minute)</c:v>
                  </c:pt>
                  <c:pt idx="1800">
                    <c:v>Rolling Stdev (30 Minute)</c:v>
                  </c:pt>
                  <c:pt idx="1801">
                    <c:v>Rolling Stdev (30 Minute)</c:v>
                  </c:pt>
                  <c:pt idx="1802">
                    <c:v>Rolling Stdev (30 Minute)</c:v>
                  </c:pt>
                  <c:pt idx="1803">
                    <c:v>Rolling Stdev (30 Minute)</c:v>
                  </c:pt>
                  <c:pt idx="1804">
                    <c:v>Rolling Stdev (30 Minute)</c:v>
                  </c:pt>
                  <c:pt idx="1805">
                    <c:v>Rolling Stdev (30 Minute)</c:v>
                  </c:pt>
                  <c:pt idx="1806">
                    <c:v>Rolling Stdev (30 Minute)</c:v>
                  </c:pt>
                  <c:pt idx="1807">
                    <c:v>Rolling Stdev (30 Minute)</c:v>
                  </c:pt>
                  <c:pt idx="1808">
                    <c:v>Rolling Stdev (30 Minute)</c:v>
                  </c:pt>
                  <c:pt idx="1809">
                    <c:v>Rolling Stdev (30 Minute)</c:v>
                  </c:pt>
                  <c:pt idx="1810">
                    <c:v>Rolling Stdev (30 Minute)</c:v>
                  </c:pt>
                  <c:pt idx="1811">
                    <c:v>Rolling Stdev (30 Minute)</c:v>
                  </c:pt>
                  <c:pt idx="1812">
                    <c:v>Rolling Stdev (30 Minute)</c:v>
                  </c:pt>
                  <c:pt idx="1813">
                    <c:v>Rolling Stdev (30 Minute)</c:v>
                  </c:pt>
                  <c:pt idx="1814">
                    <c:v>Rolling Stdev (30 Minute)</c:v>
                  </c:pt>
                  <c:pt idx="1815">
                    <c:v>Rolling Stdev (30 Minute)</c:v>
                  </c:pt>
                  <c:pt idx="1816">
                    <c:v>Rolling Stdev (30 Minute)</c:v>
                  </c:pt>
                  <c:pt idx="1817">
                    <c:v>Rolling Stdev (30 Minute)</c:v>
                  </c:pt>
                  <c:pt idx="1818">
                    <c:v>Rolling Stdev (30 Minute)</c:v>
                  </c:pt>
                  <c:pt idx="1819">
                    <c:v>Rolling Stdev (30 Minute)</c:v>
                  </c:pt>
                  <c:pt idx="1820">
                    <c:v>Rolling Stdev (30 Minute)</c:v>
                  </c:pt>
                  <c:pt idx="1821">
                    <c:v>Rolling Stdev (30 Minute)</c:v>
                  </c:pt>
                  <c:pt idx="1822">
                    <c:v>Rolling Stdev (30 Minute)</c:v>
                  </c:pt>
                  <c:pt idx="1823">
                    <c:v>Rolling Stdev (30 Minute)</c:v>
                  </c:pt>
                  <c:pt idx="1824">
                    <c:v>Rolling Stdev (30 Minute)</c:v>
                  </c:pt>
                  <c:pt idx="1825">
                    <c:v>Rolling Stdev (30 Minute)</c:v>
                  </c:pt>
                  <c:pt idx="1826">
                    <c:v>Rolling Stdev (30 Minute)</c:v>
                  </c:pt>
                  <c:pt idx="1827">
                    <c:v>Rolling Stdev (30 Minute)</c:v>
                  </c:pt>
                  <c:pt idx="1828">
                    <c:v>Rolling Stdev (30 Minute)</c:v>
                  </c:pt>
                  <c:pt idx="1829">
                    <c:v>Rolling Stdev (30 Minute)</c:v>
                  </c:pt>
                  <c:pt idx="1830">
                    <c:v>Rolling Stdev (30 Minute)</c:v>
                  </c:pt>
                  <c:pt idx="1831">
                    <c:v>Rolling Stdev (30 Minute)</c:v>
                  </c:pt>
                  <c:pt idx="1832">
                    <c:v>Rolling Stdev (30 Minute)</c:v>
                  </c:pt>
                  <c:pt idx="1833">
                    <c:v>Rolling Stdev (30 Minute)</c:v>
                  </c:pt>
                  <c:pt idx="1834">
                    <c:v>Rolling Stdev (30 Minute)</c:v>
                  </c:pt>
                  <c:pt idx="1835">
                    <c:v>Rolling Stdev (30 Minute)</c:v>
                  </c:pt>
                  <c:pt idx="1836">
                    <c:v>Rolling Stdev (30 Minute)</c:v>
                  </c:pt>
                  <c:pt idx="1837">
                    <c:v>Rolling Stdev (30 Minute)</c:v>
                  </c:pt>
                  <c:pt idx="1838">
                    <c:v>Rolling Stdev (30 Minute)</c:v>
                  </c:pt>
                  <c:pt idx="1839">
                    <c:v>Rolling Stdev (30 Minute)</c:v>
                  </c:pt>
                  <c:pt idx="1840">
                    <c:v>Rolling Stdev (30 Minute)</c:v>
                  </c:pt>
                  <c:pt idx="1841">
                    <c:v>Rolling Stdev (30 Minute)</c:v>
                  </c:pt>
                  <c:pt idx="1842">
                    <c:v>Rolling Stdev (30 Minute)</c:v>
                  </c:pt>
                  <c:pt idx="1843">
                    <c:v>Rolling Stdev (30 Minute)</c:v>
                  </c:pt>
                  <c:pt idx="1844">
                    <c:v>Rolling Stdev (30 Minute)</c:v>
                  </c:pt>
                  <c:pt idx="1845">
                    <c:v>Rolling Stdev (30 Minute)</c:v>
                  </c:pt>
                  <c:pt idx="1846">
                    <c:v>Rolling Stdev (30 Minute)</c:v>
                  </c:pt>
                  <c:pt idx="1847">
                    <c:v>Rolling Stdev (30 Minute)</c:v>
                  </c:pt>
                  <c:pt idx="1848">
                    <c:v>Rolling Stdev (30 Minute)</c:v>
                  </c:pt>
                  <c:pt idx="1849">
                    <c:v>Rolling Stdev (30 Minute)</c:v>
                  </c:pt>
                  <c:pt idx="1850">
                    <c:v>Rolling Stdev (30 Minute)</c:v>
                  </c:pt>
                  <c:pt idx="1851">
                    <c:v>Rolling Stdev (30 Minute)</c:v>
                  </c:pt>
                  <c:pt idx="1852">
                    <c:v>Rolling Stdev (30 Minute)</c:v>
                  </c:pt>
                  <c:pt idx="1853">
                    <c:v>Rolling Stdev (30 Minute)</c:v>
                  </c:pt>
                  <c:pt idx="1854">
                    <c:v>Rolling Stdev (30 Minute)</c:v>
                  </c:pt>
                  <c:pt idx="1855">
                    <c:v>Rolling Stdev (30 Minute)</c:v>
                  </c:pt>
                  <c:pt idx="1856">
                    <c:v>Rolling Stdev (30 Minute)</c:v>
                  </c:pt>
                  <c:pt idx="1857">
                    <c:v>Rolling Stdev (30 Minute)</c:v>
                  </c:pt>
                  <c:pt idx="1858">
                    <c:v>Rolling Stdev (30 Minute)</c:v>
                  </c:pt>
                  <c:pt idx="1859">
                    <c:v>Rolling Stdev (30 Minute)</c:v>
                  </c:pt>
                  <c:pt idx="1860">
                    <c:v>Rolling Stdev (30 Minute)</c:v>
                  </c:pt>
                  <c:pt idx="1861">
                    <c:v>Rolling Stdev (30 Minute)</c:v>
                  </c:pt>
                  <c:pt idx="1862">
                    <c:v>Rolling Stdev (30 Minute)</c:v>
                  </c:pt>
                  <c:pt idx="1863">
                    <c:v>Rolling Stdev (30 Minute)</c:v>
                  </c:pt>
                  <c:pt idx="1864">
                    <c:v>Rolling Stdev (30 Minute)</c:v>
                  </c:pt>
                  <c:pt idx="1865">
                    <c:v>Rolling Stdev (30 Minute)</c:v>
                  </c:pt>
                  <c:pt idx="1866">
                    <c:v>Rolling Stdev (30 Minute)</c:v>
                  </c:pt>
                  <c:pt idx="1867">
                    <c:v>Rolling Stdev (30 Minute)</c:v>
                  </c:pt>
                  <c:pt idx="1868">
                    <c:v>Rolling Stdev (30 Minute)</c:v>
                  </c:pt>
                  <c:pt idx="1869">
                    <c:v>Rolling Stdev (30 Minute)</c:v>
                  </c:pt>
                  <c:pt idx="1870">
                    <c:v>Rolling Stdev (30 Minute)</c:v>
                  </c:pt>
                  <c:pt idx="1871">
                    <c:v>Rolling Stdev (30 Minute)</c:v>
                  </c:pt>
                  <c:pt idx="1872">
                    <c:v>Rolling Stdev (30 Minute)</c:v>
                  </c:pt>
                  <c:pt idx="1873">
                    <c:v>Rolling Stdev (30 Minute)</c:v>
                  </c:pt>
                  <c:pt idx="1874">
                    <c:v>Rolling Stdev (30 Minute)</c:v>
                  </c:pt>
                  <c:pt idx="1875">
                    <c:v>Rolling Stdev (30 Minute)</c:v>
                  </c:pt>
                  <c:pt idx="1876">
                    <c:v>Rolling Stdev (30 Minute)</c:v>
                  </c:pt>
                  <c:pt idx="1877">
                    <c:v>Rolling Stdev (30 Minute)</c:v>
                  </c:pt>
                  <c:pt idx="1878">
                    <c:v>Rolling Stdev (30 Minute)</c:v>
                  </c:pt>
                  <c:pt idx="1879">
                    <c:v>Rolling Stdev (30 Minute)</c:v>
                  </c:pt>
                  <c:pt idx="1880">
                    <c:v>Rolling Stdev (30 Minute)</c:v>
                  </c:pt>
                  <c:pt idx="1881">
                    <c:v>Rolling Stdev (30 Minute)</c:v>
                  </c:pt>
                  <c:pt idx="1882">
                    <c:v>Rolling Stdev (30 Minute)</c:v>
                  </c:pt>
                  <c:pt idx="1883">
                    <c:v>Rolling Stdev (30 Minute)</c:v>
                  </c:pt>
                  <c:pt idx="1884">
                    <c:v>Rolling Stdev (30 Minute)</c:v>
                  </c:pt>
                  <c:pt idx="1885">
                    <c:v>Rolling Stdev (30 Minute)</c:v>
                  </c:pt>
                  <c:pt idx="1886">
                    <c:v>Rolling Stdev (30 Minute)</c:v>
                  </c:pt>
                  <c:pt idx="1887">
                    <c:v>Rolling Stdev (30 Minute)</c:v>
                  </c:pt>
                  <c:pt idx="1888">
                    <c:v>Rolling Stdev (30 Minute)</c:v>
                  </c:pt>
                  <c:pt idx="1889">
                    <c:v>Rolling Stdev (30 Minute)</c:v>
                  </c:pt>
                  <c:pt idx="1890">
                    <c:v>Rolling Stdev (30 Minute)</c:v>
                  </c:pt>
                  <c:pt idx="1891">
                    <c:v>Rolling Stdev (30 Minute)</c:v>
                  </c:pt>
                  <c:pt idx="1892">
                    <c:v>Rolling Stdev (30 Minute)</c:v>
                  </c:pt>
                  <c:pt idx="1893">
                    <c:v>Rolling Stdev (30 Minute)</c:v>
                  </c:pt>
                  <c:pt idx="1894">
                    <c:v>Rolling Stdev (30 Minute)</c:v>
                  </c:pt>
                  <c:pt idx="1895">
                    <c:v>Rolling Stdev (30 Minute)</c:v>
                  </c:pt>
                  <c:pt idx="1896">
                    <c:v>Rolling Stdev (30 Minute)</c:v>
                  </c:pt>
                  <c:pt idx="1897">
                    <c:v>Rolling Stdev (30 Minute)</c:v>
                  </c:pt>
                  <c:pt idx="1898">
                    <c:v>Rolling Stdev (30 Minute)</c:v>
                  </c:pt>
                  <c:pt idx="1899">
                    <c:v>Rolling Stdev (30 Minute)</c:v>
                  </c:pt>
                  <c:pt idx="1900">
                    <c:v>Rolling Stdev (30 Minute)</c:v>
                  </c:pt>
                  <c:pt idx="1901">
                    <c:v>Rolling Stdev (30 Minute)</c:v>
                  </c:pt>
                  <c:pt idx="1902">
                    <c:v>Rolling Stdev (30 Minute)</c:v>
                  </c:pt>
                  <c:pt idx="1903">
                    <c:v>Rolling Stdev (30 Minute)</c:v>
                  </c:pt>
                  <c:pt idx="1904">
                    <c:v>Rolling Stdev (30 Minute)</c:v>
                  </c:pt>
                  <c:pt idx="1905">
                    <c:v>Rolling Stdev (30 Minute)</c:v>
                  </c:pt>
                  <c:pt idx="1906">
                    <c:v>Rolling Stdev (30 Minute)</c:v>
                  </c:pt>
                  <c:pt idx="1907">
                    <c:v>Rolling Stdev (30 Minute)</c:v>
                  </c:pt>
                  <c:pt idx="1908">
                    <c:v>Rolling Stdev (30 Minute)</c:v>
                  </c:pt>
                  <c:pt idx="1909">
                    <c:v>Rolling Stdev (30 Minute)</c:v>
                  </c:pt>
                  <c:pt idx="1910">
                    <c:v>Rolling Stdev (30 Minute)</c:v>
                  </c:pt>
                  <c:pt idx="1911">
                    <c:v>Rolling Stdev (30 Minute)</c:v>
                  </c:pt>
                  <c:pt idx="1912">
                    <c:v>Rolling Stdev (30 Minute)</c:v>
                  </c:pt>
                  <c:pt idx="1913">
                    <c:v>Rolling Stdev (30 Minute)</c:v>
                  </c:pt>
                  <c:pt idx="1914">
                    <c:v>Rolling Stdev (30 Minute)</c:v>
                  </c:pt>
                  <c:pt idx="1915">
                    <c:v>Rolling Stdev (30 Minute)</c:v>
                  </c:pt>
                  <c:pt idx="1916">
                    <c:v>Rolling Stdev (30 Minute)</c:v>
                  </c:pt>
                  <c:pt idx="1917">
                    <c:v>Rolling Stdev (30 Minute)</c:v>
                  </c:pt>
                  <c:pt idx="1918">
                    <c:v>Rolling Stdev (30 Minute)</c:v>
                  </c:pt>
                  <c:pt idx="1919">
                    <c:v>Rolling Stdev (30 Minute)</c:v>
                  </c:pt>
                  <c:pt idx="1920">
                    <c:v>Rolling Stdev (30 Minute)</c:v>
                  </c:pt>
                  <c:pt idx="1921">
                    <c:v>Rolling Stdev (30 Minute)</c:v>
                  </c:pt>
                  <c:pt idx="1922">
                    <c:v>Rolling Stdev (30 Minute)</c:v>
                  </c:pt>
                  <c:pt idx="1923">
                    <c:v>Rolling Stdev (30 Minute)</c:v>
                  </c:pt>
                  <c:pt idx="1924">
                    <c:v>Rolling Stdev (30 Minute)</c:v>
                  </c:pt>
                  <c:pt idx="1925">
                    <c:v>Rolling Stdev (30 Minute)</c:v>
                  </c:pt>
                  <c:pt idx="1926">
                    <c:v>Rolling Stdev (30 Minute)</c:v>
                  </c:pt>
                  <c:pt idx="1927">
                    <c:v>Rolling Stdev (30 Minute)</c:v>
                  </c:pt>
                  <c:pt idx="1928">
                    <c:v>Rolling Stdev (30 Minute)</c:v>
                  </c:pt>
                  <c:pt idx="1929">
                    <c:v>Rolling Stdev (30 Minute)</c:v>
                  </c:pt>
                  <c:pt idx="1930">
                    <c:v>Rolling Stdev (30 Minute)</c:v>
                  </c:pt>
                  <c:pt idx="1931">
                    <c:v>Rolling Stdev (30 Minute)</c:v>
                  </c:pt>
                  <c:pt idx="1932">
                    <c:v>Rolling Stdev (30 Minute)</c:v>
                  </c:pt>
                  <c:pt idx="1933">
                    <c:v>Rolling Stdev (30 Minute)</c:v>
                  </c:pt>
                  <c:pt idx="1934">
                    <c:v>Rolling Stdev (30 Minute)</c:v>
                  </c:pt>
                  <c:pt idx="1935">
                    <c:v>Rolling Stdev (30 Minute)</c:v>
                  </c:pt>
                  <c:pt idx="1936">
                    <c:v>Rolling Stdev (30 Minute)</c:v>
                  </c:pt>
                  <c:pt idx="1937">
                    <c:v>Rolling Stdev (30 Minute)</c:v>
                  </c:pt>
                  <c:pt idx="1938">
                    <c:v>Rolling Stdev (30 Minute)</c:v>
                  </c:pt>
                  <c:pt idx="1939">
                    <c:v>Rolling Stdev (30 Minute)</c:v>
                  </c:pt>
                  <c:pt idx="1940">
                    <c:v>Rolling Stdev (30 Minute)</c:v>
                  </c:pt>
                  <c:pt idx="1941">
                    <c:v>Rolling Stdev (30 Minute)</c:v>
                  </c:pt>
                  <c:pt idx="1942">
                    <c:v>Rolling Stdev (30 Minute)</c:v>
                  </c:pt>
                  <c:pt idx="1943">
                    <c:v>Rolling Stdev (30 Minute)</c:v>
                  </c:pt>
                  <c:pt idx="1944">
                    <c:v>Rolling Stdev (30 Minute)</c:v>
                  </c:pt>
                  <c:pt idx="1945">
                    <c:v>Rolling Stdev (30 Minute)</c:v>
                  </c:pt>
                  <c:pt idx="1946">
                    <c:v>Rolling Stdev (30 Minute)</c:v>
                  </c:pt>
                  <c:pt idx="1947">
                    <c:v>Rolling Stdev (30 Minute)</c:v>
                  </c:pt>
                  <c:pt idx="1948">
                    <c:v>Rolling Stdev (30 Minute)</c:v>
                  </c:pt>
                  <c:pt idx="1949">
                    <c:v>Rolling Stdev (30 Minute)</c:v>
                  </c:pt>
                  <c:pt idx="1950">
                    <c:v>Rolling Stdev (30 Minute)</c:v>
                  </c:pt>
                  <c:pt idx="1951">
                    <c:v>Rolling Stdev (30 Minute)</c:v>
                  </c:pt>
                  <c:pt idx="1952">
                    <c:v>Rolling Stdev (30 Minute)</c:v>
                  </c:pt>
                  <c:pt idx="1953">
                    <c:v>Rolling Stdev (30 Minute)</c:v>
                  </c:pt>
                  <c:pt idx="1954">
                    <c:v>Rolling Stdev (30 Minute)</c:v>
                  </c:pt>
                  <c:pt idx="1955">
                    <c:v>Rolling Stdev (30 Minute)</c:v>
                  </c:pt>
                  <c:pt idx="1956">
                    <c:v>Rolling Stdev (30 Minute)</c:v>
                  </c:pt>
                  <c:pt idx="1957">
                    <c:v>Rolling Stdev (30 Minute)</c:v>
                  </c:pt>
                  <c:pt idx="1958">
                    <c:v>Rolling Stdev (30 Minute)</c:v>
                  </c:pt>
                  <c:pt idx="1959">
                    <c:v>Rolling Stdev (30 Minute)</c:v>
                  </c:pt>
                  <c:pt idx="1960">
                    <c:v>Rolling Stdev (30 Minute)</c:v>
                  </c:pt>
                  <c:pt idx="1961">
                    <c:v>Rolling Stdev (30 Minute)</c:v>
                  </c:pt>
                  <c:pt idx="1962">
                    <c:v>Rolling Stdev (30 Minute)</c:v>
                  </c:pt>
                  <c:pt idx="1963">
                    <c:v>Rolling Stdev (30 Minute)</c:v>
                  </c:pt>
                  <c:pt idx="1964">
                    <c:v>Rolling Stdev (30 Minute)</c:v>
                  </c:pt>
                  <c:pt idx="1965">
                    <c:v>Rolling Stdev (30 Minute)</c:v>
                  </c:pt>
                  <c:pt idx="1966">
                    <c:v>Rolling Stdev (30 Minute)</c:v>
                  </c:pt>
                  <c:pt idx="1967">
                    <c:v>Rolling Stdev (30 Minute)</c:v>
                  </c:pt>
                  <c:pt idx="1968">
                    <c:v>Rolling Stdev (30 Minute)</c:v>
                  </c:pt>
                  <c:pt idx="1969">
                    <c:v>Rolling Stdev (30 Minute)</c:v>
                  </c:pt>
                  <c:pt idx="1970">
                    <c:v>Rolling Stdev (30 Minute)</c:v>
                  </c:pt>
                  <c:pt idx="1971">
                    <c:v>Rolling Stdev (30 Minute)</c:v>
                  </c:pt>
                  <c:pt idx="1972">
                    <c:v>Rolling Stdev (30 Minute)</c:v>
                  </c:pt>
                  <c:pt idx="1973">
                    <c:v>Rolling Stdev (30 Minute)</c:v>
                  </c:pt>
                  <c:pt idx="1974">
                    <c:v>Rolling Stdev (30 Minute)</c:v>
                  </c:pt>
                  <c:pt idx="1975">
                    <c:v>Rolling Stdev (30 Minute)</c:v>
                  </c:pt>
                  <c:pt idx="1976">
                    <c:v>Rolling Stdev (30 Minute)</c:v>
                  </c:pt>
                  <c:pt idx="1977">
                    <c:v>Rolling Stdev (30 Minute)</c:v>
                  </c:pt>
                  <c:pt idx="1978">
                    <c:v>Rolling Stdev (30 Minute)</c:v>
                  </c:pt>
                  <c:pt idx="1979">
                    <c:v>Rolling Stdev (30 Minute)</c:v>
                  </c:pt>
                  <c:pt idx="1980">
                    <c:v>Rolling Stdev (30 Minute)</c:v>
                  </c:pt>
                  <c:pt idx="1981">
                    <c:v>Rolling Stdev (30 Minute)</c:v>
                  </c:pt>
                  <c:pt idx="1982">
                    <c:v>Rolling Stdev (30 Minute)</c:v>
                  </c:pt>
                  <c:pt idx="1983">
                    <c:v>Rolling Stdev (30 Minute)</c:v>
                  </c:pt>
                  <c:pt idx="1984">
                    <c:v>Rolling Stdev (30 Minute)</c:v>
                  </c:pt>
                  <c:pt idx="1985">
                    <c:v>Rolling Stdev (30 Minute)</c:v>
                  </c:pt>
                  <c:pt idx="1986">
                    <c:v>Rolling Stdev (30 Minute)</c:v>
                  </c:pt>
                  <c:pt idx="1987">
                    <c:v>Rolling Stdev (30 Minute)</c:v>
                  </c:pt>
                  <c:pt idx="1988">
                    <c:v>Rolling Stdev (30 Minute)</c:v>
                  </c:pt>
                  <c:pt idx="1989">
                    <c:v>Rolling Stdev (30 Minute)</c:v>
                  </c:pt>
                  <c:pt idx="1990">
                    <c:v>Rolling Stdev (30 Minute)</c:v>
                  </c:pt>
                  <c:pt idx="1991">
                    <c:v>Rolling Stdev (30 Minute)</c:v>
                  </c:pt>
                  <c:pt idx="1992">
                    <c:v>Rolling Stdev (30 Minute)</c:v>
                  </c:pt>
                  <c:pt idx="1993">
                    <c:v>Rolling Stdev (30 Minute)</c:v>
                  </c:pt>
                  <c:pt idx="1994">
                    <c:v>Rolling Stdev (30 Minute)</c:v>
                  </c:pt>
                  <c:pt idx="1995">
                    <c:v>Rolling Stdev (30 Minute)</c:v>
                  </c:pt>
                  <c:pt idx="1996">
                    <c:v>Rolling Stdev (30 Minute)</c:v>
                  </c:pt>
                  <c:pt idx="1997">
                    <c:v>Rolling Stdev (30 Minute)</c:v>
                  </c:pt>
                  <c:pt idx="1998">
                    <c:v>Rolling Stdev (30 Minute)</c:v>
                  </c:pt>
                  <c:pt idx="1999">
                    <c:v>Rolling Stdev (30 Minute)</c:v>
                  </c:pt>
                  <c:pt idx="2000">
                    <c:v>Rolling Stdev (30 Minute)</c:v>
                  </c:pt>
                  <c:pt idx="2001">
                    <c:v>Rolling Stdev (30 Minute)</c:v>
                  </c:pt>
                  <c:pt idx="2002">
                    <c:v>Rolling Stdev (30 Minute)</c:v>
                  </c:pt>
                  <c:pt idx="2003">
                    <c:v>Rolling Stdev (30 Minute)</c:v>
                  </c:pt>
                  <c:pt idx="2004">
                    <c:v>Rolling Stdev (30 Minute)</c:v>
                  </c:pt>
                  <c:pt idx="2005">
                    <c:v>Rolling Stdev (30 Minute)</c:v>
                  </c:pt>
                  <c:pt idx="2006">
                    <c:v>Rolling Stdev (30 Minute)</c:v>
                  </c:pt>
                  <c:pt idx="2007">
                    <c:v>Rolling Stdev (30 Minute)</c:v>
                  </c:pt>
                  <c:pt idx="2008">
                    <c:v>Rolling Stdev (30 Minute)</c:v>
                  </c:pt>
                  <c:pt idx="2009">
                    <c:v>Rolling Stdev (30 Minute)</c:v>
                  </c:pt>
                  <c:pt idx="2010">
                    <c:v>Rolling Stdev (30 Minute)</c:v>
                  </c:pt>
                  <c:pt idx="2011">
                    <c:v>Rolling Stdev (30 Minute)</c:v>
                  </c:pt>
                  <c:pt idx="2012">
                    <c:v>Rolling Stdev (30 Minute)</c:v>
                  </c:pt>
                  <c:pt idx="2013">
                    <c:v>Rolling Stdev (30 Minute)</c:v>
                  </c:pt>
                  <c:pt idx="2014">
                    <c:v>Rolling Stdev (30 Minute)</c:v>
                  </c:pt>
                  <c:pt idx="2015">
                    <c:v>Rolling Stdev (30 Minute)</c:v>
                  </c:pt>
                  <c:pt idx="2016">
                    <c:v>Rolling Stdev (30 Minute)</c:v>
                  </c:pt>
                  <c:pt idx="2017">
                    <c:v>Rolling Stdev (30 Minute)</c:v>
                  </c:pt>
                  <c:pt idx="2018">
                    <c:v>Rolling Stdev (30 Minute)</c:v>
                  </c:pt>
                  <c:pt idx="2019">
                    <c:v>Rolling Stdev (30 Minute)</c:v>
                  </c:pt>
                  <c:pt idx="2020">
                    <c:v>Rolling Stdev (30 Minute)</c:v>
                  </c:pt>
                  <c:pt idx="2021">
                    <c:v>Rolling Stdev (30 Minute)</c:v>
                  </c:pt>
                  <c:pt idx="2022">
                    <c:v>Rolling Stdev (30 Minute)</c:v>
                  </c:pt>
                  <c:pt idx="2023">
                    <c:v>Rolling Stdev (30 Minute)</c:v>
                  </c:pt>
                  <c:pt idx="2024">
                    <c:v>Rolling Stdev (30 Minute)</c:v>
                  </c:pt>
                  <c:pt idx="2025">
                    <c:v>Rolling Stdev (30 Minute)</c:v>
                  </c:pt>
                  <c:pt idx="2026">
                    <c:v>Rolling Stdev (30 Minute)</c:v>
                  </c:pt>
                  <c:pt idx="2027">
                    <c:v>Rolling Stdev (30 Minute)</c:v>
                  </c:pt>
                  <c:pt idx="2028">
                    <c:v>Rolling Stdev (30 Minute)</c:v>
                  </c:pt>
                  <c:pt idx="2029">
                    <c:v>Rolling Stdev (30 Minute)</c:v>
                  </c:pt>
                  <c:pt idx="2030">
                    <c:v>Rolling Stdev (30 Minute)</c:v>
                  </c:pt>
                  <c:pt idx="2031">
                    <c:v>Rolling Stdev (30 Minute)</c:v>
                  </c:pt>
                  <c:pt idx="2032">
                    <c:v>Rolling Stdev (30 Minute)</c:v>
                  </c:pt>
                  <c:pt idx="2033">
                    <c:v>Rolling Stdev (30 Minute)</c:v>
                  </c:pt>
                  <c:pt idx="2034">
                    <c:v>Rolling Stdev (30 Minute)</c:v>
                  </c:pt>
                  <c:pt idx="2035">
                    <c:v>Rolling Stdev (30 Minute)</c:v>
                  </c:pt>
                  <c:pt idx="2036">
                    <c:v>Rolling Stdev (30 Minute)</c:v>
                  </c:pt>
                  <c:pt idx="2037">
                    <c:v>Rolling Stdev (30 Minute)</c:v>
                  </c:pt>
                  <c:pt idx="2038">
                    <c:v>Rolling Stdev (30 Minute)</c:v>
                  </c:pt>
                  <c:pt idx="2039">
                    <c:v>Rolling Stdev (30 Minute)</c:v>
                  </c:pt>
                  <c:pt idx="2040">
                    <c:v>Rolling Stdev (30 Minute)</c:v>
                  </c:pt>
                  <c:pt idx="2041">
                    <c:v>Rolling Stdev (30 Minute)</c:v>
                  </c:pt>
                  <c:pt idx="2042">
                    <c:v>Rolling Stdev (30 Minute)</c:v>
                  </c:pt>
                  <c:pt idx="2043">
                    <c:v>Rolling Stdev (30 Minute)</c:v>
                  </c:pt>
                  <c:pt idx="2044">
                    <c:v>Rolling Stdev (30 Minute)</c:v>
                  </c:pt>
                  <c:pt idx="2045">
                    <c:v>Rolling Stdev (30 Minute)</c:v>
                  </c:pt>
                  <c:pt idx="2046">
                    <c:v>Rolling Stdev (30 Minute)</c:v>
                  </c:pt>
                  <c:pt idx="2047">
                    <c:v>Rolling Stdev (30 Minute)</c:v>
                  </c:pt>
                  <c:pt idx="2048">
                    <c:v>Rolling Stdev (30 Minute)</c:v>
                  </c:pt>
                  <c:pt idx="2049">
                    <c:v>Rolling Stdev (30 Minute)</c:v>
                  </c:pt>
                  <c:pt idx="2050">
                    <c:v>Rolling Stdev (30 Minute)</c:v>
                  </c:pt>
                  <c:pt idx="2051">
                    <c:v>Rolling Stdev (30 Minute)</c:v>
                  </c:pt>
                  <c:pt idx="2052">
                    <c:v>Rolling Stdev (30 Minute)</c:v>
                  </c:pt>
                  <c:pt idx="2053">
                    <c:v>Rolling Stdev (30 Minute)</c:v>
                  </c:pt>
                  <c:pt idx="2054">
                    <c:v>Rolling Stdev (30 Minute)</c:v>
                  </c:pt>
                  <c:pt idx="2055">
                    <c:v>Rolling Stdev (30 Minute)</c:v>
                  </c:pt>
                  <c:pt idx="2056">
                    <c:v>Rolling Stdev (30 Minute)</c:v>
                  </c:pt>
                  <c:pt idx="2057">
                    <c:v>Rolling Stdev (30 Minute)</c:v>
                  </c:pt>
                  <c:pt idx="2058">
                    <c:v>Rolling Stdev (30 Minute)</c:v>
                  </c:pt>
                  <c:pt idx="2059">
                    <c:v>Rolling Stdev (30 Minute)</c:v>
                  </c:pt>
                  <c:pt idx="2060">
                    <c:v>Rolling Stdev (30 Minute)</c:v>
                  </c:pt>
                  <c:pt idx="2061">
                    <c:v>Rolling Stdev (30 Minute)</c:v>
                  </c:pt>
                  <c:pt idx="2062">
                    <c:v>Rolling Stdev (30 Minute)</c:v>
                  </c:pt>
                  <c:pt idx="2063">
                    <c:v>Rolling Stdev (30 Minute)</c:v>
                  </c:pt>
                  <c:pt idx="2064">
                    <c:v>Rolling Stdev (30 Minute)</c:v>
                  </c:pt>
                  <c:pt idx="2065">
                    <c:v>Rolling Stdev (30 Minute)</c:v>
                  </c:pt>
                  <c:pt idx="2066">
                    <c:v>Rolling Stdev (30 Minute)</c:v>
                  </c:pt>
                  <c:pt idx="2067">
                    <c:v>Rolling Stdev (30 Minute)</c:v>
                  </c:pt>
                  <c:pt idx="2068">
                    <c:v>Rolling Stdev (30 Minute)</c:v>
                  </c:pt>
                  <c:pt idx="2069">
                    <c:v>Rolling Stdev (30 Minute)</c:v>
                  </c:pt>
                  <c:pt idx="2070">
                    <c:v>Rolling Stdev (30 Minute)</c:v>
                  </c:pt>
                  <c:pt idx="2071">
                    <c:v>Rolling Stdev (30 Minute)</c:v>
                  </c:pt>
                  <c:pt idx="2072">
                    <c:v>Rolling Stdev (30 Minute)</c:v>
                  </c:pt>
                  <c:pt idx="2073">
                    <c:v>Rolling Stdev (30 Minute)</c:v>
                  </c:pt>
                  <c:pt idx="2074">
                    <c:v>Rolling Stdev (30 Minute)</c:v>
                  </c:pt>
                  <c:pt idx="2075">
                    <c:v>Rolling Stdev (30 Minute)</c:v>
                  </c:pt>
                  <c:pt idx="2076">
                    <c:v>Rolling Stdev (30 Minute)</c:v>
                  </c:pt>
                  <c:pt idx="2077">
                    <c:v>Rolling Stdev (30 Minute)</c:v>
                  </c:pt>
                  <c:pt idx="2078">
                    <c:v>Rolling Stdev (30 Minute)</c:v>
                  </c:pt>
                  <c:pt idx="2079">
                    <c:v>Rolling Stdev (30 Minute)</c:v>
                  </c:pt>
                  <c:pt idx="2080">
                    <c:v>Rolling Stdev (30 Minute)</c:v>
                  </c:pt>
                  <c:pt idx="2081">
                    <c:v>Rolling Stdev (30 Minute)</c:v>
                  </c:pt>
                  <c:pt idx="2082">
                    <c:v>Rolling Stdev (30 Minute)</c:v>
                  </c:pt>
                  <c:pt idx="2083">
                    <c:v>Rolling Stdev (30 Minute)</c:v>
                  </c:pt>
                  <c:pt idx="2084">
                    <c:v>Rolling Stdev (30 Minute)</c:v>
                  </c:pt>
                  <c:pt idx="2085">
                    <c:v>Rolling Stdev (30 Minute)</c:v>
                  </c:pt>
                  <c:pt idx="2086">
                    <c:v>Rolling Stdev (30 Minute)</c:v>
                  </c:pt>
                  <c:pt idx="2087">
                    <c:v>Rolling Stdev (30 Minute)</c:v>
                  </c:pt>
                  <c:pt idx="2088">
                    <c:v>Rolling Stdev (30 Minute)</c:v>
                  </c:pt>
                  <c:pt idx="2089">
                    <c:v>Rolling Stdev (30 Minute)</c:v>
                  </c:pt>
                  <c:pt idx="2090">
                    <c:v>Rolling Stdev (30 Minute)</c:v>
                  </c:pt>
                  <c:pt idx="2091">
                    <c:v>Rolling Stdev (30 Minute)</c:v>
                  </c:pt>
                  <c:pt idx="2092">
                    <c:v>Rolling Stdev (30 Minute)</c:v>
                  </c:pt>
                  <c:pt idx="2093">
                    <c:v>Rolling Stdev (30 Minute)</c:v>
                  </c:pt>
                  <c:pt idx="2094">
                    <c:v>Rolling Stdev (30 Minute)</c:v>
                  </c:pt>
                  <c:pt idx="2095">
                    <c:v>Rolling Stdev (30 Minute)</c:v>
                  </c:pt>
                  <c:pt idx="2096">
                    <c:v>Rolling Stdev (30 Minute)</c:v>
                  </c:pt>
                  <c:pt idx="2097">
                    <c:v>Rolling Stdev (30 Minute)</c:v>
                  </c:pt>
                  <c:pt idx="2098">
                    <c:v>Rolling Stdev (30 Minute)</c:v>
                  </c:pt>
                  <c:pt idx="2099">
                    <c:v>Rolling Stdev (30 Minute)</c:v>
                  </c:pt>
                  <c:pt idx="2100">
                    <c:v>Rolling Stdev (30 Minute)</c:v>
                  </c:pt>
                  <c:pt idx="2101">
                    <c:v>Rolling Stdev (30 Minute)</c:v>
                  </c:pt>
                  <c:pt idx="2102">
                    <c:v>Rolling Stdev (30 Minute)</c:v>
                  </c:pt>
                  <c:pt idx="2103">
                    <c:v>Rolling Stdev (30 Minute)</c:v>
                  </c:pt>
                  <c:pt idx="2104">
                    <c:v>Rolling Stdev (30 Minute)</c:v>
                  </c:pt>
                  <c:pt idx="2105">
                    <c:v>Rolling Stdev (30 Minute)</c:v>
                  </c:pt>
                  <c:pt idx="2106">
                    <c:v>Rolling Stdev (30 Minute)</c:v>
                  </c:pt>
                  <c:pt idx="2107">
                    <c:v>Rolling Stdev (30 Minute)</c:v>
                  </c:pt>
                  <c:pt idx="2108">
                    <c:v>Rolling Stdev (30 Minute)</c:v>
                  </c:pt>
                  <c:pt idx="2109">
                    <c:v>Rolling Stdev (30 Minute)</c:v>
                  </c:pt>
                  <c:pt idx="2110">
                    <c:v>Rolling Stdev (30 Minute)</c:v>
                  </c:pt>
                  <c:pt idx="2111">
                    <c:v>Rolling Stdev (30 Minute)</c:v>
                  </c:pt>
                  <c:pt idx="2112">
                    <c:v>Rolling Stdev (30 Minute)</c:v>
                  </c:pt>
                  <c:pt idx="2113">
                    <c:v>Rolling Stdev (30 Minute)</c:v>
                  </c:pt>
                  <c:pt idx="2114">
                    <c:v>Rolling Stdev (30 Minute)</c:v>
                  </c:pt>
                  <c:pt idx="2115">
                    <c:v>Rolling Stdev (30 Minute)</c:v>
                  </c:pt>
                  <c:pt idx="2116">
                    <c:v>Rolling Stdev (30 Minute)</c:v>
                  </c:pt>
                  <c:pt idx="2117">
                    <c:v>Rolling Stdev (30 Minute)</c:v>
                  </c:pt>
                  <c:pt idx="2118">
                    <c:v>Rolling Stdev (30 Minute)</c:v>
                  </c:pt>
                  <c:pt idx="2119">
                    <c:v>Rolling Stdev (30 Minute)</c:v>
                  </c:pt>
                  <c:pt idx="2120">
                    <c:v>Rolling Stdev (30 Minute)</c:v>
                  </c:pt>
                  <c:pt idx="2121">
                    <c:v>Rolling Stdev (30 Minute)</c:v>
                  </c:pt>
                  <c:pt idx="2122">
                    <c:v>Rolling Stdev (30 Minute)</c:v>
                  </c:pt>
                  <c:pt idx="2123">
                    <c:v>Rolling Stdev (30 Minute)</c:v>
                  </c:pt>
                  <c:pt idx="2124">
                    <c:v>Rolling Stdev (30 Minute)</c:v>
                  </c:pt>
                  <c:pt idx="2125">
                    <c:v>Rolling Stdev (30 Minute)</c:v>
                  </c:pt>
                  <c:pt idx="2126">
                    <c:v>Rolling Stdev (30 Minute)</c:v>
                  </c:pt>
                  <c:pt idx="2127">
                    <c:v>Rolling Stdev (30 Minute)</c:v>
                  </c:pt>
                  <c:pt idx="2128">
                    <c:v>Rolling Stdev (30 Minute)</c:v>
                  </c:pt>
                  <c:pt idx="2129">
                    <c:v>Rolling Stdev (30 Minute)</c:v>
                  </c:pt>
                  <c:pt idx="2130">
                    <c:v>Rolling Stdev (30 Minute)</c:v>
                  </c:pt>
                  <c:pt idx="2131">
                    <c:v>Rolling Stdev (30 Minute)</c:v>
                  </c:pt>
                  <c:pt idx="2132">
                    <c:v>Rolling Stdev (30 Minute)</c:v>
                  </c:pt>
                  <c:pt idx="2133">
                    <c:v>Rolling Stdev (30 Minute)</c:v>
                  </c:pt>
                  <c:pt idx="2134">
                    <c:v>Rolling Stdev (30 Minute)</c:v>
                  </c:pt>
                  <c:pt idx="2135">
                    <c:v>Rolling Stdev (30 Minute)</c:v>
                  </c:pt>
                  <c:pt idx="2136">
                    <c:v>Rolling Stdev (30 Minute)</c:v>
                  </c:pt>
                  <c:pt idx="2137">
                    <c:v>Rolling Stdev (30 Minute)</c:v>
                  </c:pt>
                  <c:pt idx="2138">
                    <c:v>Rolling Stdev (30 Minute)</c:v>
                  </c:pt>
                  <c:pt idx="2139">
                    <c:v>Rolling Stdev (30 Minute)</c:v>
                  </c:pt>
                  <c:pt idx="2140">
                    <c:v>Rolling Stdev (30 Minute)</c:v>
                  </c:pt>
                  <c:pt idx="2141">
                    <c:v>Rolling Stdev (30 Minute)</c:v>
                  </c:pt>
                  <c:pt idx="2142">
                    <c:v>Rolling Stdev (30 Minute)</c:v>
                  </c:pt>
                  <c:pt idx="2143">
                    <c:v>Rolling Stdev (30 Minute)</c:v>
                  </c:pt>
                  <c:pt idx="2144">
                    <c:v>Rolling Stdev (30 Minute)</c:v>
                  </c:pt>
                  <c:pt idx="2145">
                    <c:v>Rolling Stdev (30 Minute)</c:v>
                  </c:pt>
                  <c:pt idx="2146">
                    <c:v>Rolling Stdev (30 Minute)</c:v>
                  </c:pt>
                  <c:pt idx="2147">
                    <c:v>Rolling Stdev (30 Minute)</c:v>
                  </c:pt>
                  <c:pt idx="2148">
                    <c:v>Rolling Stdev (30 Minute)</c:v>
                  </c:pt>
                  <c:pt idx="2149">
                    <c:v>Rolling Stdev (30 Minute)</c:v>
                  </c:pt>
                  <c:pt idx="2150">
                    <c:v>Rolling Stdev (30 Minute)</c:v>
                  </c:pt>
                  <c:pt idx="2151">
                    <c:v>Rolling Stdev (30 Minute)</c:v>
                  </c:pt>
                  <c:pt idx="2152">
                    <c:v>Rolling Stdev (30 Minute)</c:v>
                  </c:pt>
                  <c:pt idx="2153">
                    <c:v>Rolling Stdev (30 Minute)</c:v>
                  </c:pt>
                  <c:pt idx="2154">
                    <c:v>Rolling Stdev (30 Minute)</c:v>
                  </c:pt>
                  <c:pt idx="2155">
                    <c:v>Rolling Stdev (30 Minute)</c:v>
                  </c:pt>
                  <c:pt idx="2156">
                    <c:v>Rolling Stdev (30 Minute)</c:v>
                  </c:pt>
                  <c:pt idx="2157">
                    <c:v>Rolling Stdev (30 Minute)</c:v>
                  </c:pt>
                  <c:pt idx="2158">
                    <c:v>Rolling Stdev (30 Minute)</c:v>
                  </c:pt>
                  <c:pt idx="2159">
                    <c:v>Rolling Stdev (30 Minute)</c:v>
                  </c:pt>
                  <c:pt idx="2160">
                    <c:v>Rolling Stdev (30 Minute)</c:v>
                  </c:pt>
                  <c:pt idx="2161">
                    <c:v>Rolling Stdev (30 Minute)</c:v>
                  </c:pt>
                  <c:pt idx="2162">
                    <c:v>Rolling Stdev (30 Minute)</c:v>
                  </c:pt>
                  <c:pt idx="2163">
                    <c:v>Rolling Stdev (30 Minute)</c:v>
                  </c:pt>
                  <c:pt idx="2164">
                    <c:v>Rolling Stdev (30 Minute)</c:v>
                  </c:pt>
                  <c:pt idx="2165">
                    <c:v>Rolling Stdev (30 Minute)</c:v>
                  </c:pt>
                  <c:pt idx="2166">
                    <c:v>Rolling Stdev (30 Minute)</c:v>
                  </c:pt>
                  <c:pt idx="2167">
                    <c:v>Rolling Stdev (30 Minute)</c:v>
                  </c:pt>
                  <c:pt idx="2168">
                    <c:v>Rolling Stdev (30 Minute)</c:v>
                  </c:pt>
                  <c:pt idx="2169">
                    <c:v>Rolling Stdev (30 Minute)</c:v>
                  </c:pt>
                  <c:pt idx="2170">
                    <c:v>Rolling Stdev (30 Minute)</c:v>
                  </c:pt>
                  <c:pt idx="2171">
                    <c:v>Rolling Stdev (30 Minute)</c:v>
                  </c:pt>
                  <c:pt idx="2172">
                    <c:v>Rolling Stdev (30 Minute)</c:v>
                  </c:pt>
                  <c:pt idx="2173">
                    <c:v>Rolling Stdev (30 Minute)</c:v>
                  </c:pt>
                  <c:pt idx="2174">
                    <c:v>Rolling Stdev (30 Minute)</c:v>
                  </c:pt>
                  <c:pt idx="2175">
                    <c:v>Rolling Stdev (30 Minute)</c:v>
                  </c:pt>
                  <c:pt idx="2176">
                    <c:v>Rolling Stdev (30 Minute)</c:v>
                  </c:pt>
                  <c:pt idx="2177">
                    <c:v>Rolling Stdev (30 Minute)</c:v>
                  </c:pt>
                  <c:pt idx="2178">
                    <c:v>Rolling Stdev (30 Minute)</c:v>
                  </c:pt>
                  <c:pt idx="2179">
                    <c:v>Rolling Stdev (30 Minute)</c:v>
                  </c:pt>
                  <c:pt idx="2180">
                    <c:v>Rolling Stdev (30 Minute)</c:v>
                  </c:pt>
                  <c:pt idx="2181">
                    <c:v>Rolling Stdev (30 Minute)</c:v>
                  </c:pt>
                  <c:pt idx="2182">
                    <c:v>Rolling Stdev (30 Minute)</c:v>
                  </c:pt>
                  <c:pt idx="2183">
                    <c:v>Rolling Stdev (30 Minute)</c:v>
                  </c:pt>
                  <c:pt idx="2184">
                    <c:v>Rolling Stdev (30 Minute)</c:v>
                  </c:pt>
                  <c:pt idx="2185">
                    <c:v>Rolling Stdev (30 Minute)</c:v>
                  </c:pt>
                  <c:pt idx="2186">
                    <c:v>Rolling Stdev (30 Minute)</c:v>
                  </c:pt>
                  <c:pt idx="2187">
                    <c:v>Rolling Stdev (30 Minute)</c:v>
                  </c:pt>
                  <c:pt idx="2188">
                    <c:v>Rolling Stdev (30 Minute)</c:v>
                  </c:pt>
                  <c:pt idx="2189">
                    <c:v>Rolling Stdev (30 Minute)</c:v>
                  </c:pt>
                  <c:pt idx="2190">
                    <c:v>Rolling Stdev (30 Minute)</c:v>
                  </c:pt>
                  <c:pt idx="2191">
                    <c:v>Rolling Stdev (30 Minute)</c:v>
                  </c:pt>
                  <c:pt idx="2192">
                    <c:v>Rolling Stdev (30 Minute)</c:v>
                  </c:pt>
                  <c:pt idx="2193">
                    <c:v>Rolling Stdev (30 Minute)</c:v>
                  </c:pt>
                  <c:pt idx="2194">
                    <c:v>Rolling Stdev (30 Minute)</c:v>
                  </c:pt>
                  <c:pt idx="2195">
                    <c:v>Rolling Stdev (30 Minute)</c:v>
                  </c:pt>
                  <c:pt idx="2196">
                    <c:v>Rolling Stdev (30 Minute)</c:v>
                  </c:pt>
                  <c:pt idx="2197">
                    <c:v>Rolling Stdev (30 Minute)</c:v>
                  </c:pt>
                  <c:pt idx="2198">
                    <c:v>Rolling Stdev (30 Minute)</c:v>
                  </c:pt>
                  <c:pt idx="2199">
                    <c:v>Rolling Stdev (30 Minute)</c:v>
                  </c:pt>
                  <c:pt idx="2200">
                    <c:v>Rolling Stdev (30 Minute)</c:v>
                  </c:pt>
                  <c:pt idx="2201">
                    <c:v>Rolling Stdev (30 Minute)</c:v>
                  </c:pt>
                  <c:pt idx="2202">
                    <c:v>Rolling Stdev (30 Minute)</c:v>
                  </c:pt>
                  <c:pt idx="2203">
                    <c:v>Rolling Stdev (30 Minute)</c:v>
                  </c:pt>
                  <c:pt idx="2204">
                    <c:v>Rolling Stdev (30 Minute)</c:v>
                  </c:pt>
                  <c:pt idx="2205">
                    <c:v>Rolling Stdev (30 Minute)</c:v>
                  </c:pt>
                  <c:pt idx="2206">
                    <c:v>Rolling Stdev (30 Minute)</c:v>
                  </c:pt>
                  <c:pt idx="2207">
                    <c:v>Rolling Stdev (30 Minute)</c:v>
                  </c:pt>
                  <c:pt idx="2208">
                    <c:v>Rolling Stdev (30 Minute)</c:v>
                  </c:pt>
                  <c:pt idx="2209">
                    <c:v>Rolling Stdev (30 Minute)</c:v>
                  </c:pt>
                  <c:pt idx="2210">
                    <c:v>Rolling Stdev (30 Minute)</c:v>
                  </c:pt>
                  <c:pt idx="2211">
                    <c:v>Rolling Stdev (30 Minute)</c:v>
                  </c:pt>
                  <c:pt idx="2212">
                    <c:v>Rolling Stdev (30 Minute)</c:v>
                  </c:pt>
                  <c:pt idx="2213">
                    <c:v>Rolling Stdev (30 Minute)</c:v>
                  </c:pt>
                  <c:pt idx="2214">
                    <c:v>Rolling Stdev (30 Minute)</c:v>
                  </c:pt>
                  <c:pt idx="2215">
                    <c:v>Rolling Stdev (30 Minute)</c:v>
                  </c:pt>
                  <c:pt idx="2216">
                    <c:v>Rolling Stdev (30 Minute)</c:v>
                  </c:pt>
                  <c:pt idx="2217">
                    <c:v>Rolling Stdev (30 Minute)</c:v>
                  </c:pt>
                  <c:pt idx="2218">
                    <c:v>Rolling Stdev (30 Minute)</c:v>
                  </c:pt>
                  <c:pt idx="2219">
                    <c:v>Rolling Stdev (30 Minute)</c:v>
                  </c:pt>
                  <c:pt idx="2220">
                    <c:v>Rolling Stdev (30 Minute)</c:v>
                  </c:pt>
                  <c:pt idx="2221">
                    <c:v>Rolling Stdev (30 Minute)</c:v>
                  </c:pt>
                  <c:pt idx="2222">
                    <c:v>Rolling Stdev (30 Minute)</c:v>
                  </c:pt>
                  <c:pt idx="2223">
                    <c:v>Rolling Stdev (30 Minute)</c:v>
                  </c:pt>
                  <c:pt idx="2224">
                    <c:v>Rolling Stdev (30 Minute)</c:v>
                  </c:pt>
                  <c:pt idx="2225">
                    <c:v>Rolling Stdev (30 Minute)</c:v>
                  </c:pt>
                  <c:pt idx="2226">
                    <c:v>Rolling Stdev (30 Minute)</c:v>
                  </c:pt>
                  <c:pt idx="2227">
                    <c:v>Rolling Stdev (30 Minute)</c:v>
                  </c:pt>
                  <c:pt idx="2228">
                    <c:v>Rolling Stdev (30 Minute)</c:v>
                  </c:pt>
                  <c:pt idx="2229">
                    <c:v>Rolling Stdev (30 Minute)</c:v>
                  </c:pt>
                  <c:pt idx="2230">
                    <c:v>Rolling Stdev (30 Minute)</c:v>
                  </c:pt>
                  <c:pt idx="2231">
                    <c:v>Rolling Stdev (30 Minute)</c:v>
                  </c:pt>
                  <c:pt idx="2232">
                    <c:v>Rolling Stdev (30 Minute)</c:v>
                  </c:pt>
                  <c:pt idx="2233">
                    <c:v>Rolling Stdev (30 Minute)</c:v>
                  </c:pt>
                  <c:pt idx="2234">
                    <c:v>Rolling Stdev (30 Minute)</c:v>
                  </c:pt>
                  <c:pt idx="2235">
                    <c:v>Rolling Stdev (30 Minute)</c:v>
                  </c:pt>
                  <c:pt idx="2236">
                    <c:v>Rolling Stdev (30 Minute)</c:v>
                  </c:pt>
                  <c:pt idx="2237">
                    <c:v>Rolling Stdev (30 Minute)</c:v>
                  </c:pt>
                  <c:pt idx="2238">
                    <c:v>Rolling Stdev (30 Minute)</c:v>
                  </c:pt>
                  <c:pt idx="2239">
                    <c:v>Rolling Stdev (30 Minute)</c:v>
                  </c:pt>
                  <c:pt idx="2240">
                    <c:v>Rolling Stdev (30 Minute)</c:v>
                  </c:pt>
                  <c:pt idx="2241">
                    <c:v>Rolling Stdev (30 Minute)</c:v>
                  </c:pt>
                  <c:pt idx="2242">
                    <c:v>Rolling Stdev (30 Minute)</c:v>
                  </c:pt>
                  <c:pt idx="2243">
                    <c:v>Rolling Stdev (30 Minute)</c:v>
                  </c:pt>
                  <c:pt idx="2244">
                    <c:v>Rolling Stdev (30 Minute)</c:v>
                  </c:pt>
                  <c:pt idx="2245">
                    <c:v>Rolling Stdev (30 Minute)</c:v>
                  </c:pt>
                  <c:pt idx="2246">
                    <c:v>Rolling Stdev (30 Minute)</c:v>
                  </c:pt>
                  <c:pt idx="2247">
                    <c:v>Rolling Stdev (30 Minute)</c:v>
                  </c:pt>
                  <c:pt idx="2248">
                    <c:v>Rolling Stdev (30 Minute)</c:v>
                  </c:pt>
                  <c:pt idx="2249">
                    <c:v>Rolling Stdev (30 Minute)</c:v>
                  </c:pt>
                  <c:pt idx="2250">
                    <c:v>Rolling Stdev (30 Minute)</c:v>
                  </c:pt>
                  <c:pt idx="2251">
                    <c:v>Rolling Stdev (30 Minute)</c:v>
                  </c:pt>
                  <c:pt idx="2252">
                    <c:v>Rolling Stdev (30 Minute)</c:v>
                  </c:pt>
                  <c:pt idx="2253">
                    <c:v>Rolling Stdev (30 Minute)</c:v>
                  </c:pt>
                  <c:pt idx="2254">
                    <c:v>Rolling Stdev (30 Minute)</c:v>
                  </c:pt>
                  <c:pt idx="2255">
                    <c:v>Rolling Stdev (30 Minute)</c:v>
                  </c:pt>
                  <c:pt idx="2256">
                    <c:v>Rolling Stdev (30 Minute)</c:v>
                  </c:pt>
                  <c:pt idx="2257">
                    <c:v>Rolling Stdev (30 Minute)</c:v>
                  </c:pt>
                  <c:pt idx="2258">
                    <c:v>Rolling Stdev (30 Minute)</c:v>
                  </c:pt>
                  <c:pt idx="2259">
                    <c:v>Rolling Stdev (30 Minute)</c:v>
                  </c:pt>
                  <c:pt idx="2260">
                    <c:v>Rolling Stdev (30 Minute)</c:v>
                  </c:pt>
                  <c:pt idx="2261">
                    <c:v>Rolling Stdev (30 Minute)</c:v>
                  </c:pt>
                  <c:pt idx="2262">
                    <c:v>Rolling Stdev (30 Minute)</c:v>
                  </c:pt>
                  <c:pt idx="2263">
                    <c:v>Rolling Stdev (30 Minute)</c:v>
                  </c:pt>
                  <c:pt idx="2264">
                    <c:v>Rolling Stdev (30 Minute)</c:v>
                  </c:pt>
                  <c:pt idx="2265">
                    <c:v>Rolling Stdev (30 Minute)</c:v>
                  </c:pt>
                  <c:pt idx="2266">
                    <c:v>Rolling Stdev (30 Minute)</c:v>
                  </c:pt>
                  <c:pt idx="2267">
                    <c:v>Rolling Stdev (30 Minute)</c:v>
                  </c:pt>
                  <c:pt idx="2268">
                    <c:v>Rolling Stdev (30 Minute)</c:v>
                  </c:pt>
                  <c:pt idx="2269">
                    <c:v>Rolling Stdev (30 Minute)</c:v>
                  </c:pt>
                  <c:pt idx="2270">
                    <c:v>Rolling Stdev (30 Minute)</c:v>
                  </c:pt>
                  <c:pt idx="2271">
                    <c:v>Rolling Stdev (30 Minute)</c:v>
                  </c:pt>
                  <c:pt idx="2272">
                    <c:v>Rolling Stdev (30 Minute)</c:v>
                  </c:pt>
                  <c:pt idx="2273">
                    <c:v>Rolling Stdev (30 Minute)</c:v>
                  </c:pt>
                  <c:pt idx="2274">
                    <c:v>Rolling Stdev (30 Minute)</c:v>
                  </c:pt>
                  <c:pt idx="2275">
                    <c:v>Rolling Stdev (30 Minute)</c:v>
                  </c:pt>
                  <c:pt idx="2276">
                    <c:v>Rolling Stdev (30 Minute)</c:v>
                  </c:pt>
                  <c:pt idx="2277">
                    <c:v>Rolling Stdev (30 Minute)</c:v>
                  </c:pt>
                  <c:pt idx="2278">
                    <c:v>Rolling Stdev (30 Minute)</c:v>
                  </c:pt>
                  <c:pt idx="2279">
                    <c:v>Rolling Stdev (30 Minute)</c:v>
                  </c:pt>
                  <c:pt idx="2280">
                    <c:v>Rolling Stdev (30 Minute)</c:v>
                  </c:pt>
                  <c:pt idx="2281">
                    <c:v>Rolling Stdev (30 Minute)</c:v>
                  </c:pt>
                  <c:pt idx="2282">
                    <c:v>Rolling Stdev (30 Minute)</c:v>
                  </c:pt>
                  <c:pt idx="2283">
                    <c:v>Rolling Stdev (30 Minute)</c:v>
                  </c:pt>
                  <c:pt idx="2284">
                    <c:v>Rolling Stdev (30 Minute)</c:v>
                  </c:pt>
                  <c:pt idx="2285">
                    <c:v>Rolling Stdev (30 Minute)</c:v>
                  </c:pt>
                  <c:pt idx="2286">
                    <c:v>Rolling Stdev (30 Minute)</c:v>
                  </c:pt>
                  <c:pt idx="2287">
                    <c:v>Rolling Stdev (30 Minute)</c:v>
                  </c:pt>
                  <c:pt idx="2288">
                    <c:v>Rolling Stdev (30 Minute)</c:v>
                  </c:pt>
                  <c:pt idx="2289">
                    <c:v>Rolling Stdev (30 Minute)</c:v>
                  </c:pt>
                  <c:pt idx="2290">
                    <c:v>Rolling Stdev (30 Minute)</c:v>
                  </c:pt>
                  <c:pt idx="2291">
                    <c:v>Rolling Stdev (30 Minute)</c:v>
                  </c:pt>
                  <c:pt idx="2292">
                    <c:v>Rolling Stdev (30 Minute)</c:v>
                  </c:pt>
                  <c:pt idx="2293">
                    <c:v>Rolling Stdev (30 Minute)</c:v>
                  </c:pt>
                  <c:pt idx="2294">
                    <c:v>Rolling Stdev (30 Minute)</c:v>
                  </c:pt>
                  <c:pt idx="2295">
                    <c:v>Rolling Stdev (30 Minute)</c:v>
                  </c:pt>
                  <c:pt idx="2296">
                    <c:v>Rolling Stdev (30 Minute)</c:v>
                  </c:pt>
                  <c:pt idx="2297">
                    <c:v>Rolling Stdev (30 Minute)</c:v>
                  </c:pt>
                  <c:pt idx="2298">
                    <c:v>Rolling Stdev (30 Minute)</c:v>
                  </c:pt>
                  <c:pt idx="2299">
                    <c:v>Rolling Stdev (30 Minute)</c:v>
                  </c:pt>
                  <c:pt idx="2300">
                    <c:v>Rolling Stdev (30 Minute)</c:v>
                  </c:pt>
                  <c:pt idx="2301">
                    <c:v>Rolling Stdev (30 Minute)</c:v>
                  </c:pt>
                  <c:pt idx="2302">
                    <c:v>Rolling Stdev (30 Minute)</c:v>
                  </c:pt>
                  <c:pt idx="2303">
                    <c:v>Rolling Stdev (30 Minute)</c:v>
                  </c:pt>
                  <c:pt idx="2304">
                    <c:v>Rolling Stdev (30 Minute)</c:v>
                  </c:pt>
                  <c:pt idx="2305">
                    <c:v>Rolling Stdev (30 Minute)</c:v>
                  </c:pt>
                  <c:pt idx="2306">
                    <c:v>Rolling Stdev (30 Minute)</c:v>
                  </c:pt>
                  <c:pt idx="2307">
                    <c:v>Rolling Stdev (30 Minute)</c:v>
                  </c:pt>
                  <c:pt idx="2308">
                    <c:v>Rolling Stdev (30 Minute)</c:v>
                  </c:pt>
                  <c:pt idx="2309">
                    <c:v>Rolling Stdev (30 Minute)</c:v>
                  </c:pt>
                  <c:pt idx="2310">
                    <c:v>Rolling Stdev (30 Minute)</c:v>
                  </c:pt>
                  <c:pt idx="2311">
                    <c:v>Rolling Stdev (30 Minute)</c:v>
                  </c:pt>
                  <c:pt idx="2312">
                    <c:v>Rolling Stdev (30 Minute)</c:v>
                  </c:pt>
                  <c:pt idx="2313">
                    <c:v>Rolling Stdev (30 Minute)</c:v>
                  </c:pt>
                  <c:pt idx="2314">
                    <c:v>Rolling Stdev (30 Minute)</c:v>
                  </c:pt>
                  <c:pt idx="2315">
                    <c:v>Rolling Stdev (30 Minute)</c:v>
                  </c:pt>
                  <c:pt idx="2316">
                    <c:v>Rolling Stdev (30 Minute)</c:v>
                  </c:pt>
                  <c:pt idx="2317">
                    <c:v>Rolling Stdev (30 Minute)</c:v>
                  </c:pt>
                  <c:pt idx="2318">
                    <c:v>Rolling Stdev (30 Minute)</c:v>
                  </c:pt>
                  <c:pt idx="2319">
                    <c:v>Rolling Stdev (30 Minute)</c:v>
                  </c:pt>
                  <c:pt idx="2320">
                    <c:v>Rolling Stdev (30 Minute)</c:v>
                  </c:pt>
                  <c:pt idx="2321">
                    <c:v>Rolling Stdev (30 Minute)</c:v>
                  </c:pt>
                  <c:pt idx="2322">
                    <c:v>Rolling Stdev (30 Minute)</c:v>
                  </c:pt>
                  <c:pt idx="2323">
                    <c:v>Rolling Stdev (30 Minute)</c:v>
                  </c:pt>
                  <c:pt idx="2324">
                    <c:v>Rolling Stdev (30 Minute)</c:v>
                  </c:pt>
                  <c:pt idx="2325">
                    <c:v>Rolling Stdev (30 Minute)</c:v>
                  </c:pt>
                  <c:pt idx="2326">
                    <c:v>Rolling Stdev (30 Minute)</c:v>
                  </c:pt>
                  <c:pt idx="2327">
                    <c:v>Rolling Stdev (30 Minute)</c:v>
                  </c:pt>
                  <c:pt idx="2328">
                    <c:v>Rolling Stdev (30 Minute)</c:v>
                  </c:pt>
                  <c:pt idx="2329">
                    <c:v>Rolling Stdev (30 Minute)</c:v>
                  </c:pt>
                  <c:pt idx="2330">
                    <c:v>Rolling Stdev (30 Minute)</c:v>
                  </c:pt>
                  <c:pt idx="2331">
                    <c:v>Rolling Stdev (30 Minute)</c:v>
                  </c:pt>
                  <c:pt idx="2332">
                    <c:v>Rolling Stdev (30 Minute)</c:v>
                  </c:pt>
                  <c:pt idx="2333">
                    <c:v>Rolling Stdev (30 Minute)</c:v>
                  </c:pt>
                  <c:pt idx="2334">
                    <c:v>Rolling Stdev (30 Minute)</c:v>
                  </c:pt>
                  <c:pt idx="2335">
                    <c:v>Rolling Stdev (30 Minute)</c:v>
                  </c:pt>
                  <c:pt idx="2336">
                    <c:v>Rolling Stdev (30 Minute)</c:v>
                  </c:pt>
                  <c:pt idx="2337">
                    <c:v>Rolling Stdev (30 Minute)</c:v>
                  </c:pt>
                  <c:pt idx="2338">
                    <c:v>Rolling Stdev (30 Minute)</c:v>
                  </c:pt>
                  <c:pt idx="2339">
                    <c:v>Rolling Stdev (30 Minute)</c:v>
                  </c:pt>
                  <c:pt idx="2340">
                    <c:v>Rolling Stdev (30 Minute)</c:v>
                  </c:pt>
                  <c:pt idx="2341">
                    <c:v>Rolling Stdev (30 Minute)</c:v>
                  </c:pt>
                  <c:pt idx="2342">
                    <c:v>Rolling Stdev (30 Minute)</c:v>
                  </c:pt>
                  <c:pt idx="2343">
                    <c:v>Rolling Stdev (30 Minute)</c:v>
                  </c:pt>
                  <c:pt idx="2344">
                    <c:v>Rolling Stdev (30 Minute)</c:v>
                  </c:pt>
                  <c:pt idx="2345">
                    <c:v>Rolling Stdev (30 Minute)</c:v>
                  </c:pt>
                  <c:pt idx="2346">
                    <c:v>Rolling Stdev (30 Minute)</c:v>
                  </c:pt>
                  <c:pt idx="2347">
                    <c:v>Rolling Stdev (30 Minute)</c:v>
                  </c:pt>
                  <c:pt idx="2348">
                    <c:v>Rolling Stdev (30 Minute)</c:v>
                  </c:pt>
                  <c:pt idx="2349">
                    <c:v>Rolling Stdev (30 Minute)</c:v>
                  </c:pt>
                  <c:pt idx="2350">
                    <c:v>Rolling Stdev (30 Minute)</c:v>
                  </c:pt>
                  <c:pt idx="2351">
                    <c:v>Rolling Stdev (30 Minute)</c:v>
                  </c:pt>
                  <c:pt idx="2352">
                    <c:v>Rolling Stdev (30 Minute)</c:v>
                  </c:pt>
                  <c:pt idx="2353">
                    <c:v>Rolling Stdev (30 Minute)</c:v>
                  </c:pt>
                  <c:pt idx="2354">
                    <c:v>Rolling Stdev (30 Minute)</c:v>
                  </c:pt>
                  <c:pt idx="2355">
                    <c:v>Rolling Stdev (30 Minute)</c:v>
                  </c:pt>
                  <c:pt idx="2356">
                    <c:v>Rolling Stdev (30 Minute)</c:v>
                  </c:pt>
                  <c:pt idx="2357">
                    <c:v>Rolling Stdev (30 Minute)</c:v>
                  </c:pt>
                  <c:pt idx="2358">
                    <c:v>Rolling Stdev (30 Minute)</c:v>
                  </c:pt>
                  <c:pt idx="2359">
                    <c:v>Rolling Stdev (30 Minute)</c:v>
                  </c:pt>
                  <c:pt idx="2360">
                    <c:v>Rolling Stdev (30 Minute)</c:v>
                  </c:pt>
                  <c:pt idx="2361">
                    <c:v>Rolling Stdev (30 Minute)</c:v>
                  </c:pt>
                  <c:pt idx="2362">
                    <c:v>Rolling Stdev (30 Minute)</c:v>
                  </c:pt>
                  <c:pt idx="2363">
                    <c:v>Rolling Stdev (30 Minute)</c:v>
                  </c:pt>
                  <c:pt idx="2364">
                    <c:v>Rolling Stdev (30 Minute)</c:v>
                  </c:pt>
                  <c:pt idx="2365">
                    <c:v>Rolling Stdev (30 Minute)</c:v>
                  </c:pt>
                  <c:pt idx="2366">
                    <c:v>Rolling Stdev (30 Minute)</c:v>
                  </c:pt>
                  <c:pt idx="2367">
                    <c:v>Rolling Stdev (30 Minute)</c:v>
                  </c:pt>
                  <c:pt idx="2368">
                    <c:v>Rolling Stdev (30 Minute)</c:v>
                  </c:pt>
                  <c:pt idx="2369">
                    <c:v>Rolling Stdev (30 Minute)</c:v>
                  </c:pt>
                  <c:pt idx="2370">
                    <c:v>Rolling Stdev (30 Minute)</c:v>
                  </c:pt>
                  <c:pt idx="2371">
                    <c:v>Rolling Stdev (30 Minute)</c:v>
                  </c:pt>
                  <c:pt idx="2372">
                    <c:v>Rolling Stdev (30 Minute)</c:v>
                  </c:pt>
                  <c:pt idx="2373">
                    <c:v>Rolling Stdev (30 Minute)</c:v>
                  </c:pt>
                  <c:pt idx="2374">
                    <c:v>Rolling Stdev (30 Minute)</c:v>
                  </c:pt>
                  <c:pt idx="2375">
                    <c:v>Rolling Stdev (30 Minute)</c:v>
                  </c:pt>
                  <c:pt idx="2376">
                    <c:v>Rolling Stdev (30 Minute)</c:v>
                  </c:pt>
                  <c:pt idx="2377">
                    <c:v>Rolling Stdev (30 Minute)</c:v>
                  </c:pt>
                  <c:pt idx="2378">
                    <c:v>Rolling Stdev (30 Minute)</c:v>
                  </c:pt>
                  <c:pt idx="2379">
                    <c:v>Rolling Stdev (30 Minute)</c:v>
                  </c:pt>
                  <c:pt idx="2380">
                    <c:v>Rolling Stdev (30 Minute)</c:v>
                  </c:pt>
                  <c:pt idx="2381">
                    <c:v>Rolling Stdev (30 Minute)</c:v>
                  </c:pt>
                  <c:pt idx="2382">
                    <c:v>Rolling Stdev (30 Minute)</c:v>
                  </c:pt>
                  <c:pt idx="2383">
                    <c:v>Rolling Stdev (30 Minute)</c:v>
                  </c:pt>
                  <c:pt idx="2384">
                    <c:v>Rolling Stdev (30 Minute)</c:v>
                  </c:pt>
                  <c:pt idx="2385">
                    <c:v>Rolling Stdev (30 Minute)</c:v>
                  </c:pt>
                  <c:pt idx="2386">
                    <c:v>Rolling Stdev (30 Minute)</c:v>
                  </c:pt>
                  <c:pt idx="2387">
                    <c:v>Rolling Stdev (30 Minute)</c:v>
                  </c:pt>
                  <c:pt idx="2388">
                    <c:v>Rolling Stdev (30 Minute)</c:v>
                  </c:pt>
                  <c:pt idx="2389">
                    <c:v>Rolling Stdev (30 Minute)</c:v>
                  </c:pt>
                  <c:pt idx="2390">
                    <c:v>Rolling Stdev (30 Minute)</c:v>
                  </c:pt>
                  <c:pt idx="2391">
                    <c:v>Rolling Stdev (30 Minute)</c:v>
                  </c:pt>
                  <c:pt idx="2392">
                    <c:v>Rolling Stdev (30 Minute)</c:v>
                  </c:pt>
                  <c:pt idx="2393">
                    <c:v>Rolling Stdev (30 Minute)</c:v>
                  </c:pt>
                  <c:pt idx="2394">
                    <c:v>Rolling Stdev (30 Minute)</c:v>
                  </c:pt>
                  <c:pt idx="2395">
                    <c:v>Rolling Stdev (30 Minute)</c:v>
                  </c:pt>
                  <c:pt idx="2396">
                    <c:v>Rolling Stdev (30 Minute)</c:v>
                  </c:pt>
                  <c:pt idx="2397">
                    <c:v>Rolling Stdev (30 Minute)</c:v>
                  </c:pt>
                  <c:pt idx="2398">
                    <c:v>Rolling Stdev (30 Minute)</c:v>
                  </c:pt>
                  <c:pt idx="2399">
                    <c:v>Rolling Stdev (30 Minute)</c:v>
                  </c:pt>
                  <c:pt idx="2400">
                    <c:v>Rolling Stdev (30 Minute)</c:v>
                  </c:pt>
                  <c:pt idx="2401">
                    <c:v>Rolling Stdev (30 Minute)</c:v>
                  </c:pt>
                  <c:pt idx="2402">
                    <c:v>Rolling Stdev (30 Minute)</c:v>
                  </c:pt>
                  <c:pt idx="2403">
                    <c:v>Rolling Stdev (30 Minute)</c:v>
                  </c:pt>
                  <c:pt idx="2404">
                    <c:v>Rolling Stdev (30 Minute)</c:v>
                  </c:pt>
                  <c:pt idx="2405">
                    <c:v>Rolling Stdev (30 Minute)</c:v>
                  </c:pt>
                  <c:pt idx="2406">
                    <c:v>Rolling Stdev (30 Minute)</c:v>
                  </c:pt>
                  <c:pt idx="2407">
                    <c:v>Rolling Stdev (30 Minute)</c:v>
                  </c:pt>
                  <c:pt idx="2408">
                    <c:v>Rolling Stdev (30 Minute)</c:v>
                  </c:pt>
                  <c:pt idx="2409">
                    <c:v>Rolling Stdev (30 Minute)</c:v>
                  </c:pt>
                  <c:pt idx="2410">
                    <c:v>Rolling Stdev (30 Minute)</c:v>
                  </c:pt>
                  <c:pt idx="2411">
                    <c:v>Rolling Stdev (30 Minute)</c:v>
                  </c:pt>
                  <c:pt idx="2412">
                    <c:v>Rolling Stdev (30 Minute)</c:v>
                  </c:pt>
                  <c:pt idx="2413">
                    <c:v>Rolling Stdev (30 Minute)</c:v>
                  </c:pt>
                  <c:pt idx="2414">
                    <c:v>Rolling Stdev (30 Minute)</c:v>
                  </c:pt>
                  <c:pt idx="2415">
                    <c:v>Rolling Stdev (30 Minute)</c:v>
                  </c:pt>
                  <c:pt idx="2416">
                    <c:v>Rolling Stdev (30 Minute)</c:v>
                  </c:pt>
                  <c:pt idx="2417">
                    <c:v>Rolling Stdev (30 Minute)</c:v>
                  </c:pt>
                  <c:pt idx="2418">
                    <c:v>Rolling Stdev (30 Minute)</c:v>
                  </c:pt>
                  <c:pt idx="2419">
                    <c:v>Rolling Stdev (30 Minute)</c:v>
                  </c:pt>
                  <c:pt idx="2420">
                    <c:v>Rolling Stdev (30 Minute)</c:v>
                  </c:pt>
                  <c:pt idx="2421">
                    <c:v>Rolling Stdev (30 Minute)</c:v>
                  </c:pt>
                  <c:pt idx="2422">
                    <c:v>Rolling Stdev (30 Minute)</c:v>
                  </c:pt>
                  <c:pt idx="2423">
                    <c:v>Rolling Stdev (30 Minute)</c:v>
                  </c:pt>
                  <c:pt idx="2424">
                    <c:v>Rolling Stdev (30 Minute)</c:v>
                  </c:pt>
                  <c:pt idx="2425">
                    <c:v>Rolling Stdev (30 Minute)</c:v>
                  </c:pt>
                  <c:pt idx="2426">
                    <c:v>Rolling Stdev (30 Minute)</c:v>
                  </c:pt>
                  <c:pt idx="2427">
                    <c:v>Rolling Stdev (30 Minute)</c:v>
                  </c:pt>
                  <c:pt idx="2428">
                    <c:v>Rolling Stdev (30 Minute)</c:v>
                  </c:pt>
                  <c:pt idx="2429">
                    <c:v>Rolling Stdev (30 Minute)</c:v>
                  </c:pt>
                  <c:pt idx="2430">
                    <c:v>Rolling Stdev (30 Minute)</c:v>
                  </c:pt>
                  <c:pt idx="2431">
                    <c:v>Rolling Stdev (30 Minute)</c:v>
                  </c:pt>
                  <c:pt idx="2432">
                    <c:v>Rolling Stdev (30 Minute)</c:v>
                  </c:pt>
                  <c:pt idx="2433">
                    <c:v>Rolling Stdev (30 Minute)</c:v>
                  </c:pt>
                  <c:pt idx="2434">
                    <c:v>Rolling Stdev (30 Minute)</c:v>
                  </c:pt>
                  <c:pt idx="2435">
                    <c:v>Rolling Stdev (30 Minute)</c:v>
                  </c:pt>
                  <c:pt idx="2436">
                    <c:v>Rolling Stdev (30 Minute)</c:v>
                  </c:pt>
                  <c:pt idx="2437">
                    <c:v>Rolling Stdev (30 Minute)</c:v>
                  </c:pt>
                  <c:pt idx="2438">
                    <c:v>Rolling Stdev (30 Minute)</c:v>
                  </c:pt>
                  <c:pt idx="2439">
                    <c:v>Rolling Stdev (30 Minute)</c:v>
                  </c:pt>
                  <c:pt idx="2440">
                    <c:v>Rolling Stdev (30 Minute)</c:v>
                  </c:pt>
                  <c:pt idx="2441">
                    <c:v>Rolling Stdev (30 Minute)</c:v>
                  </c:pt>
                  <c:pt idx="2442">
                    <c:v>Rolling Stdev (30 Minute)</c:v>
                  </c:pt>
                  <c:pt idx="2443">
                    <c:v>Rolling Stdev (30 Minute)</c:v>
                  </c:pt>
                  <c:pt idx="2444">
                    <c:v>Rolling Stdev (30 Minute)</c:v>
                  </c:pt>
                  <c:pt idx="2445">
                    <c:v>Rolling Stdev (30 Minute)</c:v>
                  </c:pt>
                  <c:pt idx="2446">
                    <c:v>Rolling Stdev (30 Minute)</c:v>
                  </c:pt>
                  <c:pt idx="2447">
                    <c:v>Rolling Stdev (30 Minute)</c:v>
                  </c:pt>
                  <c:pt idx="2448">
                    <c:v>Rolling Stdev (30 Minute)</c:v>
                  </c:pt>
                  <c:pt idx="2449">
                    <c:v>Rolling Stdev (30 Minute)</c:v>
                  </c:pt>
                  <c:pt idx="2450">
                    <c:v>Rolling Stdev (30 Minute)</c:v>
                  </c:pt>
                  <c:pt idx="2451">
                    <c:v>Rolling Stdev (30 Minute)</c:v>
                  </c:pt>
                </c:lvl>
              </c:multiLvlStrCache>
            </c:multiLvlStrRef>
          </c:cat>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3-6785-41B4-BCE1-ECD89FF12F5A}"/>
            </c:ext>
          </c:extLst>
        </c:ser>
        <c:dLbls>
          <c:showLegendKey val="0"/>
          <c:showVal val="0"/>
          <c:showCatName val="0"/>
          <c:showSerName val="0"/>
          <c:showPercent val="0"/>
          <c:showBubbleSize val="0"/>
        </c:dLbls>
        <c:marker val="1"/>
        <c:smooth val="0"/>
        <c:axId val="665428543"/>
        <c:axId val="207116831"/>
      </c:lineChart>
      <c:lineChart>
        <c:grouping val="standard"/>
        <c:varyColors val="0"/>
        <c:ser>
          <c:idx val="2"/>
          <c:order val="2"/>
          <c:tx>
            <c:strRef>
              <c:f>'DRT Rolling Stdev'!$E$1</c:f>
              <c:strCache>
                <c:ptCount val="1"/>
                <c:pt idx="0">
                  <c:v>Pump Speed (RPM)</c:v>
                </c:pt>
              </c:strCache>
            </c:strRef>
          </c:tx>
          <c:spPr>
            <a:ln w="28575" cap="rnd">
              <a:solidFill>
                <a:schemeClr val="accent3"/>
              </a:solidFill>
              <a:round/>
            </a:ln>
            <a:effectLst/>
          </c:spPr>
          <c:marker>
            <c:symbol val="none"/>
          </c:marker>
          <c:cat>
            <c:multiLvlStrRef>
              <c:f>'DRT Rolling Stdev'!$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Stdev (30 Minute)</c:v>
                  </c:pt>
                  <c:pt idx="1">
                    <c:v>Rolling Stdev (30 Minute)</c:v>
                  </c:pt>
                  <c:pt idx="2">
                    <c:v>Rolling Stdev (30 Minute)</c:v>
                  </c:pt>
                  <c:pt idx="3">
                    <c:v>Rolling Stdev (30 Minute)</c:v>
                  </c:pt>
                  <c:pt idx="4">
                    <c:v>Rolling Stdev (30 Minute)</c:v>
                  </c:pt>
                  <c:pt idx="5">
                    <c:v>Rolling Stdev (30 Minute)</c:v>
                  </c:pt>
                  <c:pt idx="6">
                    <c:v>Rolling Stdev (30 Minute)</c:v>
                  </c:pt>
                  <c:pt idx="7">
                    <c:v>Rolling Stdev (30 Minute)</c:v>
                  </c:pt>
                  <c:pt idx="8">
                    <c:v>Rolling Stdev (30 Minute)</c:v>
                  </c:pt>
                  <c:pt idx="9">
                    <c:v>Rolling Stdev (30 Minute)</c:v>
                  </c:pt>
                  <c:pt idx="10">
                    <c:v>Rolling Stdev (30 Minute)</c:v>
                  </c:pt>
                  <c:pt idx="11">
                    <c:v>Rolling Stdev (30 Minute)</c:v>
                  </c:pt>
                  <c:pt idx="12">
                    <c:v>Rolling Stdev (30 Minute)</c:v>
                  </c:pt>
                  <c:pt idx="13">
                    <c:v>Rolling Stdev (30 Minute)</c:v>
                  </c:pt>
                  <c:pt idx="14">
                    <c:v>Rolling Stdev (30 Minute)</c:v>
                  </c:pt>
                  <c:pt idx="15">
                    <c:v>Rolling Stdev (30 Minute)</c:v>
                  </c:pt>
                  <c:pt idx="16">
                    <c:v>Rolling Stdev (30 Minute)</c:v>
                  </c:pt>
                  <c:pt idx="17">
                    <c:v>Rolling Stdev (30 Minute)</c:v>
                  </c:pt>
                  <c:pt idx="18">
                    <c:v>Rolling Stdev (30 Minute)</c:v>
                  </c:pt>
                  <c:pt idx="19">
                    <c:v>Rolling Stdev (30 Minute)</c:v>
                  </c:pt>
                  <c:pt idx="20">
                    <c:v>Rolling Stdev (30 Minute)</c:v>
                  </c:pt>
                  <c:pt idx="21">
                    <c:v>Rolling Stdev (30 Minute)</c:v>
                  </c:pt>
                  <c:pt idx="22">
                    <c:v>Rolling Stdev (30 Minute)</c:v>
                  </c:pt>
                  <c:pt idx="23">
                    <c:v>Rolling Stdev (30 Minute)</c:v>
                  </c:pt>
                  <c:pt idx="24">
                    <c:v>Rolling Stdev (30 Minute)</c:v>
                  </c:pt>
                  <c:pt idx="25">
                    <c:v>Rolling Stdev (30 Minute)</c:v>
                  </c:pt>
                  <c:pt idx="26">
                    <c:v>Rolling Stdev (30 Minute)</c:v>
                  </c:pt>
                  <c:pt idx="27">
                    <c:v>Rolling Stdev (30 Minute)</c:v>
                  </c:pt>
                  <c:pt idx="28">
                    <c:v>Rolling Stdev (30 Minute)</c:v>
                  </c:pt>
                  <c:pt idx="29">
                    <c:v>Rolling Stdev (30 Minute)</c:v>
                  </c:pt>
                  <c:pt idx="30">
                    <c:v>Rolling Stdev (30 Minute)</c:v>
                  </c:pt>
                  <c:pt idx="31">
                    <c:v>Rolling Stdev (30 Minute)</c:v>
                  </c:pt>
                  <c:pt idx="32">
                    <c:v>Rolling Stdev (30 Minute)</c:v>
                  </c:pt>
                  <c:pt idx="33">
                    <c:v>Rolling Stdev (30 Minute)</c:v>
                  </c:pt>
                  <c:pt idx="34">
                    <c:v>Rolling Stdev (30 Minute)</c:v>
                  </c:pt>
                  <c:pt idx="35">
                    <c:v>Rolling Stdev (30 Minute)</c:v>
                  </c:pt>
                  <c:pt idx="36">
                    <c:v>Rolling Stdev (30 Minute)</c:v>
                  </c:pt>
                  <c:pt idx="37">
                    <c:v>Rolling Stdev (30 Minute)</c:v>
                  </c:pt>
                  <c:pt idx="38">
                    <c:v>Rolling Stdev (30 Minute)</c:v>
                  </c:pt>
                  <c:pt idx="39">
                    <c:v>Rolling Stdev (30 Minute)</c:v>
                  </c:pt>
                  <c:pt idx="40">
                    <c:v>Rolling Stdev (30 Minute)</c:v>
                  </c:pt>
                  <c:pt idx="41">
                    <c:v>Rolling Stdev (30 Minute)</c:v>
                  </c:pt>
                  <c:pt idx="42">
                    <c:v>Rolling Stdev (30 Minute)</c:v>
                  </c:pt>
                  <c:pt idx="43">
                    <c:v>Rolling Stdev (30 Minute)</c:v>
                  </c:pt>
                  <c:pt idx="44">
                    <c:v>Rolling Stdev (30 Minute)</c:v>
                  </c:pt>
                  <c:pt idx="45">
                    <c:v>Rolling Stdev (30 Minute)</c:v>
                  </c:pt>
                  <c:pt idx="46">
                    <c:v>Rolling Stdev (30 Minute)</c:v>
                  </c:pt>
                  <c:pt idx="47">
                    <c:v>Rolling Stdev (30 Minute)</c:v>
                  </c:pt>
                  <c:pt idx="48">
                    <c:v>Rolling Stdev (30 Minute)</c:v>
                  </c:pt>
                  <c:pt idx="49">
                    <c:v>Rolling Stdev (30 Minute)</c:v>
                  </c:pt>
                  <c:pt idx="50">
                    <c:v>Rolling Stdev (30 Minute)</c:v>
                  </c:pt>
                  <c:pt idx="51">
                    <c:v>Rolling Stdev (30 Minute)</c:v>
                  </c:pt>
                  <c:pt idx="52">
                    <c:v>Rolling Stdev (30 Minute)</c:v>
                  </c:pt>
                  <c:pt idx="53">
                    <c:v>Rolling Stdev (30 Minute)</c:v>
                  </c:pt>
                  <c:pt idx="54">
                    <c:v>Rolling Stdev (30 Minute)</c:v>
                  </c:pt>
                  <c:pt idx="55">
                    <c:v>Rolling Stdev (30 Minute)</c:v>
                  </c:pt>
                  <c:pt idx="56">
                    <c:v>Rolling Stdev (30 Minute)</c:v>
                  </c:pt>
                  <c:pt idx="57">
                    <c:v>Rolling Stdev (30 Minute)</c:v>
                  </c:pt>
                  <c:pt idx="58">
                    <c:v>Rolling Stdev (30 Minute)</c:v>
                  </c:pt>
                  <c:pt idx="59">
                    <c:v>Rolling Stdev (30 Minute)</c:v>
                  </c:pt>
                  <c:pt idx="60">
                    <c:v>Rolling Stdev (30 Minute)</c:v>
                  </c:pt>
                  <c:pt idx="61">
                    <c:v>Rolling Stdev (30 Minute)</c:v>
                  </c:pt>
                  <c:pt idx="62">
                    <c:v>Rolling Stdev (30 Minute)</c:v>
                  </c:pt>
                  <c:pt idx="63">
                    <c:v>Rolling Stdev (30 Minute)</c:v>
                  </c:pt>
                  <c:pt idx="64">
                    <c:v>Rolling Stdev (30 Minute)</c:v>
                  </c:pt>
                  <c:pt idx="65">
                    <c:v>Rolling Stdev (30 Minute)</c:v>
                  </c:pt>
                  <c:pt idx="66">
                    <c:v>Rolling Stdev (30 Minute)</c:v>
                  </c:pt>
                  <c:pt idx="67">
                    <c:v>Rolling Stdev (30 Minute)</c:v>
                  </c:pt>
                  <c:pt idx="68">
                    <c:v>Rolling Stdev (30 Minute)</c:v>
                  </c:pt>
                  <c:pt idx="69">
                    <c:v>Rolling Stdev (30 Minute)</c:v>
                  </c:pt>
                  <c:pt idx="70">
                    <c:v>Rolling Stdev (30 Minute)</c:v>
                  </c:pt>
                  <c:pt idx="71">
                    <c:v>Rolling Stdev (30 Minute)</c:v>
                  </c:pt>
                  <c:pt idx="72">
                    <c:v>Rolling Stdev (30 Minute)</c:v>
                  </c:pt>
                  <c:pt idx="73">
                    <c:v>Rolling Stdev (30 Minute)</c:v>
                  </c:pt>
                  <c:pt idx="74">
                    <c:v>Rolling Stdev (30 Minute)</c:v>
                  </c:pt>
                  <c:pt idx="75">
                    <c:v>Rolling Stdev (30 Minute)</c:v>
                  </c:pt>
                  <c:pt idx="76">
                    <c:v>Rolling Stdev (30 Minute)</c:v>
                  </c:pt>
                  <c:pt idx="77">
                    <c:v>Rolling Stdev (30 Minute)</c:v>
                  </c:pt>
                  <c:pt idx="78">
                    <c:v>Rolling Stdev (30 Minute)</c:v>
                  </c:pt>
                  <c:pt idx="79">
                    <c:v>Rolling Stdev (30 Minute)</c:v>
                  </c:pt>
                  <c:pt idx="80">
                    <c:v>Rolling Stdev (30 Minute)</c:v>
                  </c:pt>
                  <c:pt idx="81">
                    <c:v>Rolling Stdev (30 Minute)</c:v>
                  </c:pt>
                  <c:pt idx="82">
                    <c:v>Rolling Stdev (30 Minute)</c:v>
                  </c:pt>
                  <c:pt idx="83">
                    <c:v>Rolling Stdev (30 Minute)</c:v>
                  </c:pt>
                  <c:pt idx="84">
                    <c:v>Rolling Stdev (30 Minute)</c:v>
                  </c:pt>
                  <c:pt idx="85">
                    <c:v>Rolling Stdev (30 Minute)</c:v>
                  </c:pt>
                  <c:pt idx="86">
                    <c:v>Rolling Stdev (30 Minute)</c:v>
                  </c:pt>
                  <c:pt idx="87">
                    <c:v>Rolling Stdev (30 Minute)</c:v>
                  </c:pt>
                  <c:pt idx="88">
                    <c:v>Rolling Stdev (30 Minute)</c:v>
                  </c:pt>
                  <c:pt idx="89">
                    <c:v>Rolling Stdev (30 Minute)</c:v>
                  </c:pt>
                  <c:pt idx="90">
                    <c:v>Rolling Stdev (30 Minute)</c:v>
                  </c:pt>
                  <c:pt idx="91">
                    <c:v>Rolling Stdev (30 Minute)</c:v>
                  </c:pt>
                  <c:pt idx="92">
                    <c:v>Rolling Stdev (30 Minute)</c:v>
                  </c:pt>
                  <c:pt idx="93">
                    <c:v>Rolling Stdev (30 Minute)</c:v>
                  </c:pt>
                  <c:pt idx="94">
                    <c:v>Rolling Stdev (30 Minute)</c:v>
                  </c:pt>
                  <c:pt idx="95">
                    <c:v>Rolling Stdev (30 Minute)</c:v>
                  </c:pt>
                  <c:pt idx="96">
                    <c:v>Rolling Stdev (30 Minute)</c:v>
                  </c:pt>
                  <c:pt idx="97">
                    <c:v>Rolling Stdev (30 Minute)</c:v>
                  </c:pt>
                  <c:pt idx="98">
                    <c:v>Rolling Stdev (30 Minute)</c:v>
                  </c:pt>
                  <c:pt idx="99">
                    <c:v>Rolling Stdev (30 Minute)</c:v>
                  </c:pt>
                  <c:pt idx="100">
                    <c:v>Rolling Stdev (30 Minute)</c:v>
                  </c:pt>
                  <c:pt idx="101">
                    <c:v>Rolling Stdev (30 Minute)</c:v>
                  </c:pt>
                  <c:pt idx="102">
                    <c:v>Rolling Stdev (30 Minute)</c:v>
                  </c:pt>
                  <c:pt idx="103">
                    <c:v>Rolling Stdev (30 Minute)</c:v>
                  </c:pt>
                  <c:pt idx="104">
                    <c:v>Rolling Stdev (30 Minute)</c:v>
                  </c:pt>
                  <c:pt idx="105">
                    <c:v>Rolling Stdev (30 Minute)</c:v>
                  </c:pt>
                  <c:pt idx="106">
                    <c:v>Rolling Stdev (30 Minute)</c:v>
                  </c:pt>
                  <c:pt idx="107">
                    <c:v>Rolling Stdev (30 Minute)</c:v>
                  </c:pt>
                  <c:pt idx="108">
                    <c:v>Rolling Stdev (30 Minute)</c:v>
                  </c:pt>
                  <c:pt idx="109">
                    <c:v>Rolling Stdev (30 Minute)</c:v>
                  </c:pt>
                  <c:pt idx="110">
                    <c:v>Rolling Stdev (30 Minute)</c:v>
                  </c:pt>
                  <c:pt idx="111">
                    <c:v>Rolling Stdev (30 Minute)</c:v>
                  </c:pt>
                  <c:pt idx="112">
                    <c:v>Rolling Stdev (30 Minute)</c:v>
                  </c:pt>
                  <c:pt idx="113">
                    <c:v>Rolling Stdev (30 Minute)</c:v>
                  </c:pt>
                  <c:pt idx="114">
                    <c:v>Rolling Stdev (30 Minute)</c:v>
                  </c:pt>
                  <c:pt idx="115">
                    <c:v>Rolling Stdev (30 Minute)</c:v>
                  </c:pt>
                  <c:pt idx="116">
                    <c:v>Rolling Stdev (30 Minute)</c:v>
                  </c:pt>
                  <c:pt idx="117">
                    <c:v>Rolling Stdev (30 Minute)</c:v>
                  </c:pt>
                  <c:pt idx="118">
                    <c:v>Rolling Stdev (30 Minute)</c:v>
                  </c:pt>
                  <c:pt idx="119">
                    <c:v>Rolling Stdev (30 Minute)</c:v>
                  </c:pt>
                  <c:pt idx="120">
                    <c:v>Rolling Stdev (30 Minute)</c:v>
                  </c:pt>
                  <c:pt idx="121">
                    <c:v>Rolling Stdev (30 Minute)</c:v>
                  </c:pt>
                  <c:pt idx="122">
                    <c:v>Rolling Stdev (30 Minute)</c:v>
                  </c:pt>
                  <c:pt idx="123">
                    <c:v>Rolling Stdev (30 Minute)</c:v>
                  </c:pt>
                  <c:pt idx="124">
                    <c:v>Rolling Stdev (30 Minute)</c:v>
                  </c:pt>
                  <c:pt idx="125">
                    <c:v>Rolling Stdev (30 Minute)</c:v>
                  </c:pt>
                  <c:pt idx="126">
                    <c:v>Rolling Stdev (30 Minute)</c:v>
                  </c:pt>
                  <c:pt idx="127">
                    <c:v>Rolling Stdev (30 Minute)</c:v>
                  </c:pt>
                  <c:pt idx="128">
                    <c:v>Rolling Stdev (30 Minute)</c:v>
                  </c:pt>
                  <c:pt idx="129">
                    <c:v>Rolling Stdev (30 Minute)</c:v>
                  </c:pt>
                  <c:pt idx="130">
                    <c:v>Rolling Stdev (30 Minute)</c:v>
                  </c:pt>
                  <c:pt idx="131">
                    <c:v>Rolling Stdev (30 Minute)</c:v>
                  </c:pt>
                  <c:pt idx="132">
                    <c:v>Rolling Stdev (30 Minute)</c:v>
                  </c:pt>
                  <c:pt idx="133">
                    <c:v>Rolling Stdev (30 Minute)</c:v>
                  </c:pt>
                  <c:pt idx="134">
                    <c:v>Rolling Stdev (30 Minute)</c:v>
                  </c:pt>
                  <c:pt idx="135">
                    <c:v>Rolling Stdev (30 Minute)</c:v>
                  </c:pt>
                  <c:pt idx="136">
                    <c:v>Rolling Stdev (30 Minute)</c:v>
                  </c:pt>
                  <c:pt idx="137">
                    <c:v>Rolling Stdev (30 Minute)</c:v>
                  </c:pt>
                  <c:pt idx="138">
                    <c:v>Rolling Stdev (30 Minute)</c:v>
                  </c:pt>
                  <c:pt idx="139">
                    <c:v>Rolling Stdev (30 Minute)</c:v>
                  </c:pt>
                  <c:pt idx="140">
                    <c:v>Rolling Stdev (30 Minute)</c:v>
                  </c:pt>
                  <c:pt idx="141">
                    <c:v>Rolling Stdev (30 Minute)</c:v>
                  </c:pt>
                  <c:pt idx="142">
                    <c:v>Rolling Stdev (30 Minute)</c:v>
                  </c:pt>
                  <c:pt idx="143">
                    <c:v>Rolling Stdev (30 Minute)</c:v>
                  </c:pt>
                  <c:pt idx="144">
                    <c:v>Rolling Stdev (30 Minute)</c:v>
                  </c:pt>
                  <c:pt idx="145">
                    <c:v>Rolling Stdev (30 Minute)</c:v>
                  </c:pt>
                  <c:pt idx="146">
                    <c:v>Rolling Stdev (30 Minute)</c:v>
                  </c:pt>
                  <c:pt idx="147">
                    <c:v>Rolling Stdev (30 Minute)</c:v>
                  </c:pt>
                  <c:pt idx="148">
                    <c:v>Rolling Stdev (30 Minute)</c:v>
                  </c:pt>
                  <c:pt idx="149">
                    <c:v>Rolling Stdev (30 Minute)</c:v>
                  </c:pt>
                  <c:pt idx="150">
                    <c:v>Rolling Stdev (30 Minute)</c:v>
                  </c:pt>
                  <c:pt idx="151">
                    <c:v>Rolling Stdev (30 Minute)</c:v>
                  </c:pt>
                  <c:pt idx="152">
                    <c:v>Rolling Stdev (30 Minute)</c:v>
                  </c:pt>
                  <c:pt idx="153">
                    <c:v>Rolling Stdev (30 Minute)</c:v>
                  </c:pt>
                  <c:pt idx="154">
                    <c:v>Rolling Stdev (30 Minute)</c:v>
                  </c:pt>
                  <c:pt idx="155">
                    <c:v>Rolling Stdev (30 Minute)</c:v>
                  </c:pt>
                  <c:pt idx="156">
                    <c:v>Rolling Stdev (30 Minute)</c:v>
                  </c:pt>
                  <c:pt idx="157">
                    <c:v>Rolling Stdev (30 Minute)</c:v>
                  </c:pt>
                  <c:pt idx="158">
                    <c:v>Rolling Stdev (30 Minute)</c:v>
                  </c:pt>
                  <c:pt idx="159">
                    <c:v>Rolling Stdev (30 Minute)</c:v>
                  </c:pt>
                  <c:pt idx="160">
                    <c:v>Rolling Stdev (30 Minute)</c:v>
                  </c:pt>
                  <c:pt idx="161">
                    <c:v>Rolling Stdev (30 Minute)</c:v>
                  </c:pt>
                  <c:pt idx="162">
                    <c:v>Rolling Stdev (30 Minute)</c:v>
                  </c:pt>
                  <c:pt idx="163">
                    <c:v>Rolling Stdev (30 Minute)</c:v>
                  </c:pt>
                  <c:pt idx="164">
                    <c:v>Rolling Stdev (30 Minute)</c:v>
                  </c:pt>
                  <c:pt idx="165">
                    <c:v>Rolling Stdev (30 Minute)</c:v>
                  </c:pt>
                  <c:pt idx="166">
                    <c:v>Rolling Stdev (30 Minute)</c:v>
                  </c:pt>
                  <c:pt idx="167">
                    <c:v>Rolling Stdev (30 Minute)</c:v>
                  </c:pt>
                  <c:pt idx="168">
                    <c:v>Rolling Stdev (30 Minute)</c:v>
                  </c:pt>
                  <c:pt idx="169">
                    <c:v>Rolling Stdev (30 Minute)</c:v>
                  </c:pt>
                  <c:pt idx="170">
                    <c:v>Rolling Stdev (30 Minute)</c:v>
                  </c:pt>
                  <c:pt idx="171">
                    <c:v>Rolling Stdev (30 Minute)</c:v>
                  </c:pt>
                  <c:pt idx="172">
                    <c:v>Rolling Stdev (30 Minute)</c:v>
                  </c:pt>
                  <c:pt idx="173">
                    <c:v>Rolling Stdev (30 Minute)</c:v>
                  </c:pt>
                  <c:pt idx="174">
                    <c:v>Rolling Stdev (30 Minute)</c:v>
                  </c:pt>
                  <c:pt idx="175">
                    <c:v>Rolling Stdev (30 Minute)</c:v>
                  </c:pt>
                  <c:pt idx="176">
                    <c:v>Rolling Stdev (30 Minute)</c:v>
                  </c:pt>
                  <c:pt idx="177">
                    <c:v>Rolling Stdev (30 Minute)</c:v>
                  </c:pt>
                  <c:pt idx="178">
                    <c:v>Rolling Stdev (30 Minute)</c:v>
                  </c:pt>
                  <c:pt idx="179">
                    <c:v>Rolling Stdev (30 Minute)</c:v>
                  </c:pt>
                  <c:pt idx="180">
                    <c:v>Rolling Stdev (30 Minute)</c:v>
                  </c:pt>
                  <c:pt idx="181">
                    <c:v>Rolling Stdev (30 Minute)</c:v>
                  </c:pt>
                  <c:pt idx="182">
                    <c:v>Rolling Stdev (30 Minute)</c:v>
                  </c:pt>
                  <c:pt idx="183">
                    <c:v>Rolling Stdev (30 Minute)</c:v>
                  </c:pt>
                  <c:pt idx="184">
                    <c:v>Rolling Stdev (30 Minute)</c:v>
                  </c:pt>
                  <c:pt idx="185">
                    <c:v>Rolling Stdev (30 Minute)</c:v>
                  </c:pt>
                  <c:pt idx="186">
                    <c:v>Rolling Stdev (30 Minute)</c:v>
                  </c:pt>
                  <c:pt idx="187">
                    <c:v>Rolling Stdev (30 Minute)</c:v>
                  </c:pt>
                  <c:pt idx="188">
                    <c:v>Rolling Stdev (30 Minute)</c:v>
                  </c:pt>
                  <c:pt idx="189">
                    <c:v>Rolling Stdev (30 Minute)</c:v>
                  </c:pt>
                  <c:pt idx="190">
                    <c:v>Rolling Stdev (30 Minute)</c:v>
                  </c:pt>
                  <c:pt idx="191">
                    <c:v>Rolling Stdev (30 Minute)</c:v>
                  </c:pt>
                  <c:pt idx="192">
                    <c:v>Rolling Stdev (30 Minute)</c:v>
                  </c:pt>
                  <c:pt idx="193">
                    <c:v>Rolling Stdev (30 Minute)</c:v>
                  </c:pt>
                  <c:pt idx="194">
                    <c:v>Rolling Stdev (30 Minute)</c:v>
                  </c:pt>
                  <c:pt idx="195">
                    <c:v>Rolling Stdev (30 Minute)</c:v>
                  </c:pt>
                  <c:pt idx="196">
                    <c:v>Rolling Stdev (30 Minute)</c:v>
                  </c:pt>
                  <c:pt idx="197">
                    <c:v>Rolling Stdev (30 Minute)</c:v>
                  </c:pt>
                  <c:pt idx="198">
                    <c:v>Rolling Stdev (30 Minute)</c:v>
                  </c:pt>
                  <c:pt idx="199">
                    <c:v>Rolling Stdev (30 Minute)</c:v>
                  </c:pt>
                  <c:pt idx="200">
                    <c:v>Rolling Stdev (30 Minute)</c:v>
                  </c:pt>
                  <c:pt idx="201">
                    <c:v>Rolling Stdev (30 Minute)</c:v>
                  </c:pt>
                  <c:pt idx="202">
                    <c:v>Rolling Stdev (30 Minute)</c:v>
                  </c:pt>
                  <c:pt idx="203">
                    <c:v>Rolling Stdev (30 Minute)</c:v>
                  </c:pt>
                  <c:pt idx="204">
                    <c:v>Rolling Stdev (30 Minute)</c:v>
                  </c:pt>
                  <c:pt idx="205">
                    <c:v>Rolling Stdev (30 Minute)</c:v>
                  </c:pt>
                  <c:pt idx="206">
                    <c:v>Rolling Stdev (30 Minute)</c:v>
                  </c:pt>
                  <c:pt idx="207">
                    <c:v>Rolling Stdev (30 Minute)</c:v>
                  </c:pt>
                  <c:pt idx="208">
                    <c:v>Rolling Stdev (30 Minute)</c:v>
                  </c:pt>
                  <c:pt idx="209">
                    <c:v>Rolling Stdev (30 Minute)</c:v>
                  </c:pt>
                  <c:pt idx="210">
                    <c:v>Rolling Stdev (30 Minute)</c:v>
                  </c:pt>
                  <c:pt idx="211">
                    <c:v>Rolling Stdev (30 Minute)</c:v>
                  </c:pt>
                  <c:pt idx="212">
                    <c:v>Rolling Stdev (30 Minute)</c:v>
                  </c:pt>
                  <c:pt idx="213">
                    <c:v>Rolling Stdev (30 Minute)</c:v>
                  </c:pt>
                  <c:pt idx="214">
                    <c:v>Rolling Stdev (30 Minute)</c:v>
                  </c:pt>
                  <c:pt idx="215">
                    <c:v>Rolling Stdev (30 Minute)</c:v>
                  </c:pt>
                  <c:pt idx="216">
                    <c:v>Rolling Stdev (30 Minute)</c:v>
                  </c:pt>
                  <c:pt idx="217">
                    <c:v>Rolling Stdev (30 Minute)</c:v>
                  </c:pt>
                  <c:pt idx="218">
                    <c:v>Rolling Stdev (30 Minute)</c:v>
                  </c:pt>
                  <c:pt idx="219">
                    <c:v>Rolling Stdev (30 Minute)</c:v>
                  </c:pt>
                  <c:pt idx="220">
                    <c:v>Rolling Stdev (30 Minute)</c:v>
                  </c:pt>
                  <c:pt idx="221">
                    <c:v>Rolling Stdev (30 Minute)</c:v>
                  </c:pt>
                  <c:pt idx="222">
                    <c:v>Rolling Stdev (30 Minute)</c:v>
                  </c:pt>
                  <c:pt idx="223">
                    <c:v>Rolling Stdev (30 Minute)</c:v>
                  </c:pt>
                  <c:pt idx="224">
                    <c:v>Rolling Stdev (30 Minute)</c:v>
                  </c:pt>
                  <c:pt idx="225">
                    <c:v>Rolling Stdev (30 Minute)</c:v>
                  </c:pt>
                  <c:pt idx="226">
                    <c:v>Rolling Stdev (30 Minute)</c:v>
                  </c:pt>
                  <c:pt idx="227">
                    <c:v>Rolling Stdev (30 Minute)</c:v>
                  </c:pt>
                  <c:pt idx="228">
                    <c:v>Rolling Stdev (30 Minute)</c:v>
                  </c:pt>
                  <c:pt idx="229">
                    <c:v>Rolling Stdev (30 Minute)</c:v>
                  </c:pt>
                  <c:pt idx="230">
                    <c:v>Rolling Stdev (30 Minute)</c:v>
                  </c:pt>
                  <c:pt idx="231">
                    <c:v>Rolling Stdev (30 Minute)</c:v>
                  </c:pt>
                  <c:pt idx="232">
                    <c:v>Rolling Stdev (30 Minute)</c:v>
                  </c:pt>
                  <c:pt idx="233">
                    <c:v>Rolling Stdev (30 Minute)</c:v>
                  </c:pt>
                  <c:pt idx="234">
                    <c:v>Rolling Stdev (30 Minute)</c:v>
                  </c:pt>
                  <c:pt idx="235">
                    <c:v>Rolling Stdev (30 Minute)</c:v>
                  </c:pt>
                  <c:pt idx="236">
                    <c:v>Rolling Stdev (30 Minute)</c:v>
                  </c:pt>
                  <c:pt idx="237">
                    <c:v>Rolling Stdev (30 Minute)</c:v>
                  </c:pt>
                  <c:pt idx="238">
                    <c:v>Rolling Stdev (30 Minute)</c:v>
                  </c:pt>
                  <c:pt idx="239">
                    <c:v>Rolling Stdev (30 Minute)</c:v>
                  </c:pt>
                  <c:pt idx="240">
                    <c:v>Rolling Stdev (30 Minute)</c:v>
                  </c:pt>
                  <c:pt idx="241">
                    <c:v>Rolling Stdev (30 Minute)</c:v>
                  </c:pt>
                  <c:pt idx="242">
                    <c:v>Rolling Stdev (30 Minute)</c:v>
                  </c:pt>
                  <c:pt idx="243">
                    <c:v>Rolling Stdev (30 Minute)</c:v>
                  </c:pt>
                  <c:pt idx="244">
                    <c:v>Rolling Stdev (30 Minute)</c:v>
                  </c:pt>
                  <c:pt idx="245">
                    <c:v>Rolling Stdev (30 Minute)</c:v>
                  </c:pt>
                  <c:pt idx="246">
                    <c:v>Rolling Stdev (30 Minute)</c:v>
                  </c:pt>
                  <c:pt idx="247">
                    <c:v>Rolling Stdev (30 Minute)</c:v>
                  </c:pt>
                  <c:pt idx="248">
                    <c:v>Rolling Stdev (30 Minute)</c:v>
                  </c:pt>
                  <c:pt idx="249">
                    <c:v>Rolling Stdev (30 Minute)</c:v>
                  </c:pt>
                  <c:pt idx="250">
                    <c:v>Rolling Stdev (30 Minute)</c:v>
                  </c:pt>
                  <c:pt idx="251">
                    <c:v>Rolling Stdev (30 Minute)</c:v>
                  </c:pt>
                  <c:pt idx="252">
                    <c:v>Rolling Stdev (30 Minute)</c:v>
                  </c:pt>
                  <c:pt idx="253">
                    <c:v>Rolling Stdev (30 Minute)</c:v>
                  </c:pt>
                  <c:pt idx="254">
                    <c:v>Rolling Stdev (30 Minute)</c:v>
                  </c:pt>
                  <c:pt idx="255">
                    <c:v>Rolling Stdev (30 Minute)</c:v>
                  </c:pt>
                  <c:pt idx="256">
                    <c:v>Rolling Stdev (30 Minute)</c:v>
                  </c:pt>
                  <c:pt idx="257">
                    <c:v>Rolling Stdev (30 Minute)</c:v>
                  </c:pt>
                  <c:pt idx="258">
                    <c:v>Rolling Stdev (30 Minute)</c:v>
                  </c:pt>
                  <c:pt idx="259">
                    <c:v>Rolling Stdev (30 Minute)</c:v>
                  </c:pt>
                  <c:pt idx="260">
                    <c:v>Rolling Stdev (30 Minute)</c:v>
                  </c:pt>
                  <c:pt idx="261">
                    <c:v>Rolling Stdev (30 Minute)</c:v>
                  </c:pt>
                  <c:pt idx="262">
                    <c:v>Rolling Stdev (30 Minute)</c:v>
                  </c:pt>
                  <c:pt idx="263">
                    <c:v>Rolling Stdev (30 Minute)</c:v>
                  </c:pt>
                  <c:pt idx="264">
                    <c:v>Rolling Stdev (30 Minute)</c:v>
                  </c:pt>
                  <c:pt idx="265">
                    <c:v>Rolling Stdev (30 Minute)</c:v>
                  </c:pt>
                  <c:pt idx="266">
                    <c:v>Rolling Stdev (30 Minute)</c:v>
                  </c:pt>
                  <c:pt idx="267">
                    <c:v>Rolling Stdev (30 Minute)</c:v>
                  </c:pt>
                  <c:pt idx="268">
                    <c:v>Rolling Stdev (30 Minute)</c:v>
                  </c:pt>
                  <c:pt idx="269">
                    <c:v>Rolling Stdev (30 Minute)</c:v>
                  </c:pt>
                  <c:pt idx="270">
                    <c:v>Rolling Stdev (30 Minute)</c:v>
                  </c:pt>
                  <c:pt idx="271">
                    <c:v>Rolling Stdev (30 Minute)</c:v>
                  </c:pt>
                  <c:pt idx="272">
                    <c:v>Rolling Stdev (30 Minute)</c:v>
                  </c:pt>
                  <c:pt idx="273">
                    <c:v>Rolling Stdev (30 Minute)</c:v>
                  </c:pt>
                  <c:pt idx="274">
                    <c:v>Rolling Stdev (30 Minute)</c:v>
                  </c:pt>
                  <c:pt idx="275">
                    <c:v>Rolling Stdev (30 Minute)</c:v>
                  </c:pt>
                  <c:pt idx="276">
                    <c:v>Rolling Stdev (30 Minute)</c:v>
                  </c:pt>
                  <c:pt idx="277">
                    <c:v>Rolling Stdev (30 Minute)</c:v>
                  </c:pt>
                  <c:pt idx="278">
                    <c:v>Rolling Stdev (30 Minute)</c:v>
                  </c:pt>
                  <c:pt idx="279">
                    <c:v>Rolling Stdev (30 Minute)</c:v>
                  </c:pt>
                  <c:pt idx="280">
                    <c:v>Rolling Stdev (30 Minute)</c:v>
                  </c:pt>
                  <c:pt idx="281">
                    <c:v>Rolling Stdev (30 Minute)</c:v>
                  </c:pt>
                  <c:pt idx="282">
                    <c:v>Rolling Stdev (30 Minute)</c:v>
                  </c:pt>
                  <c:pt idx="283">
                    <c:v>Rolling Stdev (30 Minute)</c:v>
                  </c:pt>
                  <c:pt idx="284">
                    <c:v>Rolling Stdev (30 Minute)</c:v>
                  </c:pt>
                  <c:pt idx="285">
                    <c:v>Rolling Stdev (30 Minute)</c:v>
                  </c:pt>
                  <c:pt idx="286">
                    <c:v>Rolling Stdev (30 Minute)</c:v>
                  </c:pt>
                  <c:pt idx="287">
                    <c:v>Rolling Stdev (30 Minute)</c:v>
                  </c:pt>
                  <c:pt idx="288">
                    <c:v>Rolling Stdev (30 Minute)</c:v>
                  </c:pt>
                  <c:pt idx="289">
                    <c:v>Rolling Stdev (30 Minute)</c:v>
                  </c:pt>
                  <c:pt idx="290">
                    <c:v>Rolling Stdev (30 Minute)</c:v>
                  </c:pt>
                  <c:pt idx="291">
                    <c:v>Rolling Stdev (30 Minute)</c:v>
                  </c:pt>
                  <c:pt idx="292">
                    <c:v>Rolling Stdev (30 Minute)</c:v>
                  </c:pt>
                  <c:pt idx="293">
                    <c:v>Rolling Stdev (30 Minute)</c:v>
                  </c:pt>
                  <c:pt idx="294">
                    <c:v>Rolling Stdev (30 Minute)</c:v>
                  </c:pt>
                  <c:pt idx="295">
                    <c:v>Rolling Stdev (30 Minute)</c:v>
                  </c:pt>
                  <c:pt idx="296">
                    <c:v>Rolling Stdev (30 Minute)</c:v>
                  </c:pt>
                  <c:pt idx="297">
                    <c:v>Rolling Stdev (30 Minute)</c:v>
                  </c:pt>
                  <c:pt idx="298">
                    <c:v>Rolling Stdev (30 Minute)</c:v>
                  </c:pt>
                  <c:pt idx="299">
                    <c:v>Rolling Stdev (30 Minute)</c:v>
                  </c:pt>
                  <c:pt idx="300">
                    <c:v>Rolling Stdev (30 Minute)</c:v>
                  </c:pt>
                  <c:pt idx="301">
                    <c:v>Rolling Stdev (30 Minute)</c:v>
                  </c:pt>
                  <c:pt idx="302">
                    <c:v>Rolling Stdev (30 Minute)</c:v>
                  </c:pt>
                  <c:pt idx="303">
                    <c:v>Rolling Stdev (30 Minute)</c:v>
                  </c:pt>
                  <c:pt idx="304">
                    <c:v>Rolling Stdev (30 Minute)</c:v>
                  </c:pt>
                  <c:pt idx="305">
                    <c:v>Rolling Stdev (30 Minute)</c:v>
                  </c:pt>
                  <c:pt idx="306">
                    <c:v>Rolling Stdev (30 Minute)</c:v>
                  </c:pt>
                  <c:pt idx="307">
                    <c:v>Rolling Stdev (30 Minute)</c:v>
                  </c:pt>
                  <c:pt idx="308">
                    <c:v>Rolling Stdev (30 Minute)</c:v>
                  </c:pt>
                  <c:pt idx="309">
                    <c:v>Rolling Stdev (30 Minute)</c:v>
                  </c:pt>
                  <c:pt idx="310">
                    <c:v>Rolling Stdev (30 Minute)</c:v>
                  </c:pt>
                  <c:pt idx="311">
                    <c:v>Rolling Stdev (30 Minute)</c:v>
                  </c:pt>
                  <c:pt idx="312">
                    <c:v>Rolling Stdev (30 Minute)</c:v>
                  </c:pt>
                  <c:pt idx="313">
                    <c:v>Rolling Stdev (30 Minute)</c:v>
                  </c:pt>
                  <c:pt idx="314">
                    <c:v>Rolling Stdev (30 Minute)</c:v>
                  </c:pt>
                  <c:pt idx="315">
                    <c:v>Rolling Stdev (30 Minute)</c:v>
                  </c:pt>
                  <c:pt idx="316">
                    <c:v>Rolling Stdev (30 Minute)</c:v>
                  </c:pt>
                  <c:pt idx="317">
                    <c:v>Rolling Stdev (30 Minute)</c:v>
                  </c:pt>
                  <c:pt idx="318">
                    <c:v>Rolling Stdev (30 Minute)</c:v>
                  </c:pt>
                  <c:pt idx="319">
                    <c:v>Rolling Stdev (30 Minute)</c:v>
                  </c:pt>
                  <c:pt idx="320">
                    <c:v>Rolling Stdev (30 Minute)</c:v>
                  </c:pt>
                  <c:pt idx="321">
                    <c:v>Rolling Stdev (30 Minute)</c:v>
                  </c:pt>
                  <c:pt idx="322">
                    <c:v>Rolling Stdev (30 Minute)</c:v>
                  </c:pt>
                  <c:pt idx="323">
                    <c:v>Rolling Stdev (30 Minute)</c:v>
                  </c:pt>
                  <c:pt idx="324">
                    <c:v>Rolling Stdev (30 Minute)</c:v>
                  </c:pt>
                  <c:pt idx="325">
                    <c:v>Rolling Stdev (30 Minute)</c:v>
                  </c:pt>
                  <c:pt idx="326">
                    <c:v>Rolling Stdev (30 Minute)</c:v>
                  </c:pt>
                  <c:pt idx="327">
                    <c:v>Rolling Stdev (30 Minute)</c:v>
                  </c:pt>
                  <c:pt idx="328">
                    <c:v>Rolling Stdev (30 Minute)</c:v>
                  </c:pt>
                  <c:pt idx="329">
                    <c:v>Rolling Stdev (30 Minute)</c:v>
                  </c:pt>
                  <c:pt idx="330">
                    <c:v>Rolling Stdev (30 Minute)</c:v>
                  </c:pt>
                  <c:pt idx="331">
                    <c:v>Rolling Stdev (30 Minute)</c:v>
                  </c:pt>
                  <c:pt idx="332">
                    <c:v>Rolling Stdev (30 Minute)</c:v>
                  </c:pt>
                  <c:pt idx="333">
                    <c:v>Rolling Stdev (30 Minute)</c:v>
                  </c:pt>
                  <c:pt idx="334">
                    <c:v>Rolling Stdev (30 Minute)</c:v>
                  </c:pt>
                  <c:pt idx="335">
                    <c:v>Rolling Stdev (30 Minute)</c:v>
                  </c:pt>
                  <c:pt idx="336">
                    <c:v>Rolling Stdev (30 Minute)</c:v>
                  </c:pt>
                  <c:pt idx="337">
                    <c:v>Rolling Stdev (30 Minute)</c:v>
                  </c:pt>
                  <c:pt idx="338">
                    <c:v>Rolling Stdev (30 Minute)</c:v>
                  </c:pt>
                  <c:pt idx="339">
                    <c:v>Rolling Stdev (30 Minute)</c:v>
                  </c:pt>
                  <c:pt idx="340">
                    <c:v>Rolling Stdev (30 Minute)</c:v>
                  </c:pt>
                  <c:pt idx="341">
                    <c:v>Rolling Stdev (30 Minute)</c:v>
                  </c:pt>
                  <c:pt idx="342">
                    <c:v>Rolling Stdev (30 Minute)</c:v>
                  </c:pt>
                  <c:pt idx="343">
                    <c:v>Rolling Stdev (30 Minute)</c:v>
                  </c:pt>
                  <c:pt idx="344">
                    <c:v>Rolling Stdev (30 Minute)</c:v>
                  </c:pt>
                  <c:pt idx="345">
                    <c:v>Rolling Stdev (30 Minute)</c:v>
                  </c:pt>
                  <c:pt idx="346">
                    <c:v>Rolling Stdev (30 Minute)</c:v>
                  </c:pt>
                  <c:pt idx="347">
                    <c:v>Rolling Stdev (30 Minute)</c:v>
                  </c:pt>
                  <c:pt idx="348">
                    <c:v>Rolling Stdev (30 Minute)</c:v>
                  </c:pt>
                  <c:pt idx="349">
                    <c:v>Rolling Stdev (30 Minute)</c:v>
                  </c:pt>
                  <c:pt idx="350">
                    <c:v>Rolling Stdev (30 Minute)</c:v>
                  </c:pt>
                  <c:pt idx="351">
                    <c:v>Rolling Stdev (30 Minute)</c:v>
                  </c:pt>
                  <c:pt idx="352">
                    <c:v>Rolling Stdev (30 Minute)</c:v>
                  </c:pt>
                  <c:pt idx="353">
                    <c:v>Rolling Stdev (30 Minute)</c:v>
                  </c:pt>
                  <c:pt idx="354">
                    <c:v>Rolling Stdev (30 Minute)</c:v>
                  </c:pt>
                  <c:pt idx="355">
                    <c:v>Rolling Stdev (30 Minute)</c:v>
                  </c:pt>
                  <c:pt idx="356">
                    <c:v>Rolling Stdev (30 Minute)</c:v>
                  </c:pt>
                  <c:pt idx="357">
                    <c:v>Rolling Stdev (30 Minute)</c:v>
                  </c:pt>
                  <c:pt idx="358">
                    <c:v>Rolling Stdev (30 Minute)</c:v>
                  </c:pt>
                  <c:pt idx="359">
                    <c:v>Rolling Stdev (30 Minute)</c:v>
                  </c:pt>
                  <c:pt idx="360">
                    <c:v>Rolling Stdev (30 Minute)</c:v>
                  </c:pt>
                  <c:pt idx="361">
                    <c:v>Rolling Stdev (30 Minute)</c:v>
                  </c:pt>
                  <c:pt idx="362">
                    <c:v>Rolling Stdev (30 Minute)</c:v>
                  </c:pt>
                  <c:pt idx="363">
                    <c:v>Rolling Stdev (30 Minute)</c:v>
                  </c:pt>
                  <c:pt idx="364">
                    <c:v>Rolling Stdev (30 Minute)</c:v>
                  </c:pt>
                  <c:pt idx="365">
                    <c:v>Rolling Stdev (30 Minute)</c:v>
                  </c:pt>
                  <c:pt idx="366">
                    <c:v>Rolling Stdev (30 Minute)</c:v>
                  </c:pt>
                  <c:pt idx="367">
                    <c:v>Rolling Stdev (30 Minute)</c:v>
                  </c:pt>
                  <c:pt idx="368">
                    <c:v>Rolling Stdev (30 Minute)</c:v>
                  </c:pt>
                  <c:pt idx="369">
                    <c:v>Rolling Stdev (30 Minute)</c:v>
                  </c:pt>
                  <c:pt idx="370">
                    <c:v>Rolling Stdev (30 Minute)</c:v>
                  </c:pt>
                  <c:pt idx="371">
                    <c:v>Rolling Stdev (30 Minute)</c:v>
                  </c:pt>
                  <c:pt idx="372">
                    <c:v>Rolling Stdev (30 Minute)</c:v>
                  </c:pt>
                  <c:pt idx="373">
                    <c:v>Rolling Stdev (30 Minute)</c:v>
                  </c:pt>
                  <c:pt idx="374">
                    <c:v>Rolling Stdev (30 Minute)</c:v>
                  </c:pt>
                  <c:pt idx="375">
                    <c:v>Rolling Stdev (30 Minute)</c:v>
                  </c:pt>
                  <c:pt idx="376">
                    <c:v>Rolling Stdev (30 Minute)</c:v>
                  </c:pt>
                  <c:pt idx="377">
                    <c:v>Rolling Stdev (30 Minute)</c:v>
                  </c:pt>
                  <c:pt idx="378">
                    <c:v>Rolling Stdev (30 Minute)</c:v>
                  </c:pt>
                  <c:pt idx="379">
                    <c:v>Rolling Stdev (30 Minute)</c:v>
                  </c:pt>
                  <c:pt idx="380">
                    <c:v>Rolling Stdev (30 Minute)</c:v>
                  </c:pt>
                  <c:pt idx="381">
                    <c:v>Rolling Stdev (30 Minute)</c:v>
                  </c:pt>
                  <c:pt idx="382">
                    <c:v>Rolling Stdev (30 Minute)</c:v>
                  </c:pt>
                  <c:pt idx="383">
                    <c:v>Rolling Stdev (30 Minute)</c:v>
                  </c:pt>
                  <c:pt idx="384">
                    <c:v>Rolling Stdev (30 Minute)</c:v>
                  </c:pt>
                  <c:pt idx="385">
                    <c:v>Rolling Stdev (30 Minute)</c:v>
                  </c:pt>
                  <c:pt idx="386">
                    <c:v>Rolling Stdev (30 Minute)</c:v>
                  </c:pt>
                  <c:pt idx="387">
                    <c:v>Rolling Stdev (30 Minute)</c:v>
                  </c:pt>
                  <c:pt idx="388">
                    <c:v>Rolling Stdev (30 Minute)</c:v>
                  </c:pt>
                  <c:pt idx="389">
                    <c:v>Rolling Stdev (30 Minute)</c:v>
                  </c:pt>
                  <c:pt idx="390">
                    <c:v>Rolling Stdev (30 Minute)</c:v>
                  </c:pt>
                  <c:pt idx="391">
                    <c:v>Rolling Stdev (30 Minute)</c:v>
                  </c:pt>
                  <c:pt idx="392">
                    <c:v>Rolling Stdev (30 Minute)</c:v>
                  </c:pt>
                  <c:pt idx="393">
                    <c:v>Rolling Stdev (30 Minute)</c:v>
                  </c:pt>
                  <c:pt idx="394">
                    <c:v>Rolling Stdev (30 Minute)</c:v>
                  </c:pt>
                  <c:pt idx="395">
                    <c:v>Rolling Stdev (30 Minute)</c:v>
                  </c:pt>
                  <c:pt idx="396">
                    <c:v>Rolling Stdev (30 Minute)</c:v>
                  </c:pt>
                  <c:pt idx="397">
                    <c:v>Rolling Stdev (30 Minute)</c:v>
                  </c:pt>
                  <c:pt idx="398">
                    <c:v>Rolling Stdev (30 Minute)</c:v>
                  </c:pt>
                  <c:pt idx="399">
                    <c:v>Rolling Stdev (30 Minute)</c:v>
                  </c:pt>
                  <c:pt idx="400">
                    <c:v>Rolling Stdev (30 Minute)</c:v>
                  </c:pt>
                  <c:pt idx="401">
                    <c:v>Rolling Stdev (30 Minute)</c:v>
                  </c:pt>
                  <c:pt idx="402">
                    <c:v>Rolling Stdev (30 Minute)</c:v>
                  </c:pt>
                  <c:pt idx="403">
                    <c:v>Rolling Stdev (30 Minute)</c:v>
                  </c:pt>
                  <c:pt idx="404">
                    <c:v>Rolling Stdev (30 Minute)</c:v>
                  </c:pt>
                  <c:pt idx="405">
                    <c:v>Rolling Stdev (30 Minute)</c:v>
                  </c:pt>
                  <c:pt idx="406">
                    <c:v>Rolling Stdev (30 Minute)</c:v>
                  </c:pt>
                  <c:pt idx="407">
                    <c:v>Rolling Stdev (30 Minute)</c:v>
                  </c:pt>
                  <c:pt idx="408">
                    <c:v>Rolling Stdev (30 Minute)</c:v>
                  </c:pt>
                  <c:pt idx="409">
                    <c:v>Rolling Stdev (30 Minute)</c:v>
                  </c:pt>
                  <c:pt idx="410">
                    <c:v>Rolling Stdev (30 Minute)</c:v>
                  </c:pt>
                  <c:pt idx="411">
                    <c:v>Rolling Stdev (30 Minute)</c:v>
                  </c:pt>
                  <c:pt idx="412">
                    <c:v>Rolling Stdev (30 Minute)</c:v>
                  </c:pt>
                  <c:pt idx="413">
                    <c:v>Rolling Stdev (30 Minute)</c:v>
                  </c:pt>
                  <c:pt idx="414">
                    <c:v>Rolling Stdev (30 Minute)</c:v>
                  </c:pt>
                  <c:pt idx="415">
                    <c:v>Rolling Stdev (30 Minute)</c:v>
                  </c:pt>
                  <c:pt idx="416">
                    <c:v>Rolling Stdev (30 Minute)</c:v>
                  </c:pt>
                  <c:pt idx="417">
                    <c:v>Rolling Stdev (30 Minute)</c:v>
                  </c:pt>
                  <c:pt idx="418">
                    <c:v>Rolling Stdev (30 Minute)</c:v>
                  </c:pt>
                  <c:pt idx="419">
                    <c:v>Rolling Stdev (30 Minute)</c:v>
                  </c:pt>
                  <c:pt idx="420">
                    <c:v>Rolling Stdev (30 Minute)</c:v>
                  </c:pt>
                  <c:pt idx="421">
                    <c:v>Rolling Stdev (30 Minute)</c:v>
                  </c:pt>
                  <c:pt idx="422">
                    <c:v>Rolling Stdev (30 Minute)</c:v>
                  </c:pt>
                  <c:pt idx="423">
                    <c:v>Rolling Stdev (30 Minute)</c:v>
                  </c:pt>
                  <c:pt idx="424">
                    <c:v>Rolling Stdev (30 Minute)</c:v>
                  </c:pt>
                  <c:pt idx="425">
                    <c:v>Rolling Stdev (30 Minute)</c:v>
                  </c:pt>
                  <c:pt idx="426">
                    <c:v>Rolling Stdev (30 Minute)</c:v>
                  </c:pt>
                  <c:pt idx="427">
                    <c:v>Rolling Stdev (30 Minute)</c:v>
                  </c:pt>
                  <c:pt idx="428">
                    <c:v>Rolling Stdev (30 Minute)</c:v>
                  </c:pt>
                  <c:pt idx="429">
                    <c:v>Rolling Stdev (30 Minute)</c:v>
                  </c:pt>
                  <c:pt idx="430">
                    <c:v>Rolling Stdev (30 Minute)</c:v>
                  </c:pt>
                  <c:pt idx="431">
                    <c:v>Rolling Stdev (30 Minute)</c:v>
                  </c:pt>
                  <c:pt idx="432">
                    <c:v>Rolling Stdev (30 Minute)</c:v>
                  </c:pt>
                  <c:pt idx="433">
                    <c:v>Rolling Stdev (30 Minute)</c:v>
                  </c:pt>
                  <c:pt idx="434">
                    <c:v>Rolling Stdev (30 Minute)</c:v>
                  </c:pt>
                  <c:pt idx="435">
                    <c:v>Rolling Stdev (30 Minute)</c:v>
                  </c:pt>
                  <c:pt idx="436">
                    <c:v>Rolling Stdev (30 Minute)</c:v>
                  </c:pt>
                  <c:pt idx="437">
                    <c:v>Rolling Stdev (30 Minute)</c:v>
                  </c:pt>
                  <c:pt idx="438">
                    <c:v>Rolling Stdev (30 Minute)</c:v>
                  </c:pt>
                  <c:pt idx="439">
                    <c:v>Rolling Stdev (30 Minute)</c:v>
                  </c:pt>
                  <c:pt idx="440">
                    <c:v>Rolling Stdev (30 Minute)</c:v>
                  </c:pt>
                  <c:pt idx="441">
                    <c:v>Rolling Stdev (30 Minute)</c:v>
                  </c:pt>
                  <c:pt idx="442">
                    <c:v>Rolling Stdev (30 Minute)</c:v>
                  </c:pt>
                  <c:pt idx="443">
                    <c:v>Rolling Stdev (30 Minute)</c:v>
                  </c:pt>
                  <c:pt idx="444">
                    <c:v>Rolling Stdev (30 Minute)</c:v>
                  </c:pt>
                  <c:pt idx="445">
                    <c:v>Rolling Stdev (30 Minute)</c:v>
                  </c:pt>
                  <c:pt idx="446">
                    <c:v>Rolling Stdev (30 Minute)</c:v>
                  </c:pt>
                  <c:pt idx="447">
                    <c:v>Rolling Stdev (30 Minute)</c:v>
                  </c:pt>
                  <c:pt idx="448">
                    <c:v>Rolling Stdev (30 Minute)</c:v>
                  </c:pt>
                  <c:pt idx="449">
                    <c:v>Rolling Stdev (30 Minute)</c:v>
                  </c:pt>
                  <c:pt idx="450">
                    <c:v>Rolling Stdev (30 Minute)</c:v>
                  </c:pt>
                  <c:pt idx="451">
                    <c:v>Rolling Stdev (30 Minute)</c:v>
                  </c:pt>
                  <c:pt idx="452">
                    <c:v>Rolling Stdev (30 Minute)</c:v>
                  </c:pt>
                  <c:pt idx="453">
                    <c:v>Rolling Stdev (30 Minute)</c:v>
                  </c:pt>
                  <c:pt idx="454">
                    <c:v>Rolling Stdev (30 Minute)</c:v>
                  </c:pt>
                  <c:pt idx="455">
                    <c:v>Rolling Stdev (30 Minute)</c:v>
                  </c:pt>
                  <c:pt idx="456">
                    <c:v>Rolling Stdev (30 Minute)</c:v>
                  </c:pt>
                  <c:pt idx="457">
                    <c:v>Rolling Stdev (30 Minute)</c:v>
                  </c:pt>
                  <c:pt idx="458">
                    <c:v>Rolling Stdev (30 Minute)</c:v>
                  </c:pt>
                  <c:pt idx="459">
                    <c:v>Rolling Stdev (30 Minute)</c:v>
                  </c:pt>
                  <c:pt idx="460">
                    <c:v>Rolling Stdev (30 Minute)</c:v>
                  </c:pt>
                  <c:pt idx="461">
                    <c:v>Rolling Stdev (30 Minute)</c:v>
                  </c:pt>
                  <c:pt idx="462">
                    <c:v>Rolling Stdev (30 Minute)</c:v>
                  </c:pt>
                  <c:pt idx="463">
                    <c:v>Rolling Stdev (30 Minute)</c:v>
                  </c:pt>
                  <c:pt idx="464">
                    <c:v>Rolling Stdev (30 Minute)</c:v>
                  </c:pt>
                  <c:pt idx="465">
                    <c:v>Rolling Stdev (30 Minute)</c:v>
                  </c:pt>
                  <c:pt idx="466">
                    <c:v>Rolling Stdev (30 Minute)</c:v>
                  </c:pt>
                  <c:pt idx="467">
                    <c:v>Rolling Stdev (30 Minute)</c:v>
                  </c:pt>
                  <c:pt idx="468">
                    <c:v>Rolling Stdev (30 Minute)</c:v>
                  </c:pt>
                  <c:pt idx="469">
                    <c:v>Rolling Stdev (30 Minute)</c:v>
                  </c:pt>
                  <c:pt idx="470">
                    <c:v>Rolling Stdev (30 Minute)</c:v>
                  </c:pt>
                  <c:pt idx="471">
                    <c:v>Rolling Stdev (30 Minute)</c:v>
                  </c:pt>
                  <c:pt idx="472">
                    <c:v>Rolling Stdev (30 Minute)</c:v>
                  </c:pt>
                  <c:pt idx="473">
                    <c:v>Rolling Stdev (30 Minute)</c:v>
                  </c:pt>
                  <c:pt idx="474">
                    <c:v>Rolling Stdev (30 Minute)</c:v>
                  </c:pt>
                  <c:pt idx="475">
                    <c:v>Rolling Stdev (30 Minute)</c:v>
                  </c:pt>
                  <c:pt idx="476">
                    <c:v>Rolling Stdev (30 Minute)</c:v>
                  </c:pt>
                  <c:pt idx="477">
                    <c:v>Rolling Stdev (30 Minute)</c:v>
                  </c:pt>
                  <c:pt idx="478">
                    <c:v>Rolling Stdev (30 Minute)</c:v>
                  </c:pt>
                  <c:pt idx="479">
                    <c:v>Rolling Stdev (30 Minute)</c:v>
                  </c:pt>
                  <c:pt idx="480">
                    <c:v>Rolling Stdev (30 Minute)</c:v>
                  </c:pt>
                  <c:pt idx="481">
                    <c:v>Rolling Stdev (30 Minute)</c:v>
                  </c:pt>
                  <c:pt idx="482">
                    <c:v>Rolling Stdev (30 Minute)</c:v>
                  </c:pt>
                  <c:pt idx="483">
                    <c:v>Rolling Stdev (30 Minute)</c:v>
                  </c:pt>
                  <c:pt idx="484">
                    <c:v>Rolling Stdev (30 Minute)</c:v>
                  </c:pt>
                  <c:pt idx="485">
                    <c:v>Rolling Stdev (30 Minute)</c:v>
                  </c:pt>
                  <c:pt idx="486">
                    <c:v>Rolling Stdev (30 Minute)</c:v>
                  </c:pt>
                  <c:pt idx="487">
                    <c:v>Rolling Stdev (30 Minute)</c:v>
                  </c:pt>
                  <c:pt idx="488">
                    <c:v>Rolling Stdev (30 Minute)</c:v>
                  </c:pt>
                  <c:pt idx="489">
                    <c:v>Rolling Stdev (30 Minute)</c:v>
                  </c:pt>
                  <c:pt idx="490">
                    <c:v>Rolling Stdev (30 Minute)</c:v>
                  </c:pt>
                  <c:pt idx="491">
                    <c:v>Rolling Stdev (30 Minute)</c:v>
                  </c:pt>
                  <c:pt idx="492">
                    <c:v>Rolling Stdev (30 Minute)</c:v>
                  </c:pt>
                  <c:pt idx="493">
                    <c:v>Rolling Stdev (30 Minute)</c:v>
                  </c:pt>
                  <c:pt idx="494">
                    <c:v>Rolling Stdev (30 Minute)</c:v>
                  </c:pt>
                  <c:pt idx="495">
                    <c:v>Rolling Stdev (30 Minute)</c:v>
                  </c:pt>
                  <c:pt idx="496">
                    <c:v>Rolling Stdev (30 Minute)</c:v>
                  </c:pt>
                  <c:pt idx="497">
                    <c:v>Rolling Stdev (30 Minute)</c:v>
                  </c:pt>
                  <c:pt idx="498">
                    <c:v>Rolling Stdev (30 Minute)</c:v>
                  </c:pt>
                  <c:pt idx="499">
                    <c:v>Rolling Stdev (30 Minute)</c:v>
                  </c:pt>
                  <c:pt idx="500">
                    <c:v>Rolling Stdev (30 Minute)</c:v>
                  </c:pt>
                  <c:pt idx="501">
                    <c:v>Rolling Stdev (30 Minute)</c:v>
                  </c:pt>
                  <c:pt idx="502">
                    <c:v>Rolling Stdev (30 Minute)</c:v>
                  </c:pt>
                  <c:pt idx="503">
                    <c:v>Rolling Stdev (30 Minute)</c:v>
                  </c:pt>
                  <c:pt idx="504">
                    <c:v>Rolling Stdev (30 Minute)</c:v>
                  </c:pt>
                  <c:pt idx="505">
                    <c:v>Rolling Stdev (30 Minute)</c:v>
                  </c:pt>
                  <c:pt idx="506">
                    <c:v>Rolling Stdev (30 Minute)</c:v>
                  </c:pt>
                  <c:pt idx="507">
                    <c:v>Rolling Stdev (30 Minute)</c:v>
                  </c:pt>
                  <c:pt idx="508">
                    <c:v>Rolling Stdev (30 Minute)</c:v>
                  </c:pt>
                  <c:pt idx="509">
                    <c:v>Rolling Stdev (30 Minute)</c:v>
                  </c:pt>
                  <c:pt idx="510">
                    <c:v>Rolling Stdev (30 Minute)</c:v>
                  </c:pt>
                  <c:pt idx="511">
                    <c:v>Rolling Stdev (30 Minute)</c:v>
                  </c:pt>
                  <c:pt idx="512">
                    <c:v>Rolling Stdev (30 Minute)</c:v>
                  </c:pt>
                  <c:pt idx="513">
                    <c:v>Rolling Stdev (30 Minute)</c:v>
                  </c:pt>
                  <c:pt idx="514">
                    <c:v>Rolling Stdev (30 Minute)</c:v>
                  </c:pt>
                  <c:pt idx="515">
                    <c:v>Rolling Stdev (30 Minute)</c:v>
                  </c:pt>
                  <c:pt idx="516">
                    <c:v>Rolling Stdev (30 Minute)</c:v>
                  </c:pt>
                  <c:pt idx="517">
                    <c:v>Rolling Stdev (30 Minute)</c:v>
                  </c:pt>
                  <c:pt idx="518">
                    <c:v>Rolling Stdev (30 Minute)</c:v>
                  </c:pt>
                  <c:pt idx="519">
                    <c:v>Rolling Stdev (30 Minute)</c:v>
                  </c:pt>
                  <c:pt idx="520">
                    <c:v>Rolling Stdev (30 Minute)</c:v>
                  </c:pt>
                  <c:pt idx="521">
                    <c:v>Rolling Stdev (30 Minute)</c:v>
                  </c:pt>
                  <c:pt idx="522">
                    <c:v>Rolling Stdev (30 Minute)</c:v>
                  </c:pt>
                  <c:pt idx="523">
                    <c:v>Rolling Stdev (30 Minute)</c:v>
                  </c:pt>
                  <c:pt idx="524">
                    <c:v>Rolling Stdev (30 Minute)</c:v>
                  </c:pt>
                  <c:pt idx="525">
                    <c:v>Rolling Stdev (30 Minute)</c:v>
                  </c:pt>
                  <c:pt idx="526">
                    <c:v>Rolling Stdev (30 Minute)</c:v>
                  </c:pt>
                  <c:pt idx="527">
                    <c:v>Rolling Stdev (30 Minute)</c:v>
                  </c:pt>
                  <c:pt idx="528">
                    <c:v>Rolling Stdev (30 Minute)</c:v>
                  </c:pt>
                  <c:pt idx="529">
                    <c:v>Rolling Stdev (30 Minute)</c:v>
                  </c:pt>
                  <c:pt idx="530">
                    <c:v>Rolling Stdev (30 Minute)</c:v>
                  </c:pt>
                  <c:pt idx="531">
                    <c:v>Rolling Stdev (30 Minute)</c:v>
                  </c:pt>
                  <c:pt idx="532">
                    <c:v>Rolling Stdev (30 Minute)</c:v>
                  </c:pt>
                  <c:pt idx="533">
                    <c:v>Rolling Stdev (30 Minute)</c:v>
                  </c:pt>
                  <c:pt idx="534">
                    <c:v>Rolling Stdev (30 Minute)</c:v>
                  </c:pt>
                  <c:pt idx="535">
                    <c:v>Rolling Stdev (30 Minute)</c:v>
                  </c:pt>
                  <c:pt idx="536">
                    <c:v>Rolling Stdev (30 Minute)</c:v>
                  </c:pt>
                  <c:pt idx="537">
                    <c:v>Rolling Stdev (30 Minute)</c:v>
                  </c:pt>
                  <c:pt idx="538">
                    <c:v>Rolling Stdev (30 Minute)</c:v>
                  </c:pt>
                  <c:pt idx="539">
                    <c:v>Rolling Stdev (30 Minute)</c:v>
                  </c:pt>
                  <c:pt idx="540">
                    <c:v>Rolling Stdev (30 Minute)</c:v>
                  </c:pt>
                  <c:pt idx="541">
                    <c:v>Rolling Stdev (30 Minute)</c:v>
                  </c:pt>
                  <c:pt idx="542">
                    <c:v>Rolling Stdev (30 Minute)</c:v>
                  </c:pt>
                  <c:pt idx="543">
                    <c:v>Rolling Stdev (30 Minute)</c:v>
                  </c:pt>
                  <c:pt idx="544">
                    <c:v>Rolling Stdev (30 Minute)</c:v>
                  </c:pt>
                  <c:pt idx="545">
                    <c:v>Rolling Stdev (30 Minute)</c:v>
                  </c:pt>
                  <c:pt idx="546">
                    <c:v>Rolling Stdev (30 Minute)</c:v>
                  </c:pt>
                  <c:pt idx="547">
                    <c:v>Rolling Stdev (30 Minute)</c:v>
                  </c:pt>
                  <c:pt idx="548">
                    <c:v>Rolling Stdev (30 Minute)</c:v>
                  </c:pt>
                  <c:pt idx="549">
                    <c:v>Rolling Stdev (30 Minute)</c:v>
                  </c:pt>
                  <c:pt idx="550">
                    <c:v>Rolling Stdev (30 Minute)</c:v>
                  </c:pt>
                  <c:pt idx="551">
                    <c:v>Rolling Stdev (30 Minute)</c:v>
                  </c:pt>
                  <c:pt idx="552">
                    <c:v>Rolling Stdev (30 Minute)</c:v>
                  </c:pt>
                  <c:pt idx="553">
                    <c:v>Rolling Stdev (30 Minute)</c:v>
                  </c:pt>
                  <c:pt idx="554">
                    <c:v>Rolling Stdev (30 Minute)</c:v>
                  </c:pt>
                  <c:pt idx="555">
                    <c:v>Rolling Stdev (30 Minute)</c:v>
                  </c:pt>
                  <c:pt idx="556">
                    <c:v>Rolling Stdev (30 Minute)</c:v>
                  </c:pt>
                  <c:pt idx="557">
                    <c:v>Rolling Stdev (30 Minute)</c:v>
                  </c:pt>
                  <c:pt idx="558">
                    <c:v>Rolling Stdev (30 Minute)</c:v>
                  </c:pt>
                  <c:pt idx="559">
                    <c:v>Rolling Stdev (30 Minute)</c:v>
                  </c:pt>
                  <c:pt idx="560">
                    <c:v>Rolling Stdev (30 Minute)</c:v>
                  </c:pt>
                  <c:pt idx="561">
                    <c:v>Rolling Stdev (30 Minute)</c:v>
                  </c:pt>
                  <c:pt idx="562">
                    <c:v>Rolling Stdev (30 Minute)</c:v>
                  </c:pt>
                  <c:pt idx="563">
                    <c:v>Rolling Stdev (30 Minute)</c:v>
                  </c:pt>
                  <c:pt idx="564">
                    <c:v>Rolling Stdev (30 Minute)</c:v>
                  </c:pt>
                  <c:pt idx="565">
                    <c:v>Rolling Stdev (30 Minute)</c:v>
                  </c:pt>
                  <c:pt idx="566">
                    <c:v>Rolling Stdev (30 Minute)</c:v>
                  </c:pt>
                  <c:pt idx="567">
                    <c:v>Rolling Stdev (30 Minute)</c:v>
                  </c:pt>
                  <c:pt idx="568">
                    <c:v>Rolling Stdev (30 Minute)</c:v>
                  </c:pt>
                  <c:pt idx="569">
                    <c:v>Rolling Stdev (30 Minute)</c:v>
                  </c:pt>
                  <c:pt idx="570">
                    <c:v>Rolling Stdev (30 Minute)</c:v>
                  </c:pt>
                  <c:pt idx="571">
                    <c:v>Rolling Stdev (30 Minute)</c:v>
                  </c:pt>
                  <c:pt idx="572">
                    <c:v>Rolling Stdev (30 Minute)</c:v>
                  </c:pt>
                  <c:pt idx="573">
                    <c:v>Rolling Stdev (30 Minute)</c:v>
                  </c:pt>
                  <c:pt idx="574">
                    <c:v>Rolling Stdev (30 Minute)</c:v>
                  </c:pt>
                  <c:pt idx="575">
                    <c:v>Rolling Stdev (30 Minute)</c:v>
                  </c:pt>
                  <c:pt idx="576">
                    <c:v>Rolling Stdev (30 Minute)</c:v>
                  </c:pt>
                  <c:pt idx="577">
                    <c:v>Rolling Stdev (30 Minute)</c:v>
                  </c:pt>
                  <c:pt idx="578">
                    <c:v>Rolling Stdev (30 Minute)</c:v>
                  </c:pt>
                  <c:pt idx="579">
                    <c:v>Rolling Stdev (30 Minute)</c:v>
                  </c:pt>
                  <c:pt idx="580">
                    <c:v>Rolling Stdev (30 Minute)</c:v>
                  </c:pt>
                  <c:pt idx="581">
                    <c:v>Rolling Stdev (30 Minute)</c:v>
                  </c:pt>
                  <c:pt idx="582">
                    <c:v>Rolling Stdev (30 Minute)</c:v>
                  </c:pt>
                  <c:pt idx="583">
                    <c:v>Rolling Stdev (30 Minute)</c:v>
                  </c:pt>
                  <c:pt idx="584">
                    <c:v>Rolling Stdev (30 Minute)</c:v>
                  </c:pt>
                  <c:pt idx="585">
                    <c:v>Rolling Stdev (30 Minute)</c:v>
                  </c:pt>
                  <c:pt idx="586">
                    <c:v>Rolling Stdev (30 Minute)</c:v>
                  </c:pt>
                  <c:pt idx="587">
                    <c:v>Rolling Stdev (30 Minute)</c:v>
                  </c:pt>
                  <c:pt idx="588">
                    <c:v>Rolling Stdev (30 Minute)</c:v>
                  </c:pt>
                  <c:pt idx="589">
                    <c:v>Rolling Stdev (30 Minute)</c:v>
                  </c:pt>
                  <c:pt idx="590">
                    <c:v>Rolling Stdev (30 Minute)</c:v>
                  </c:pt>
                  <c:pt idx="591">
                    <c:v>Rolling Stdev (30 Minute)</c:v>
                  </c:pt>
                  <c:pt idx="592">
                    <c:v>Rolling Stdev (30 Minute)</c:v>
                  </c:pt>
                  <c:pt idx="593">
                    <c:v>Rolling Stdev (30 Minute)</c:v>
                  </c:pt>
                  <c:pt idx="594">
                    <c:v>Rolling Stdev (30 Minute)</c:v>
                  </c:pt>
                  <c:pt idx="595">
                    <c:v>Rolling Stdev (30 Minute)</c:v>
                  </c:pt>
                  <c:pt idx="596">
                    <c:v>Rolling Stdev (30 Minute)</c:v>
                  </c:pt>
                  <c:pt idx="597">
                    <c:v>Rolling Stdev (30 Minute)</c:v>
                  </c:pt>
                  <c:pt idx="598">
                    <c:v>Rolling Stdev (30 Minute)</c:v>
                  </c:pt>
                  <c:pt idx="599">
                    <c:v>Rolling Stdev (30 Minute)</c:v>
                  </c:pt>
                  <c:pt idx="600">
                    <c:v>Rolling Stdev (30 Minute)</c:v>
                  </c:pt>
                  <c:pt idx="601">
                    <c:v>Rolling Stdev (30 Minute)</c:v>
                  </c:pt>
                  <c:pt idx="602">
                    <c:v>Rolling Stdev (30 Minute)</c:v>
                  </c:pt>
                  <c:pt idx="603">
                    <c:v>Rolling Stdev (30 Minute)</c:v>
                  </c:pt>
                  <c:pt idx="604">
                    <c:v>Rolling Stdev (30 Minute)</c:v>
                  </c:pt>
                  <c:pt idx="605">
                    <c:v>Rolling Stdev (30 Minute)</c:v>
                  </c:pt>
                  <c:pt idx="606">
                    <c:v>Rolling Stdev (30 Minute)</c:v>
                  </c:pt>
                  <c:pt idx="607">
                    <c:v>Rolling Stdev (30 Minute)</c:v>
                  </c:pt>
                  <c:pt idx="608">
                    <c:v>Rolling Stdev (30 Minute)</c:v>
                  </c:pt>
                  <c:pt idx="609">
                    <c:v>Rolling Stdev (30 Minute)</c:v>
                  </c:pt>
                  <c:pt idx="610">
                    <c:v>Rolling Stdev (30 Minute)</c:v>
                  </c:pt>
                  <c:pt idx="611">
                    <c:v>Rolling Stdev (30 Minute)</c:v>
                  </c:pt>
                  <c:pt idx="612">
                    <c:v>Rolling Stdev (30 Minute)</c:v>
                  </c:pt>
                  <c:pt idx="613">
                    <c:v>Rolling Stdev (30 Minute)</c:v>
                  </c:pt>
                  <c:pt idx="614">
                    <c:v>Rolling Stdev (30 Minute)</c:v>
                  </c:pt>
                  <c:pt idx="615">
                    <c:v>Rolling Stdev (30 Minute)</c:v>
                  </c:pt>
                  <c:pt idx="616">
                    <c:v>Rolling Stdev (30 Minute)</c:v>
                  </c:pt>
                  <c:pt idx="617">
                    <c:v>Rolling Stdev (30 Minute)</c:v>
                  </c:pt>
                  <c:pt idx="618">
                    <c:v>Rolling Stdev (30 Minute)</c:v>
                  </c:pt>
                  <c:pt idx="619">
                    <c:v>Rolling Stdev (30 Minute)</c:v>
                  </c:pt>
                  <c:pt idx="620">
                    <c:v>Rolling Stdev (30 Minute)</c:v>
                  </c:pt>
                  <c:pt idx="621">
                    <c:v>Rolling Stdev (30 Minute)</c:v>
                  </c:pt>
                  <c:pt idx="622">
                    <c:v>Rolling Stdev (30 Minute)</c:v>
                  </c:pt>
                  <c:pt idx="623">
                    <c:v>Rolling Stdev (30 Minute)</c:v>
                  </c:pt>
                  <c:pt idx="624">
                    <c:v>Rolling Stdev (30 Minute)</c:v>
                  </c:pt>
                  <c:pt idx="625">
                    <c:v>Rolling Stdev (30 Minute)</c:v>
                  </c:pt>
                  <c:pt idx="626">
                    <c:v>Rolling Stdev (30 Minute)</c:v>
                  </c:pt>
                  <c:pt idx="627">
                    <c:v>Rolling Stdev (30 Minute)</c:v>
                  </c:pt>
                  <c:pt idx="628">
                    <c:v>Rolling Stdev (30 Minute)</c:v>
                  </c:pt>
                  <c:pt idx="629">
                    <c:v>Rolling Stdev (30 Minute)</c:v>
                  </c:pt>
                  <c:pt idx="630">
                    <c:v>Rolling Stdev (30 Minute)</c:v>
                  </c:pt>
                  <c:pt idx="631">
                    <c:v>Rolling Stdev (30 Minute)</c:v>
                  </c:pt>
                  <c:pt idx="632">
                    <c:v>Rolling Stdev (30 Minute)</c:v>
                  </c:pt>
                  <c:pt idx="633">
                    <c:v>Rolling Stdev (30 Minute)</c:v>
                  </c:pt>
                  <c:pt idx="634">
                    <c:v>Rolling Stdev (30 Minute)</c:v>
                  </c:pt>
                  <c:pt idx="635">
                    <c:v>Rolling Stdev (30 Minute)</c:v>
                  </c:pt>
                  <c:pt idx="636">
                    <c:v>Rolling Stdev (30 Minute)</c:v>
                  </c:pt>
                  <c:pt idx="637">
                    <c:v>Rolling Stdev (30 Minute)</c:v>
                  </c:pt>
                  <c:pt idx="638">
                    <c:v>Rolling Stdev (30 Minute)</c:v>
                  </c:pt>
                  <c:pt idx="639">
                    <c:v>Rolling Stdev (30 Minute)</c:v>
                  </c:pt>
                  <c:pt idx="640">
                    <c:v>Rolling Stdev (30 Minute)</c:v>
                  </c:pt>
                  <c:pt idx="641">
                    <c:v>Rolling Stdev (30 Minute)</c:v>
                  </c:pt>
                  <c:pt idx="642">
                    <c:v>Rolling Stdev (30 Minute)</c:v>
                  </c:pt>
                  <c:pt idx="643">
                    <c:v>Rolling Stdev (30 Minute)</c:v>
                  </c:pt>
                  <c:pt idx="644">
                    <c:v>Rolling Stdev (30 Minute)</c:v>
                  </c:pt>
                  <c:pt idx="645">
                    <c:v>Rolling Stdev (30 Minute)</c:v>
                  </c:pt>
                  <c:pt idx="646">
                    <c:v>Rolling Stdev (30 Minute)</c:v>
                  </c:pt>
                  <c:pt idx="647">
                    <c:v>Rolling Stdev (30 Minute)</c:v>
                  </c:pt>
                  <c:pt idx="648">
                    <c:v>Rolling Stdev (30 Minute)</c:v>
                  </c:pt>
                  <c:pt idx="649">
                    <c:v>Rolling Stdev (30 Minute)</c:v>
                  </c:pt>
                  <c:pt idx="650">
                    <c:v>Rolling Stdev (30 Minute)</c:v>
                  </c:pt>
                  <c:pt idx="651">
                    <c:v>Rolling Stdev (30 Minute)</c:v>
                  </c:pt>
                  <c:pt idx="652">
                    <c:v>Rolling Stdev (30 Minute)</c:v>
                  </c:pt>
                  <c:pt idx="653">
                    <c:v>Rolling Stdev (30 Minute)</c:v>
                  </c:pt>
                  <c:pt idx="654">
                    <c:v>Rolling Stdev (30 Minute)</c:v>
                  </c:pt>
                  <c:pt idx="655">
                    <c:v>Rolling Stdev (30 Minute)</c:v>
                  </c:pt>
                  <c:pt idx="656">
                    <c:v>Rolling Stdev (30 Minute)</c:v>
                  </c:pt>
                  <c:pt idx="657">
                    <c:v>Rolling Stdev (30 Minute)</c:v>
                  </c:pt>
                  <c:pt idx="658">
                    <c:v>Rolling Stdev (30 Minute)</c:v>
                  </c:pt>
                  <c:pt idx="659">
                    <c:v>Rolling Stdev (30 Minute)</c:v>
                  </c:pt>
                  <c:pt idx="660">
                    <c:v>Rolling Stdev (30 Minute)</c:v>
                  </c:pt>
                  <c:pt idx="661">
                    <c:v>Rolling Stdev (30 Minute)</c:v>
                  </c:pt>
                  <c:pt idx="662">
                    <c:v>Rolling Stdev (30 Minute)</c:v>
                  </c:pt>
                  <c:pt idx="663">
                    <c:v>Rolling Stdev (30 Minute)</c:v>
                  </c:pt>
                  <c:pt idx="664">
                    <c:v>Rolling Stdev (30 Minute)</c:v>
                  </c:pt>
                  <c:pt idx="665">
                    <c:v>Rolling Stdev (30 Minute)</c:v>
                  </c:pt>
                  <c:pt idx="666">
                    <c:v>Rolling Stdev (30 Minute)</c:v>
                  </c:pt>
                  <c:pt idx="667">
                    <c:v>Rolling Stdev (30 Minute)</c:v>
                  </c:pt>
                  <c:pt idx="668">
                    <c:v>Rolling Stdev (30 Minute)</c:v>
                  </c:pt>
                  <c:pt idx="669">
                    <c:v>Rolling Stdev (30 Minute)</c:v>
                  </c:pt>
                  <c:pt idx="670">
                    <c:v>Rolling Stdev (30 Minute)</c:v>
                  </c:pt>
                  <c:pt idx="671">
                    <c:v>Rolling Stdev (30 Minute)</c:v>
                  </c:pt>
                  <c:pt idx="672">
                    <c:v>Rolling Stdev (30 Minute)</c:v>
                  </c:pt>
                  <c:pt idx="673">
                    <c:v>Rolling Stdev (30 Minute)</c:v>
                  </c:pt>
                  <c:pt idx="674">
                    <c:v>Rolling Stdev (30 Minute)</c:v>
                  </c:pt>
                  <c:pt idx="675">
                    <c:v>Rolling Stdev (30 Minute)</c:v>
                  </c:pt>
                  <c:pt idx="676">
                    <c:v>Rolling Stdev (30 Minute)</c:v>
                  </c:pt>
                  <c:pt idx="677">
                    <c:v>Rolling Stdev (30 Minute)</c:v>
                  </c:pt>
                  <c:pt idx="678">
                    <c:v>Rolling Stdev (30 Minute)</c:v>
                  </c:pt>
                  <c:pt idx="679">
                    <c:v>Rolling Stdev (30 Minute)</c:v>
                  </c:pt>
                  <c:pt idx="680">
                    <c:v>Rolling Stdev (30 Minute)</c:v>
                  </c:pt>
                  <c:pt idx="681">
                    <c:v>Rolling Stdev (30 Minute)</c:v>
                  </c:pt>
                  <c:pt idx="682">
                    <c:v>Rolling Stdev (30 Minute)</c:v>
                  </c:pt>
                  <c:pt idx="683">
                    <c:v>Rolling Stdev (30 Minute)</c:v>
                  </c:pt>
                  <c:pt idx="684">
                    <c:v>Rolling Stdev (30 Minute)</c:v>
                  </c:pt>
                  <c:pt idx="685">
                    <c:v>Rolling Stdev (30 Minute)</c:v>
                  </c:pt>
                  <c:pt idx="686">
                    <c:v>Rolling Stdev (30 Minute)</c:v>
                  </c:pt>
                  <c:pt idx="687">
                    <c:v>Rolling Stdev (30 Minute)</c:v>
                  </c:pt>
                  <c:pt idx="688">
                    <c:v>Rolling Stdev (30 Minute)</c:v>
                  </c:pt>
                  <c:pt idx="689">
                    <c:v>Rolling Stdev (30 Minute)</c:v>
                  </c:pt>
                  <c:pt idx="690">
                    <c:v>Rolling Stdev (30 Minute)</c:v>
                  </c:pt>
                  <c:pt idx="691">
                    <c:v>Rolling Stdev (30 Minute)</c:v>
                  </c:pt>
                  <c:pt idx="692">
                    <c:v>Rolling Stdev (30 Minute)</c:v>
                  </c:pt>
                  <c:pt idx="693">
                    <c:v>Rolling Stdev (30 Minute)</c:v>
                  </c:pt>
                  <c:pt idx="694">
                    <c:v>Rolling Stdev (30 Minute)</c:v>
                  </c:pt>
                  <c:pt idx="695">
                    <c:v>Rolling Stdev (30 Minute)</c:v>
                  </c:pt>
                  <c:pt idx="696">
                    <c:v>Rolling Stdev (30 Minute)</c:v>
                  </c:pt>
                  <c:pt idx="697">
                    <c:v>Rolling Stdev (30 Minute)</c:v>
                  </c:pt>
                  <c:pt idx="698">
                    <c:v>Rolling Stdev (30 Minute)</c:v>
                  </c:pt>
                  <c:pt idx="699">
                    <c:v>Rolling Stdev (30 Minute)</c:v>
                  </c:pt>
                  <c:pt idx="700">
                    <c:v>Rolling Stdev (30 Minute)</c:v>
                  </c:pt>
                  <c:pt idx="701">
                    <c:v>Rolling Stdev (30 Minute)</c:v>
                  </c:pt>
                  <c:pt idx="702">
                    <c:v>Rolling Stdev (30 Minute)</c:v>
                  </c:pt>
                  <c:pt idx="703">
                    <c:v>Rolling Stdev (30 Minute)</c:v>
                  </c:pt>
                  <c:pt idx="704">
                    <c:v>Rolling Stdev (30 Minute)</c:v>
                  </c:pt>
                  <c:pt idx="705">
                    <c:v>Rolling Stdev (30 Minute)</c:v>
                  </c:pt>
                  <c:pt idx="706">
                    <c:v>Rolling Stdev (30 Minute)</c:v>
                  </c:pt>
                  <c:pt idx="707">
                    <c:v>Rolling Stdev (30 Minute)</c:v>
                  </c:pt>
                  <c:pt idx="708">
                    <c:v>Rolling Stdev (30 Minute)</c:v>
                  </c:pt>
                  <c:pt idx="709">
                    <c:v>Rolling Stdev (30 Minute)</c:v>
                  </c:pt>
                  <c:pt idx="710">
                    <c:v>Rolling Stdev (30 Minute)</c:v>
                  </c:pt>
                  <c:pt idx="711">
                    <c:v>Rolling Stdev (30 Minute)</c:v>
                  </c:pt>
                  <c:pt idx="712">
                    <c:v>Rolling Stdev (30 Minute)</c:v>
                  </c:pt>
                  <c:pt idx="713">
                    <c:v>Rolling Stdev (30 Minute)</c:v>
                  </c:pt>
                  <c:pt idx="714">
                    <c:v>Rolling Stdev (30 Minute)</c:v>
                  </c:pt>
                  <c:pt idx="715">
                    <c:v>Rolling Stdev (30 Minute)</c:v>
                  </c:pt>
                  <c:pt idx="716">
                    <c:v>Rolling Stdev (30 Minute)</c:v>
                  </c:pt>
                  <c:pt idx="717">
                    <c:v>Rolling Stdev (30 Minute)</c:v>
                  </c:pt>
                  <c:pt idx="718">
                    <c:v>Rolling Stdev (30 Minute)</c:v>
                  </c:pt>
                  <c:pt idx="719">
                    <c:v>Rolling Stdev (30 Minute)</c:v>
                  </c:pt>
                  <c:pt idx="720">
                    <c:v>Rolling Stdev (30 Minute)</c:v>
                  </c:pt>
                  <c:pt idx="721">
                    <c:v>Rolling Stdev (30 Minute)</c:v>
                  </c:pt>
                  <c:pt idx="722">
                    <c:v>Rolling Stdev (30 Minute)</c:v>
                  </c:pt>
                  <c:pt idx="723">
                    <c:v>Rolling Stdev (30 Minute)</c:v>
                  </c:pt>
                  <c:pt idx="724">
                    <c:v>Rolling Stdev (30 Minute)</c:v>
                  </c:pt>
                  <c:pt idx="725">
                    <c:v>Rolling Stdev (30 Minute)</c:v>
                  </c:pt>
                  <c:pt idx="726">
                    <c:v>Rolling Stdev (30 Minute)</c:v>
                  </c:pt>
                  <c:pt idx="727">
                    <c:v>Rolling Stdev (30 Minute)</c:v>
                  </c:pt>
                  <c:pt idx="728">
                    <c:v>Rolling Stdev (30 Minute)</c:v>
                  </c:pt>
                  <c:pt idx="729">
                    <c:v>Rolling Stdev (30 Minute)</c:v>
                  </c:pt>
                  <c:pt idx="730">
                    <c:v>Rolling Stdev (30 Minute)</c:v>
                  </c:pt>
                  <c:pt idx="731">
                    <c:v>Rolling Stdev (30 Minute)</c:v>
                  </c:pt>
                  <c:pt idx="732">
                    <c:v>Rolling Stdev (30 Minute)</c:v>
                  </c:pt>
                  <c:pt idx="733">
                    <c:v>Rolling Stdev (30 Minute)</c:v>
                  </c:pt>
                  <c:pt idx="734">
                    <c:v>Rolling Stdev (30 Minute)</c:v>
                  </c:pt>
                  <c:pt idx="735">
                    <c:v>Rolling Stdev (30 Minute)</c:v>
                  </c:pt>
                  <c:pt idx="736">
                    <c:v>Rolling Stdev (30 Minute)</c:v>
                  </c:pt>
                  <c:pt idx="737">
                    <c:v>Rolling Stdev (30 Minute)</c:v>
                  </c:pt>
                  <c:pt idx="738">
                    <c:v>Rolling Stdev (30 Minute)</c:v>
                  </c:pt>
                  <c:pt idx="739">
                    <c:v>Rolling Stdev (30 Minute)</c:v>
                  </c:pt>
                  <c:pt idx="740">
                    <c:v>Rolling Stdev (30 Minute)</c:v>
                  </c:pt>
                  <c:pt idx="741">
                    <c:v>Rolling Stdev (30 Minute)</c:v>
                  </c:pt>
                  <c:pt idx="742">
                    <c:v>Rolling Stdev (30 Minute)</c:v>
                  </c:pt>
                  <c:pt idx="743">
                    <c:v>Rolling Stdev (30 Minute)</c:v>
                  </c:pt>
                  <c:pt idx="744">
                    <c:v>Rolling Stdev (30 Minute)</c:v>
                  </c:pt>
                  <c:pt idx="745">
                    <c:v>Rolling Stdev (30 Minute)</c:v>
                  </c:pt>
                  <c:pt idx="746">
                    <c:v>Rolling Stdev (30 Minute)</c:v>
                  </c:pt>
                  <c:pt idx="747">
                    <c:v>Rolling Stdev (30 Minute)</c:v>
                  </c:pt>
                  <c:pt idx="748">
                    <c:v>Rolling Stdev (30 Minute)</c:v>
                  </c:pt>
                  <c:pt idx="749">
                    <c:v>Rolling Stdev (30 Minute)</c:v>
                  </c:pt>
                  <c:pt idx="750">
                    <c:v>Rolling Stdev (30 Minute)</c:v>
                  </c:pt>
                  <c:pt idx="751">
                    <c:v>Rolling Stdev (30 Minute)</c:v>
                  </c:pt>
                  <c:pt idx="752">
                    <c:v>Rolling Stdev (30 Minute)</c:v>
                  </c:pt>
                  <c:pt idx="753">
                    <c:v>Rolling Stdev (30 Minute)</c:v>
                  </c:pt>
                  <c:pt idx="754">
                    <c:v>Rolling Stdev (30 Minute)</c:v>
                  </c:pt>
                  <c:pt idx="755">
                    <c:v>Rolling Stdev (30 Minute)</c:v>
                  </c:pt>
                  <c:pt idx="756">
                    <c:v>Rolling Stdev (30 Minute)</c:v>
                  </c:pt>
                  <c:pt idx="757">
                    <c:v>Rolling Stdev (30 Minute)</c:v>
                  </c:pt>
                  <c:pt idx="758">
                    <c:v>Rolling Stdev (30 Minute)</c:v>
                  </c:pt>
                  <c:pt idx="759">
                    <c:v>Rolling Stdev (30 Minute)</c:v>
                  </c:pt>
                  <c:pt idx="760">
                    <c:v>Rolling Stdev (30 Minute)</c:v>
                  </c:pt>
                  <c:pt idx="761">
                    <c:v>Rolling Stdev (30 Minute)</c:v>
                  </c:pt>
                  <c:pt idx="762">
                    <c:v>Rolling Stdev (30 Minute)</c:v>
                  </c:pt>
                  <c:pt idx="763">
                    <c:v>Rolling Stdev (30 Minute)</c:v>
                  </c:pt>
                  <c:pt idx="764">
                    <c:v>Rolling Stdev (30 Minute)</c:v>
                  </c:pt>
                  <c:pt idx="765">
                    <c:v>Rolling Stdev (30 Minute)</c:v>
                  </c:pt>
                  <c:pt idx="766">
                    <c:v>Rolling Stdev (30 Minute)</c:v>
                  </c:pt>
                  <c:pt idx="767">
                    <c:v>Rolling Stdev (30 Minute)</c:v>
                  </c:pt>
                  <c:pt idx="768">
                    <c:v>Rolling Stdev (30 Minute)</c:v>
                  </c:pt>
                  <c:pt idx="769">
                    <c:v>Rolling Stdev (30 Minute)</c:v>
                  </c:pt>
                  <c:pt idx="770">
                    <c:v>Rolling Stdev (30 Minute)</c:v>
                  </c:pt>
                  <c:pt idx="771">
                    <c:v>Rolling Stdev (30 Minute)</c:v>
                  </c:pt>
                  <c:pt idx="772">
                    <c:v>Rolling Stdev (30 Minute)</c:v>
                  </c:pt>
                  <c:pt idx="773">
                    <c:v>Rolling Stdev (30 Minute)</c:v>
                  </c:pt>
                  <c:pt idx="774">
                    <c:v>Rolling Stdev (30 Minute)</c:v>
                  </c:pt>
                  <c:pt idx="775">
                    <c:v>Rolling Stdev (30 Minute)</c:v>
                  </c:pt>
                  <c:pt idx="776">
                    <c:v>Rolling Stdev (30 Minute)</c:v>
                  </c:pt>
                  <c:pt idx="777">
                    <c:v>Rolling Stdev (30 Minute)</c:v>
                  </c:pt>
                  <c:pt idx="778">
                    <c:v>Rolling Stdev (30 Minute)</c:v>
                  </c:pt>
                  <c:pt idx="779">
                    <c:v>Rolling Stdev (30 Minute)</c:v>
                  </c:pt>
                  <c:pt idx="780">
                    <c:v>Rolling Stdev (30 Minute)</c:v>
                  </c:pt>
                  <c:pt idx="781">
                    <c:v>Rolling Stdev (30 Minute)</c:v>
                  </c:pt>
                  <c:pt idx="782">
                    <c:v>Rolling Stdev (30 Minute)</c:v>
                  </c:pt>
                  <c:pt idx="783">
                    <c:v>Rolling Stdev (30 Minute)</c:v>
                  </c:pt>
                  <c:pt idx="784">
                    <c:v>Rolling Stdev (30 Minute)</c:v>
                  </c:pt>
                  <c:pt idx="785">
                    <c:v>Rolling Stdev (30 Minute)</c:v>
                  </c:pt>
                  <c:pt idx="786">
                    <c:v>Rolling Stdev (30 Minute)</c:v>
                  </c:pt>
                  <c:pt idx="787">
                    <c:v>Rolling Stdev (30 Minute)</c:v>
                  </c:pt>
                  <c:pt idx="788">
                    <c:v>Rolling Stdev (30 Minute)</c:v>
                  </c:pt>
                  <c:pt idx="789">
                    <c:v>Rolling Stdev (30 Minute)</c:v>
                  </c:pt>
                  <c:pt idx="790">
                    <c:v>Rolling Stdev (30 Minute)</c:v>
                  </c:pt>
                  <c:pt idx="791">
                    <c:v>Rolling Stdev (30 Minute)</c:v>
                  </c:pt>
                  <c:pt idx="792">
                    <c:v>Rolling Stdev (30 Minute)</c:v>
                  </c:pt>
                  <c:pt idx="793">
                    <c:v>Rolling Stdev (30 Minute)</c:v>
                  </c:pt>
                  <c:pt idx="794">
                    <c:v>Rolling Stdev (30 Minute)</c:v>
                  </c:pt>
                  <c:pt idx="795">
                    <c:v>Rolling Stdev (30 Minute)</c:v>
                  </c:pt>
                  <c:pt idx="796">
                    <c:v>Rolling Stdev (30 Minute)</c:v>
                  </c:pt>
                  <c:pt idx="797">
                    <c:v>Rolling Stdev (30 Minute)</c:v>
                  </c:pt>
                  <c:pt idx="798">
                    <c:v>Rolling Stdev (30 Minute)</c:v>
                  </c:pt>
                  <c:pt idx="799">
                    <c:v>Rolling Stdev (30 Minute)</c:v>
                  </c:pt>
                  <c:pt idx="800">
                    <c:v>Rolling Stdev (30 Minute)</c:v>
                  </c:pt>
                  <c:pt idx="801">
                    <c:v>Rolling Stdev (30 Minute)</c:v>
                  </c:pt>
                  <c:pt idx="802">
                    <c:v>Rolling Stdev (30 Minute)</c:v>
                  </c:pt>
                  <c:pt idx="803">
                    <c:v>Rolling Stdev (30 Minute)</c:v>
                  </c:pt>
                  <c:pt idx="804">
                    <c:v>Rolling Stdev (30 Minute)</c:v>
                  </c:pt>
                  <c:pt idx="805">
                    <c:v>Rolling Stdev (30 Minute)</c:v>
                  </c:pt>
                  <c:pt idx="806">
                    <c:v>Rolling Stdev (30 Minute)</c:v>
                  </c:pt>
                  <c:pt idx="807">
                    <c:v>Rolling Stdev (30 Minute)</c:v>
                  </c:pt>
                  <c:pt idx="808">
                    <c:v>Rolling Stdev (30 Minute)</c:v>
                  </c:pt>
                  <c:pt idx="809">
                    <c:v>Rolling Stdev (30 Minute)</c:v>
                  </c:pt>
                  <c:pt idx="810">
                    <c:v>Rolling Stdev (30 Minute)</c:v>
                  </c:pt>
                  <c:pt idx="811">
                    <c:v>Rolling Stdev (30 Minute)</c:v>
                  </c:pt>
                  <c:pt idx="812">
                    <c:v>Rolling Stdev (30 Minute)</c:v>
                  </c:pt>
                  <c:pt idx="813">
                    <c:v>Rolling Stdev (30 Minute)</c:v>
                  </c:pt>
                  <c:pt idx="814">
                    <c:v>Rolling Stdev (30 Minute)</c:v>
                  </c:pt>
                  <c:pt idx="815">
                    <c:v>Rolling Stdev (30 Minute)</c:v>
                  </c:pt>
                  <c:pt idx="816">
                    <c:v>Rolling Stdev (30 Minute)</c:v>
                  </c:pt>
                  <c:pt idx="817">
                    <c:v>Rolling Stdev (30 Minute)</c:v>
                  </c:pt>
                  <c:pt idx="818">
                    <c:v>Rolling Stdev (30 Minute)</c:v>
                  </c:pt>
                  <c:pt idx="819">
                    <c:v>Rolling Stdev (30 Minute)</c:v>
                  </c:pt>
                  <c:pt idx="820">
                    <c:v>Rolling Stdev (30 Minute)</c:v>
                  </c:pt>
                  <c:pt idx="821">
                    <c:v>Rolling Stdev (30 Minute)</c:v>
                  </c:pt>
                  <c:pt idx="822">
                    <c:v>Rolling Stdev (30 Minute)</c:v>
                  </c:pt>
                  <c:pt idx="823">
                    <c:v>Rolling Stdev (30 Minute)</c:v>
                  </c:pt>
                  <c:pt idx="824">
                    <c:v>Rolling Stdev (30 Minute)</c:v>
                  </c:pt>
                  <c:pt idx="825">
                    <c:v>Rolling Stdev (30 Minute)</c:v>
                  </c:pt>
                  <c:pt idx="826">
                    <c:v>Rolling Stdev (30 Minute)</c:v>
                  </c:pt>
                  <c:pt idx="827">
                    <c:v>Rolling Stdev (30 Minute)</c:v>
                  </c:pt>
                  <c:pt idx="828">
                    <c:v>Rolling Stdev (30 Minute)</c:v>
                  </c:pt>
                  <c:pt idx="829">
                    <c:v>Rolling Stdev (30 Minute)</c:v>
                  </c:pt>
                  <c:pt idx="830">
                    <c:v>Rolling Stdev (30 Minute)</c:v>
                  </c:pt>
                  <c:pt idx="831">
                    <c:v>Rolling Stdev (30 Minute)</c:v>
                  </c:pt>
                  <c:pt idx="832">
                    <c:v>Rolling Stdev (30 Minute)</c:v>
                  </c:pt>
                  <c:pt idx="833">
                    <c:v>Rolling Stdev (30 Minute)</c:v>
                  </c:pt>
                  <c:pt idx="834">
                    <c:v>Rolling Stdev (30 Minute)</c:v>
                  </c:pt>
                  <c:pt idx="835">
                    <c:v>Rolling Stdev (30 Minute)</c:v>
                  </c:pt>
                  <c:pt idx="836">
                    <c:v>Rolling Stdev (30 Minute)</c:v>
                  </c:pt>
                  <c:pt idx="837">
                    <c:v>Rolling Stdev (30 Minute)</c:v>
                  </c:pt>
                  <c:pt idx="838">
                    <c:v>Rolling Stdev (30 Minute)</c:v>
                  </c:pt>
                  <c:pt idx="839">
                    <c:v>Rolling Stdev (30 Minute)</c:v>
                  </c:pt>
                  <c:pt idx="840">
                    <c:v>Rolling Stdev (30 Minute)</c:v>
                  </c:pt>
                  <c:pt idx="841">
                    <c:v>Rolling Stdev (30 Minute)</c:v>
                  </c:pt>
                  <c:pt idx="842">
                    <c:v>Rolling Stdev (30 Minute)</c:v>
                  </c:pt>
                  <c:pt idx="843">
                    <c:v>Rolling Stdev (30 Minute)</c:v>
                  </c:pt>
                  <c:pt idx="844">
                    <c:v>Rolling Stdev (30 Minute)</c:v>
                  </c:pt>
                  <c:pt idx="845">
                    <c:v>Rolling Stdev (30 Minute)</c:v>
                  </c:pt>
                  <c:pt idx="846">
                    <c:v>Rolling Stdev (30 Minute)</c:v>
                  </c:pt>
                  <c:pt idx="847">
                    <c:v>Rolling Stdev (30 Minute)</c:v>
                  </c:pt>
                  <c:pt idx="848">
                    <c:v>Rolling Stdev (30 Minute)</c:v>
                  </c:pt>
                  <c:pt idx="849">
                    <c:v>Rolling Stdev (30 Minute)</c:v>
                  </c:pt>
                  <c:pt idx="850">
                    <c:v>Rolling Stdev (30 Minute)</c:v>
                  </c:pt>
                  <c:pt idx="851">
                    <c:v>Rolling Stdev (30 Minute)</c:v>
                  </c:pt>
                  <c:pt idx="852">
                    <c:v>Rolling Stdev (30 Minute)</c:v>
                  </c:pt>
                  <c:pt idx="853">
                    <c:v>Rolling Stdev (30 Minute)</c:v>
                  </c:pt>
                  <c:pt idx="854">
                    <c:v>Rolling Stdev (30 Minute)</c:v>
                  </c:pt>
                  <c:pt idx="855">
                    <c:v>Rolling Stdev (30 Minute)</c:v>
                  </c:pt>
                  <c:pt idx="856">
                    <c:v>Rolling Stdev (30 Minute)</c:v>
                  </c:pt>
                  <c:pt idx="857">
                    <c:v>Rolling Stdev (30 Minute)</c:v>
                  </c:pt>
                  <c:pt idx="858">
                    <c:v>Rolling Stdev (30 Minute)</c:v>
                  </c:pt>
                  <c:pt idx="859">
                    <c:v>Rolling Stdev (30 Minute)</c:v>
                  </c:pt>
                  <c:pt idx="860">
                    <c:v>Rolling Stdev (30 Minute)</c:v>
                  </c:pt>
                  <c:pt idx="861">
                    <c:v>Rolling Stdev (30 Minute)</c:v>
                  </c:pt>
                  <c:pt idx="862">
                    <c:v>Rolling Stdev (30 Minute)</c:v>
                  </c:pt>
                  <c:pt idx="863">
                    <c:v>Rolling Stdev (30 Minute)</c:v>
                  </c:pt>
                  <c:pt idx="864">
                    <c:v>Rolling Stdev (30 Minute)</c:v>
                  </c:pt>
                  <c:pt idx="865">
                    <c:v>Rolling Stdev (30 Minute)</c:v>
                  </c:pt>
                  <c:pt idx="866">
                    <c:v>Rolling Stdev (30 Minute)</c:v>
                  </c:pt>
                  <c:pt idx="867">
                    <c:v>Rolling Stdev (30 Minute)</c:v>
                  </c:pt>
                  <c:pt idx="868">
                    <c:v>Rolling Stdev (30 Minute)</c:v>
                  </c:pt>
                  <c:pt idx="869">
                    <c:v>Rolling Stdev (30 Minute)</c:v>
                  </c:pt>
                  <c:pt idx="870">
                    <c:v>Rolling Stdev (30 Minute)</c:v>
                  </c:pt>
                  <c:pt idx="871">
                    <c:v>Rolling Stdev (30 Minute)</c:v>
                  </c:pt>
                  <c:pt idx="872">
                    <c:v>Rolling Stdev (30 Minute)</c:v>
                  </c:pt>
                  <c:pt idx="873">
                    <c:v>Rolling Stdev (30 Minute)</c:v>
                  </c:pt>
                  <c:pt idx="874">
                    <c:v>Rolling Stdev (30 Minute)</c:v>
                  </c:pt>
                  <c:pt idx="875">
                    <c:v>Rolling Stdev (30 Minute)</c:v>
                  </c:pt>
                  <c:pt idx="876">
                    <c:v>Rolling Stdev (30 Minute)</c:v>
                  </c:pt>
                  <c:pt idx="877">
                    <c:v>Rolling Stdev (30 Minute)</c:v>
                  </c:pt>
                  <c:pt idx="878">
                    <c:v>Rolling Stdev (30 Minute)</c:v>
                  </c:pt>
                  <c:pt idx="879">
                    <c:v>Rolling Stdev (30 Minute)</c:v>
                  </c:pt>
                  <c:pt idx="880">
                    <c:v>Rolling Stdev (30 Minute)</c:v>
                  </c:pt>
                  <c:pt idx="881">
                    <c:v>Rolling Stdev (30 Minute)</c:v>
                  </c:pt>
                  <c:pt idx="882">
                    <c:v>Rolling Stdev (30 Minute)</c:v>
                  </c:pt>
                  <c:pt idx="883">
                    <c:v>Rolling Stdev (30 Minute)</c:v>
                  </c:pt>
                  <c:pt idx="884">
                    <c:v>Rolling Stdev (30 Minute)</c:v>
                  </c:pt>
                  <c:pt idx="885">
                    <c:v>Rolling Stdev (30 Minute)</c:v>
                  </c:pt>
                  <c:pt idx="886">
                    <c:v>Rolling Stdev (30 Minute)</c:v>
                  </c:pt>
                  <c:pt idx="887">
                    <c:v>Rolling Stdev (30 Minute)</c:v>
                  </c:pt>
                  <c:pt idx="888">
                    <c:v>Rolling Stdev (30 Minute)</c:v>
                  </c:pt>
                  <c:pt idx="889">
                    <c:v>Rolling Stdev (30 Minute)</c:v>
                  </c:pt>
                  <c:pt idx="890">
                    <c:v>Rolling Stdev (30 Minute)</c:v>
                  </c:pt>
                  <c:pt idx="891">
                    <c:v>Rolling Stdev (30 Minute)</c:v>
                  </c:pt>
                  <c:pt idx="892">
                    <c:v>Rolling Stdev (30 Minute)</c:v>
                  </c:pt>
                  <c:pt idx="893">
                    <c:v>Rolling Stdev (30 Minute)</c:v>
                  </c:pt>
                  <c:pt idx="894">
                    <c:v>Rolling Stdev (30 Minute)</c:v>
                  </c:pt>
                  <c:pt idx="895">
                    <c:v>Rolling Stdev (30 Minute)</c:v>
                  </c:pt>
                  <c:pt idx="896">
                    <c:v>Rolling Stdev (30 Minute)</c:v>
                  </c:pt>
                  <c:pt idx="897">
                    <c:v>Rolling Stdev (30 Minute)</c:v>
                  </c:pt>
                  <c:pt idx="898">
                    <c:v>Rolling Stdev (30 Minute)</c:v>
                  </c:pt>
                  <c:pt idx="899">
                    <c:v>Rolling Stdev (30 Minute)</c:v>
                  </c:pt>
                  <c:pt idx="900">
                    <c:v>Rolling Stdev (30 Minute)</c:v>
                  </c:pt>
                  <c:pt idx="901">
                    <c:v>Rolling Stdev (30 Minute)</c:v>
                  </c:pt>
                  <c:pt idx="902">
                    <c:v>Rolling Stdev (30 Minute)</c:v>
                  </c:pt>
                  <c:pt idx="903">
                    <c:v>Rolling Stdev (30 Minute)</c:v>
                  </c:pt>
                  <c:pt idx="904">
                    <c:v>Rolling Stdev (30 Minute)</c:v>
                  </c:pt>
                  <c:pt idx="905">
                    <c:v>Rolling Stdev (30 Minute)</c:v>
                  </c:pt>
                  <c:pt idx="906">
                    <c:v>Rolling Stdev (30 Minute)</c:v>
                  </c:pt>
                  <c:pt idx="907">
                    <c:v>Rolling Stdev (30 Minute)</c:v>
                  </c:pt>
                  <c:pt idx="908">
                    <c:v>Rolling Stdev (30 Minute)</c:v>
                  </c:pt>
                  <c:pt idx="909">
                    <c:v>Rolling Stdev (30 Minute)</c:v>
                  </c:pt>
                  <c:pt idx="910">
                    <c:v>Rolling Stdev (30 Minute)</c:v>
                  </c:pt>
                  <c:pt idx="911">
                    <c:v>Rolling Stdev (30 Minute)</c:v>
                  </c:pt>
                  <c:pt idx="912">
                    <c:v>Rolling Stdev (30 Minute)</c:v>
                  </c:pt>
                  <c:pt idx="913">
                    <c:v>Rolling Stdev (30 Minute)</c:v>
                  </c:pt>
                  <c:pt idx="914">
                    <c:v>Rolling Stdev (30 Minute)</c:v>
                  </c:pt>
                  <c:pt idx="915">
                    <c:v>Rolling Stdev (30 Minute)</c:v>
                  </c:pt>
                  <c:pt idx="916">
                    <c:v>Rolling Stdev (30 Minute)</c:v>
                  </c:pt>
                  <c:pt idx="917">
                    <c:v>Rolling Stdev (30 Minute)</c:v>
                  </c:pt>
                  <c:pt idx="918">
                    <c:v>Rolling Stdev (30 Minute)</c:v>
                  </c:pt>
                  <c:pt idx="919">
                    <c:v>Rolling Stdev (30 Minute)</c:v>
                  </c:pt>
                  <c:pt idx="920">
                    <c:v>Rolling Stdev (30 Minute)</c:v>
                  </c:pt>
                  <c:pt idx="921">
                    <c:v>Rolling Stdev (30 Minute)</c:v>
                  </c:pt>
                  <c:pt idx="922">
                    <c:v>Rolling Stdev (30 Minute)</c:v>
                  </c:pt>
                  <c:pt idx="923">
                    <c:v>Rolling Stdev (30 Minute)</c:v>
                  </c:pt>
                  <c:pt idx="924">
                    <c:v>Rolling Stdev (30 Minute)</c:v>
                  </c:pt>
                  <c:pt idx="925">
                    <c:v>Rolling Stdev (30 Minute)</c:v>
                  </c:pt>
                  <c:pt idx="926">
                    <c:v>Rolling Stdev (30 Minute)</c:v>
                  </c:pt>
                  <c:pt idx="927">
                    <c:v>Rolling Stdev (30 Minute)</c:v>
                  </c:pt>
                  <c:pt idx="928">
                    <c:v>Rolling Stdev (30 Minute)</c:v>
                  </c:pt>
                  <c:pt idx="929">
                    <c:v>Rolling Stdev (30 Minute)</c:v>
                  </c:pt>
                  <c:pt idx="930">
                    <c:v>Rolling Stdev (30 Minute)</c:v>
                  </c:pt>
                  <c:pt idx="931">
                    <c:v>Rolling Stdev (30 Minute)</c:v>
                  </c:pt>
                  <c:pt idx="932">
                    <c:v>Rolling Stdev (30 Minute)</c:v>
                  </c:pt>
                  <c:pt idx="933">
                    <c:v>Rolling Stdev (30 Minute)</c:v>
                  </c:pt>
                  <c:pt idx="934">
                    <c:v>Rolling Stdev (30 Minute)</c:v>
                  </c:pt>
                  <c:pt idx="935">
                    <c:v>Rolling Stdev (30 Minute)</c:v>
                  </c:pt>
                  <c:pt idx="936">
                    <c:v>Rolling Stdev (30 Minute)</c:v>
                  </c:pt>
                  <c:pt idx="937">
                    <c:v>Rolling Stdev (30 Minute)</c:v>
                  </c:pt>
                  <c:pt idx="938">
                    <c:v>Rolling Stdev (30 Minute)</c:v>
                  </c:pt>
                  <c:pt idx="939">
                    <c:v>Rolling Stdev (30 Minute)</c:v>
                  </c:pt>
                  <c:pt idx="940">
                    <c:v>Rolling Stdev (30 Minute)</c:v>
                  </c:pt>
                  <c:pt idx="941">
                    <c:v>Rolling Stdev (30 Minute)</c:v>
                  </c:pt>
                  <c:pt idx="942">
                    <c:v>Rolling Stdev (30 Minute)</c:v>
                  </c:pt>
                  <c:pt idx="943">
                    <c:v>Rolling Stdev (30 Minute)</c:v>
                  </c:pt>
                  <c:pt idx="944">
                    <c:v>Rolling Stdev (30 Minute)</c:v>
                  </c:pt>
                  <c:pt idx="945">
                    <c:v>Rolling Stdev (30 Minute)</c:v>
                  </c:pt>
                  <c:pt idx="946">
                    <c:v>Rolling Stdev (30 Minute)</c:v>
                  </c:pt>
                  <c:pt idx="947">
                    <c:v>Rolling Stdev (30 Minute)</c:v>
                  </c:pt>
                  <c:pt idx="948">
                    <c:v>Rolling Stdev (30 Minute)</c:v>
                  </c:pt>
                  <c:pt idx="949">
                    <c:v>Rolling Stdev (30 Minute)</c:v>
                  </c:pt>
                  <c:pt idx="950">
                    <c:v>Rolling Stdev (30 Minute)</c:v>
                  </c:pt>
                  <c:pt idx="951">
                    <c:v>Rolling Stdev (30 Minute)</c:v>
                  </c:pt>
                  <c:pt idx="952">
                    <c:v>Rolling Stdev (30 Minute)</c:v>
                  </c:pt>
                  <c:pt idx="953">
                    <c:v>Rolling Stdev (30 Minute)</c:v>
                  </c:pt>
                  <c:pt idx="954">
                    <c:v>Rolling Stdev (30 Minute)</c:v>
                  </c:pt>
                  <c:pt idx="955">
                    <c:v>Rolling Stdev (30 Minute)</c:v>
                  </c:pt>
                  <c:pt idx="956">
                    <c:v>Rolling Stdev (30 Minute)</c:v>
                  </c:pt>
                  <c:pt idx="957">
                    <c:v>Rolling Stdev (30 Minute)</c:v>
                  </c:pt>
                  <c:pt idx="958">
                    <c:v>Rolling Stdev (30 Minute)</c:v>
                  </c:pt>
                  <c:pt idx="959">
                    <c:v>Rolling Stdev (30 Minute)</c:v>
                  </c:pt>
                  <c:pt idx="960">
                    <c:v>Rolling Stdev (30 Minute)</c:v>
                  </c:pt>
                  <c:pt idx="961">
                    <c:v>Rolling Stdev (30 Minute)</c:v>
                  </c:pt>
                  <c:pt idx="962">
                    <c:v>Rolling Stdev (30 Minute)</c:v>
                  </c:pt>
                  <c:pt idx="963">
                    <c:v>Rolling Stdev (30 Minute)</c:v>
                  </c:pt>
                  <c:pt idx="964">
                    <c:v>Rolling Stdev (30 Minute)</c:v>
                  </c:pt>
                  <c:pt idx="965">
                    <c:v>Rolling Stdev (30 Minute)</c:v>
                  </c:pt>
                  <c:pt idx="966">
                    <c:v>Rolling Stdev (30 Minute)</c:v>
                  </c:pt>
                  <c:pt idx="967">
                    <c:v>Rolling Stdev (30 Minute)</c:v>
                  </c:pt>
                  <c:pt idx="968">
                    <c:v>Rolling Stdev (30 Minute)</c:v>
                  </c:pt>
                  <c:pt idx="969">
                    <c:v>Rolling Stdev (30 Minute)</c:v>
                  </c:pt>
                  <c:pt idx="970">
                    <c:v>Rolling Stdev (30 Minute)</c:v>
                  </c:pt>
                  <c:pt idx="971">
                    <c:v>Rolling Stdev (30 Minute)</c:v>
                  </c:pt>
                  <c:pt idx="972">
                    <c:v>Rolling Stdev (30 Minute)</c:v>
                  </c:pt>
                  <c:pt idx="973">
                    <c:v>Rolling Stdev (30 Minute)</c:v>
                  </c:pt>
                  <c:pt idx="974">
                    <c:v>Rolling Stdev (30 Minute)</c:v>
                  </c:pt>
                  <c:pt idx="975">
                    <c:v>Rolling Stdev (30 Minute)</c:v>
                  </c:pt>
                  <c:pt idx="976">
                    <c:v>Rolling Stdev (30 Minute)</c:v>
                  </c:pt>
                  <c:pt idx="977">
                    <c:v>Rolling Stdev (30 Minute)</c:v>
                  </c:pt>
                  <c:pt idx="978">
                    <c:v>Rolling Stdev (30 Minute)</c:v>
                  </c:pt>
                  <c:pt idx="979">
                    <c:v>Rolling Stdev (30 Minute)</c:v>
                  </c:pt>
                  <c:pt idx="980">
                    <c:v>Rolling Stdev (30 Minute)</c:v>
                  </c:pt>
                  <c:pt idx="981">
                    <c:v>Rolling Stdev (30 Minute)</c:v>
                  </c:pt>
                  <c:pt idx="982">
                    <c:v>Rolling Stdev (30 Minute)</c:v>
                  </c:pt>
                  <c:pt idx="983">
                    <c:v>Rolling Stdev (30 Minute)</c:v>
                  </c:pt>
                  <c:pt idx="984">
                    <c:v>Rolling Stdev (30 Minute)</c:v>
                  </c:pt>
                  <c:pt idx="985">
                    <c:v>Rolling Stdev (30 Minute)</c:v>
                  </c:pt>
                  <c:pt idx="986">
                    <c:v>Rolling Stdev (30 Minute)</c:v>
                  </c:pt>
                  <c:pt idx="987">
                    <c:v>Rolling Stdev (30 Minute)</c:v>
                  </c:pt>
                  <c:pt idx="988">
                    <c:v>Rolling Stdev (30 Minute)</c:v>
                  </c:pt>
                  <c:pt idx="989">
                    <c:v>Rolling Stdev (30 Minute)</c:v>
                  </c:pt>
                  <c:pt idx="990">
                    <c:v>Rolling Stdev (30 Minute)</c:v>
                  </c:pt>
                  <c:pt idx="991">
                    <c:v>Rolling Stdev (30 Minute)</c:v>
                  </c:pt>
                  <c:pt idx="992">
                    <c:v>Rolling Stdev (30 Minute)</c:v>
                  </c:pt>
                  <c:pt idx="993">
                    <c:v>Rolling Stdev (30 Minute)</c:v>
                  </c:pt>
                  <c:pt idx="994">
                    <c:v>Rolling Stdev (30 Minute)</c:v>
                  </c:pt>
                  <c:pt idx="995">
                    <c:v>Rolling Stdev (30 Minute)</c:v>
                  </c:pt>
                  <c:pt idx="996">
                    <c:v>Rolling Stdev (30 Minute)</c:v>
                  </c:pt>
                  <c:pt idx="997">
                    <c:v>Rolling Stdev (30 Minute)</c:v>
                  </c:pt>
                  <c:pt idx="998">
                    <c:v>Rolling Stdev (30 Minute)</c:v>
                  </c:pt>
                  <c:pt idx="999">
                    <c:v>Rolling Stdev (30 Minute)</c:v>
                  </c:pt>
                  <c:pt idx="1000">
                    <c:v>Rolling Stdev (30 Minute)</c:v>
                  </c:pt>
                  <c:pt idx="1001">
                    <c:v>Rolling Stdev (30 Minute)</c:v>
                  </c:pt>
                  <c:pt idx="1002">
                    <c:v>Rolling Stdev (30 Minute)</c:v>
                  </c:pt>
                  <c:pt idx="1003">
                    <c:v>Rolling Stdev (30 Minute)</c:v>
                  </c:pt>
                  <c:pt idx="1004">
                    <c:v>Rolling Stdev (30 Minute)</c:v>
                  </c:pt>
                  <c:pt idx="1005">
                    <c:v>Rolling Stdev (30 Minute)</c:v>
                  </c:pt>
                  <c:pt idx="1006">
                    <c:v>Rolling Stdev (30 Minute)</c:v>
                  </c:pt>
                  <c:pt idx="1007">
                    <c:v>Rolling Stdev (30 Minute)</c:v>
                  </c:pt>
                  <c:pt idx="1008">
                    <c:v>Rolling Stdev (30 Minute)</c:v>
                  </c:pt>
                  <c:pt idx="1009">
                    <c:v>Rolling Stdev (30 Minute)</c:v>
                  </c:pt>
                  <c:pt idx="1010">
                    <c:v>Rolling Stdev (30 Minute)</c:v>
                  </c:pt>
                  <c:pt idx="1011">
                    <c:v>Rolling Stdev (30 Minute)</c:v>
                  </c:pt>
                  <c:pt idx="1012">
                    <c:v>Rolling Stdev (30 Minute)</c:v>
                  </c:pt>
                  <c:pt idx="1013">
                    <c:v>Rolling Stdev (30 Minute)</c:v>
                  </c:pt>
                  <c:pt idx="1014">
                    <c:v>Rolling Stdev (30 Minute)</c:v>
                  </c:pt>
                  <c:pt idx="1015">
                    <c:v>Rolling Stdev (30 Minute)</c:v>
                  </c:pt>
                  <c:pt idx="1016">
                    <c:v>Rolling Stdev (30 Minute)</c:v>
                  </c:pt>
                  <c:pt idx="1017">
                    <c:v>Rolling Stdev (30 Minute)</c:v>
                  </c:pt>
                  <c:pt idx="1018">
                    <c:v>Rolling Stdev (30 Minute)</c:v>
                  </c:pt>
                  <c:pt idx="1019">
                    <c:v>Rolling Stdev (30 Minute)</c:v>
                  </c:pt>
                  <c:pt idx="1020">
                    <c:v>Rolling Stdev (30 Minute)</c:v>
                  </c:pt>
                  <c:pt idx="1021">
                    <c:v>Rolling Stdev (30 Minute)</c:v>
                  </c:pt>
                  <c:pt idx="1022">
                    <c:v>Rolling Stdev (30 Minute)</c:v>
                  </c:pt>
                  <c:pt idx="1023">
                    <c:v>Rolling Stdev (30 Minute)</c:v>
                  </c:pt>
                  <c:pt idx="1024">
                    <c:v>Rolling Stdev (30 Minute)</c:v>
                  </c:pt>
                  <c:pt idx="1025">
                    <c:v>Rolling Stdev (30 Minute)</c:v>
                  </c:pt>
                  <c:pt idx="1026">
                    <c:v>Rolling Stdev (30 Minute)</c:v>
                  </c:pt>
                  <c:pt idx="1027">
                    <c:v>Rolling Stdev (30 Minute)</c:v>
                  </c:pt>
                  <c:pt idx="1028">
                    <c:v>Rolling Stdev (30 Minute)</c:v>
                  </c:pt>
                  <c:pt idx="1029">
                    <c:v>Rolling Stdev (30 Minute)</c:v>
                  </c:pt>
                  <c:pt idx="1030">
                    <c:v>Rolling Stdev (30 Minute)</c:v>
                  </c:pt>
                  <c:pt idx="1031">
                    <c:v>Rolling Stdev (30 Minute)</c:v>
                  </c:pt>
                  <c:pt idx="1032">
                    <c:v>Rolling Stdev (30 Minute)</c:v>
                  </c:pt>
                  <c:pt idx="1033">
                    <c:v>Rolling Stdev (30 Minute)</c:v>
                  </c:pt>
                  <c:pt idx="1034">
                    <c:v>Rolling Stdev (30 Minute)</c:v>
                  </c:pt>
                  <c:pt idx="1035">
                    <c:v>Rolling Stdev (30 Minute)</c:v>
                  </c:pt>
                  <c:pt idx="1036">
                    <c:v>Rolling Stdev (30 Minute)</c:v>
                  </c:pt>
                  <c:pt idx="1037">
                    <c:v>Rolling Stdev (30 Minute)</c:v>
                  </c:pt>
                  <c:pt idx="1038">
                    <c:v>Rolling Stdev (30 Minute)</c:v>
                  </c:pt>
                  <c:pt idx="1039">
                    <c:v>Rolling Stdev (30 Minute)</c:v>
                  </c:pt>
                  <c:pt idx="1040">
                    <c:v>Rolling Stdev (30 Minute)</c:v>
                  </c:pt>
                  <c:pt idx="1041">
                    <c:v>Rolling Stdev (30 Minute)</c:v>
                  </c:pt>
                  <c:pt idx="1042">
                    <c:v>Rolling Stdev (30 Minute)</c:v>
                  </c:pt>
                  <c:pt idx="1043">
                    <c:v>Rolling Stdev (30 Minute)</c:v>
                  </c:pt>
                  <c:pt idx="1044">
                    <c:v>Rolling Stdev (30 Minute)</c:v>
                  </c:pt>
                  <c:pt idx="1045">
                    <c:v>Rolling Stdev (30 Minute)</c:v>
                  </c:pt>
                  <c:pt idx="1046">
                    <c:v>Rolling Stdev (30 Minute)</c:v>
                  </c:pt>
                  <c:pt idx="1047">
                    <c:v>Rolling Stdev (30 Minute)</c:v>
                  </c:pt>
                  <c:pt idx="1048">
                    <c:v>Rolling Stdev (30 Minute)</c:v>
                  </c:pt>
                  <c:pt idx="1049">
                    <c:v>Rolling Stdev (30 Minute)</c:v>
                  </c:pt>
                  <c:pt idx="1050">
                    <c:v>Rolling Stdev (30 Minute)</c:v>
                  </c:pt>
                  <c:pt idx="1051">
                    <c:v>Rolling Stdev (30 Minute)</c:v>
                  </c:pt>
                  <c:pt idx="1052">
                    <c:v>Rolling Stdev (30 Minute)</c:v>
                  </c:pt>
                  <c:pt idx="1053">
                    <c:v>Rolling Stdev (30 Minute)</c:v>
                  </c:pt>
                  <c:pt idx="1054">
                    <c:v>Rolling Stdev (30 Minute)</c:v>
                  </c:pt>
                  <c:pt idx="1055">
                    <c:v>Rolling Stdev (30 Minute)</c:v>
                  </c:pt>
                  <c:pt idx="1056">
                    <c:v>Rolling Stdev (30 Minute)</c:v>
                  </c:pt>
                  <c:pt idx="1057">
                    <c:v>Rolling Stdev (30 Minute)</c:v>
                  </c:pt>
                  <c:pt idx="1058">
                    <c:v>Rolling Stdev (30 Minute)</c:v>
                  </c:pt>
                  <c:pt idx="1059">
                    <c:v>Rolling Stdev (30 Minute)</c:v>
                  </c:pt>
                  <c:pt idx="1060">
                    <c:v>Rolling Stdev (30 Minute)</c:v>
                  </c:pt>
                  <c:pt idx="1061">
                    <c:v>Rolling Stdev (30 Minute)</c:v>
                  </c:pt>
                  <c:pt idx="1062">
                    <c:v>Rolling Stdev (30 Minute)</c:v>
                  </c:pt>
                  <c:pt idx="1063">
                    <c:v>Rolling Stdev (30 Minute)</c:v>
                  </c:pt>
                  <c:pt idx="1064">
                    <c:v>Rolling Stdev (30 Minute)</c:v>
                  </c:pt>
                  <c:pt idx="1065">
                    <c:v>Rolling Stdev (30 Minute)</c:v>
                  </c:pt>
                  <c:pt idx="1066">
                    <c:v>Rolling Stdev (30 Minute)</c:v>
                  </c:pt>
                  <c:pt idx="1067">
                    <c:v>Rolling Stdev (30 Minute)</c:v>
                  </c:pt>
                  <c:pt idx="1068">
                    <c:v>Rolling Stdev (30 Minute)</c:v>
                  </c:pt>
                  <c:pt idx="1069">
                    <c:v>Rolling Stdev (30 Minute)</c:v>
                  </c:pt>
                  <c:pt idx="1070">
                    <c:v>Rolling Stdev (30 Minute)</c:v>
                  </c:pt>
                  <c:pt idx="1071">
                    <c:v>Rolling Stdev (30 Minute)</c:v>
                  </c:pt>
                  <c:pt idx="1072">
                    <c:v>Rolling Stdev (30 Minute)</c:v>
                  </c:pt>
                  <c:pt idx="1073">
                    <c:v>Rolling Stdev (30 Minute)</c:v>
                  </c:pt>
                  <c:pt idx="1074">
                    <c:v>Rolling Stdev (30 Minute)</c:v>
                  </c:pt>
                  <c:pt idx="1075">
                    <c:v>Rolling Stdev (30 Minute)</c:v>
                  </c:pt>
                  <c:pt idx="1076">
                    <c:v>Rolling Stdev (30 Minute)</c:v>
                  </c:pt>
                  <c:pt idx="1077">
                    <c:v>Rolling Stdev (30 Minute)</c:v>
                  </c:pt>
                  <c:pt idx="1078">
                    <c:v>Rolling Stdev (30 Minute)</c:v>
                  </c:pt>
                  <c:pt idx="1079">
                    <c:v>Rolling Stdev (30 Minute)</c:v>
                  </c:pt>
                  <c:pt idx="1080">
                    <c:v>Rolling Stdev (30 Minute)</c:v>
                  </c:pt>
                  <c:pt idx="1081">
                    <c:v>Rolling Stdev (30 Minute)</c:v>
                  </c:pt>
                  <c:pt idx="1082">
                    <c:v>Rolling Stdev (30 Minute)</c:v>
                  </c:pt>
                  <c:pt idx="1083">
                    <c:v>Rolling Stdev (30 Minute)</c:v>
                  </c:pt>
                  <c:pt idx="1084">
                    <c:v>Rolling Stdev (30 Minute)</c:v>
                  </c:pt>
                  <c:pt idx="1085">
                    <c:v>Rolling Stdev (30 Minute)</c:v>
                  </c:pt>
                  <c:pt idx="1086">
                    <c:v>Rolling Stdev (30 Minute)</c:v>
                  </c:pt>
                  <c:pt idx="1087">
                    <c:v>Rolling Stdev (30 Minute)</c:v>
                  </c:pt>
                  <c:pt idx="1088">
                    <c:v>Rolling Stdev (30 Minute)</c:v>
                  </c:pt>
                  <c:pt idx="1089">
                    <c:v>Rolling Stdev (30 Minute)</c:v>
                  </c:pt>
                  <c:pt idx="1090">
                    <c:v>Rolling Stdev (30 Minute)</c:v>
                  </c:pt>
                  <c:pt idx="1091">
                    <c:v>Rolling Stdev (30 Minute)</c:v>
                  </c:pt>
                  <c:pt idx="1092">
                    <c:v>Rolling Stdev (30 Minute)</c:v>
                  </c:pt>
                  <c:pt idx="1093">
                    <c:v>Rolling Stdev (30 Minute)</c:v>
                  </c:pt>
                  <c:pt idx="1094">
                    <c:v>Rolling Stdev (30 Minute)</c:v>
                  </c:pt>
                  <c:pt idx="1095">
                    <c:v>Rolling Stdev (30 Minute)</c:v>
                  </c:pt>
                  <c:pt idx="1096">
                    <c:v>Rolling Stdev (30 Minute)</c:v>
                  </c:pt>
                  <c:pt idx="1097">
                    <c:v>Rolling Stdev (30 Minute)</c:v>
                  </c:pt>
                  <c:pt idx="1098">
                    <c:v>Rolling Stdev (30 Minute)</c:v>
                  </c:pt>
                  <c:pt idx="1099">
                    <c:v>Rolling Stdev (30 Minute)</c:v>
                  </c:pt>
                  <c:pt idx="1100">
                    <c:v>Rolling Stdev (30 Minute)</c:v>
                  </c:pt>
                  <c:pt idx="1101">
                    <c:v>Rolling Stdev (30 Minute)</c:v>
                  </c:pt>
                  <c:pt idx="1102">
                    <c:v>Rolling Stdev (30 Minute)</c:v>
                  </c:pt>
                  <c:pt idx="1103">
                    <c:v>Rolling Stdev (30 Minute)</c:v>
                  </c:pt>
                  <c:pt idx="1104">
                    <c:v>Rolling Stdev (30 Minute)</c:v>
                  </c:pt>
                  <c:pt idx="1105">
                    <c:v>Rolling Stdev (30 Minute)</c:v>
                  </c:pt>
                  <c:pt idx="1106">
                    <c:v>Rolling Stdev (30 Minute)</c:v>
                  </c:pt>
                  <c:pt idx="1107">
                    <c:v>Rolling Stdev (30 Minute)</c:v>
                  </c:pt>
                  <c:pt idx="1108">
                    <c:v>Rolling Stdev (30 Minute)</c:v>
                  </c:pt>
                  <c:pt idx="1109">
                    <c:v>Rolling Stdev (30 Minute)</c:v>
                  </c:pt>
                  <c:pt idx="1110">
                    <c:v>Rolling Stdev (30 Minute)</c:v>
                  </c:pt>
                  <c:pt idx="1111">
                    <c:v>Rolling Stdev (30 Minute)</c:v>
                  </c:pt>
                  <c:pt idx="1112">
                    <c:v>Rolling Stdev (30 Minute)</c:v>
                  </c:pt>
                  <c:pt idx="1113">
                    <c:v>Rolling Stdev (30 Minute)</c:v>
                  </c:pt>
                  <c:pt idx="1114">
                    <c:v>Rolling Stdev (30 Minute)</c:v>
                  </c:pt>
                  <c:pt idx="1115">
                    <c:v>Rolling Stdev (30 Minute)</c:v>
                  </c:pt>
                  <c:pt idx="1116">
                    <c:v>Rolling Stdev (30 Minute)</c:v>
                  </c:pt>
                  <c:pt idx="1117">
                    <c:v>Rolling Stdev (30 Minute)</c:v>
                  </c:pt>
                  <c:pt idx="1118">
                    <c:v>Rolling Stdev (30 Minute)</c:v>
                  </c:pt>
                  <c:pt idx="1119">
                    <c:v>Rolling Stdev (30 Minute)</c:v>
                  </c:pt>
                  <c:pt idx="1120">
                    <c:v>Rolling Stdev (30 Minute)</c:v>
                  </c:pt>
                  <c:pt idx="1121">
                    <c:v>Rolling Stdev (30 Minute)</c:v>
                  </c:pt>
                  <c:pt idx="1122">
                    <c:v>Rolling Stdev (30 Minute)</c:v>
                  </c:pt>
                  <c:pt idx="1123">
                    <c:v>Rolling Stdev (30 Minute)</c:v>
                  </c:pt>
                  <c:pt idx="1124">
                    <c:v>Rolling Stdev (30 Minute)</c:v>
                  </c:pt>
                  <c:pt idx="1125">
                    <c:v>Rolling Stdev (30 Minute)</c:v>
                  </c:pt>
                  <c:pt idx="1126">
                    <c:v>Rolling Stdev (30 Minute)</c:v>
                  </c:pt>
                  <c:pt idx="1127">
                    <c:v>Rolling Stdev (30 Minute)</c:v>
                  </c:pt>
                  <c:pt idx="1128">
                    <c:v>Rolling Stdev (30 Minute)</c:v>
                  </c:pt>
                  <c:pt idx="1129">
                    <c:v>Rolling Stdev (30 Minute)</c:v>
                  </c:pt>
                  <c:pt idx="1130">
                    <c:v>Rolling Stdev (30 Minute)</c:v>
                  </c:pt>
                  <c:pt idx="1131">
                    <c:v>Rolling Stdev (30 Minute)</c:v>
                  </c:pt>
                  <c:pt idx="1132">
                    <c:v>Rolling Stdev (30 Minute)</c:v>
                  </c:pt>
                  <c:pt idx="1133">
                    <c:v>Rolling Stdev (30 Minute)</c:v>
                  </c:pt>
                  <c:pt idx="1134">
                    <c:v>Rolling Stdev (30 Minute)</c:v>
                  </c:pt>
                  <c:pt idx="1135">
                    <c:v>Rolling Stdev (30 Minute)</c:v>
                  </c:pt>
                  <c:pt idx="1136">
                    <c:v>Rolling Stdev (30 Minute)</c:v>
                  </c:pt>
                  <c:pt idx="1137">
                    <c:v>Rolling Stdev (30 Minute)</c:v>
                  </c:pt>
                  <c:pt idx="1138">
                    <c:v>Rolling Stdev (30 Minute)</c:v>
                  </c:pt>
                  <c:pt idx="1139">
                    <c:v>Rolling Stdev (30 Minute)</c:v>
                  </c:pt>
                  <c:pt idx="1140">
                    <c:v>Rolling Stdev (30 Minute)</c:v>
                  </c:pt>
                  <c:pt idx="1141">
                    <c:v>Rolling Stdev (30 Minute)</c:v>
                  </c:pt>
                  <c:pt idx="1142">
                    <c:v>Rolling Stdev (30 Minute)</c:v>
                  </c:pt>
                  <c:pt idx="1143">
                    <c:v>Rolling Stdev (30 Minute)</c:v>
                  </c:pt>
                  <c:pt idx="1144">
                    <c:v>Rolling Stdev (30 Minute)</c:v>
                  </c:pt>
                  <c:pt idx="1145">
                    <c:v>Rolling Stdev (30 Minute)</c:v>
                  </c:pt>
                  <c:pt idx="1146">
                    <c:v>Rolling Stdev (30 Minute)</c:v>
                  </c:pt>
                  <c:pt idx="1147">
                    <c:v>Rolling Stdev (30 Minute)</c:v>
                  </c:pt>
                  <c:pt idx="1148">
                    <c:v>Rolling Stdev (30 Minute)</c:v>
                  </c:pt>
                  <c:pt idx="1149">
                    <c:v>Rolling Stdev (30 Minute)</c:v>
                  </c:pt>
                  <c:pt idx="1150">
                    <c:v>Rolling Stdev (30 Minute)</c:v>
                  </c:pt>
                  <c:pt idx="1151">
                    <c:v>Rolling Stdev (30 Minute)</c:v>
                  </c:pt>
                  <c:pt idx="1152">
                    <c:v>Rolling Stdev (30 Minute)</c:v>
                  </c:pt>
                  <c:pt idx="1153">
                    <c:v>Rolling Stdev (30 Minute)</c:v>
                  </c:pt>
                  <c:pt idx="1154">
                    <c:v>Rolling Stdev (30 Minute)</c:v>
                  </c:pt>
                  <c:pt idx="1155">
                    <c:v>Rolling Stdev (30 Minute)</c:v>
                  </c:pt>
                  <c:pt idx="1156">
                    <c:v>Rolling Stdev (30 Minute)</c:v>
                  </c:pt>
                  <c:pt idx="1157">
                    <c:v>Rolling Stdev (30 Minute)</c:v>
                  </c:pt>
                  <c:pt idx="1158">
                    <c:v>Rolling Stdev (30 Minute)</c:v>
                  </c:pt>
                  <c:pt idx="1159">
                    <c:v>Rolling Stdev (30 Minute)</c:v>
                  </c:pt>
                  <c:pt idx="1160">
                    <c:v>Rolling Stdev (30 Minute)</c:v>
                  </c:pt>
                  <c:pt idx="1161">
                    <c:v>Rolling Stdev (30 Minute)</c:v>
                  </c:pt>
                  <c:pt idx="1162">
                    <c:v>Rolling Stdev (30 Minute)</c:v>
                  </c:pt>
                  <c:pt idx="1163">
                    <c:v>Rolling Stdev (30 Minute)</c:v>
                  </c:pt>
                  <c:pt idx="1164">
                    <c:v>Rolling Stdev (30 Minute)</c:v>
                  </c:pt>
                  <c:pt idx="1165">
                    <c:v>Rolling Stdev (30 Minute)</c:v>
                  </c:pt>
                  <c:pt idx="1166">
                    <c:v>Rolling Stdev (30 Minute)</c:v>
                  </c:pt>
                  <c:pt idx="1167">
                    <c:v>Rolling Stdev (30 Minute)</c:v>
                  </c:pt>
                  <c:pt idx="1168">
                    <c:v>Rolling Stdev (30 Minute)</c:v>
                  </c:pt>
                  <c:pt idx="1169">
                    <c:v>Rolling Stdev (30 Minute)</c:v>
                  </c:pt>
                  <c:pt idx="1170">
                    <c:v>Rolling Stdev (30 Minute)</c:v>
                  </c:pt>
                  <c:pt idx="1171">
                    <c:v>Rolling Stdev (30 Minute)</c:v>
                  </c:pt>
                  <c:pt idx="1172">
                    <c:v>Rolling Stdev (30 Minute)</c:v>
                  </c:pt>
                  <c:pt idx="1173">
                    <c:v>Rolling Stdev (30 Minute)</c:v>
                  </c:pt>
                  <c:pt idx="1174">
                    <c:v>Rolling Stdev (30 Minute)</c:v>
                  </c:pt>
                  <c:pt idx="1175">
                    <c:v>Rolling Stdev (30 Minute)</c:v>
                  </c:pt>
                  <c:pt idx="1176">
                    <c:v>Rolling Stdev (30 Minute)</c:v>
                  </c:pt>
                  <c:pt idx="1177">
                    <c:v>Rolling Stdev (30 Minute)</c:v>
                  </c:pt>
                  <c:pt idx="1178">
                    <c:v>Rolling Stdev (30 Minute)</c:v>
                  </c:pt>
                  <c:pt idx="1179">
                    <c:v>Rolling Stdev (30 Minute)</c:v>
                  </c:pt>
                  <c:pt idx="1180">
                    <c:v>Rolling Stdev (30 Minute)</c:v>
                  </c:pt>
                  <c:pt idx="1181">
                    <c:v>Rolling Stdev (30 Minute)</c:v>
                  </c:pt>
                  <c:pt idx="1182">
                    <c:v>Rolling Stdev (30 Minute)</c:v>
                  </c:pt>
                  <c:pt idx="1183">
                    <c:v>Rolling Stdev (30 Minute)</c:v>
                  </c:pt>
                  <c:pt idx="1184">
                    <c:v>Rolling Stdev (30 Minute)</c:v>
                  </c:pt>
                  <c:pt idx="1185">
                    <c:v>Rolling Stdev (30 Minute)</c:v>
                  </c:pt>
                  <c:pt idx="1186">
                    <c:v>Rolling Stdev (30 Minute)</c:v>
                  </c:pt>
                  <c:pt idx="1187">
                    <c:v>Rolling Stdev (30 Minute)</c:v>
                  </c:pt>
                  <c:pt idx="1188">
                    <c:v>Rolling Stdev (30 Minute)</c:v>
                  </c:pt>
                  <c:pt idx="1189">
                    <c:v>Rolling Stdev (30 Minute)</c:v>
                  </c:pt>
                  <c:pt idx="1190">
                    <c:v>Rolling Stdev (30 Minute)</c:v>
                  </c:pt>
                  <c:pt idx="1191">
                    <c:v>Rolling Stdev (30 Minute)</c:v>
                  </c:pt>
                  <c:pt idx="1192">
                    <c:v>Rolling Stdev (30 Minute)</c:v>
                  </c:pt>
                  <c:pt idx="1193">
                    <c:v>Rolling Stdev (30 Minute)</c:v>
                  </c:pt>
                  <c:pt idx="1194">
                    <c:v>Rolling Stdev (30 Minute)</c:v>
                  </c:pt>
                  <c:pt idx="1195">
                    <c:v>Rolling Stdev (30 Minute)</c:v>
                  </c:pt>
                  <c:pt idx="1196">
                    <c:v>Rolling Stdev (30 Minute)</c:v>
                  </c:pt>
                  <c:pt idx="1197">
                    <c:v>Rolling Stdev (30 Minute)</c:v>
                  </c:pt>
                  <c:pt idx="1198">
                    <c:v>Rolling Stdev (30 Minute)</c:v>
                  </c:pt>
                  <c:pt idx="1199">
                    <c:v>Rolling Stdev (30 Minute)</c:v>
                  </c:pt>
                  <c:pt idx="1200">
                    <c:v>Rolling Stdev (30 Minute)</c:v>
                  </c:pt>
                  <c:pt idx="1201">
                    <c:v>Rolling Stdev (30 Minute)</c:v>
                  </c:pt>
                  <c:pt idx="1202">
                    <c:v>Rolling Stdev (30 Minute)</c:v>
                  </c:pt>
                  <c:pt idx="1203">
                    <c:v>Rolling Stdev (30 Minute)</c:v>
                  </c:pt>
                  <c:pt idx="1204">
                    <c:v>Rolling Stdev (30 Minute)</c:v>
                  </c:pt>
                  <c:pt idx="1205">
                    <c:v>Rolling Stdev (30 Minute)</c:v>
                  </c:pt>
                  <c:pt idx="1206">
                    <c:v>Rolling Stdev (30 Minute)</c:v>
                  </c:pt>
                  <c:pt idx="1207">
                    <c:v>Rolling Stdev (30 Minute)</c:v>
                  </c:pt>
                  <c:pt idx="1208">
                    <c:v>Rolling Stdev (30 Minute)</c:v>
                  </c:pt>
                  <c:pt idx="1209">
                    <c:v>Rolling Stdev (30 Minute)</c:v>
                  </c:pt>
                  <c:pt idx="1210">
                    <c:v>Rolling Stdev (30 Minute)</c:v>
                  </c:pt>
                  <c:pt idx="1211">
                    <c:v>Rolling Stdev (30 Minute)</c:v>
                  </c:pt>
                  <c:pt idx="1212">
                    <c:v>Rolling Stdev (30 Minute)</c:v>
                  </c:pt>
                  <c:pt idx="1213">
                    <c:v>Rolling Stdev (30 Minute)</c:v>
                  </c:pt>
                  <c:pt idx="1214">
                    <c:v>Rolling Stdev (30 Minute)</c:v>
                  </c:pt>
                  <c:pt idx="1215">
                    <c:v>Rolling Stdev (30 Minute)</c:v>
                  </c:pt>
                  <c:pt idx="1216">
                    <c:v>Rolling Stdev (30 Minute)</c:v>
                  </c:pt>
                  <c:pt idx="1217">
                    <c:v>Rolling Stdev (30 Minute)</c:v>
                  </c:pt>
                  <c:pt idx="1218">
                    <c:v>Rolling Stdev (30 Minute)</c:v>
                  </c:pt>
                  <c:pt idx="1219">
                    <c:v>Rolling Stdev (30 Minute)</c:v>
                  </c:pt>
                  <c:pt idx="1220">
                    <c:v>Rolling Stdev (30 Minute)</c:v>
                  </c:pt>
                  <c:pt idx="1221">
                    <c:v>Rolling Stdev (30 Minute)</c:v>
                  </c:pt>
                  <c:pt idx="1222">
                    <c:v>Rolling Stdev (30 Minute)</c:v>
                  </c:pt>
                  <c:pt idx="1223">
                    <c:v>Rolling Stdev (30 Minute)</c:v>
                  </c:pt>
                  <c:pt idx="1224">
                    <c:v>Rolling Stdev (30 Minute)</c:v>
                  </c:pt>
                  <c:pt idx="1225">
                    <c:v>Rolling Stdev (30 Minute)</c:v>
                  </c:pt>
                  <c:pt idx="1226">
                    <c:v>Rolling Stdev (30 Minute)</c:v>
                  </c:pt>
                  <c:pt idx="1227">
                    <c:v>Rolling Stdev (30 Minute)</c:v>
                  </c:pt>
                  <c:pt idx="1228">
                    <c:v>Rolling Stdev (30 Minute)</c:v>
                  </c:pt>
                  <c:pt idx="1229">
                    <c:v>Rolling Stdev (30 Minute)</c:v>
                  </c:pt>
                  <c:pt idx="1230">
                    <c:v>Rolling Stdev (30 Minute)</c:v>
                  </c:pt>
                  <c:pt idx="1231">
                    <c:v>Rolling Stdev (30 Minute)</c:v>
                  </c:pt>
                  <c:pt idx="1232">
                    <c:v>Rolling Stdev (30 Minute)</c:v>
                  </c:pt>
                  <c:pt idx="1233">
                    <c:v>Rolling Stdev (30 Minute)</c:v>
                  </c:pt>
                  <c:pt idx="1234">
                    <c:v>Rolling Stdev (30 Minute)</c:v>
                  </c:pt>
                  <c:pt idx="1235">
                    <c:v>Rolling Stdev (30 Minute)</c:v>
                  </c:pt>
                  <c:pt idx="1236">
                    <c:v>Rolling Stdev (30 Minute)</c:v>
                  </c:pt>
                  <c:pt idx="1237">
                    <c:v>Rolling Stdev (30 Minute)</c:v>
                  </c:pt>
                  <c:pt idx="1238">
                    <c:v>Rolling Stdev (30 Minute)</c:v>
                  </c:pt>
                  <c:pt idx="1239">
                    <c:v>Rolling Stdev (30 Minute)</c:v>
                  </c:pt>
                  <c:pt idx="1240">
                    <c:v>Rolling Stdev (30 Minute)</c:v>
                  </c:pt>
                  <c:pt idx="1241">
                    <c:v>Rolling Stdev (30 Minute)</c:v>
                  </c:pt>
                  <c:pt idx="1242">
                    <c:v>Rolling Stdev (30 Minute)</c:v>
                  </c:pt>
                  <c:pt idx="1243">
                    <c:v>Rolling Stdev (30 Minute)</c:v>
                  </c:pt>
                  <c:pt idx="1244">
                    <c:v>Rolling Stdev (30 Minute)</c:v>
                  </c:pt>
                  <c:pt idx="1245">
                    <c:v>Rolling Stdev (30 Minute)</c:v>
                  </c:pt>
                  <c:pt idx="1246">
                    <c:v>Rolling Stdev (30 Minute)</c:v>
                  </c:pt>
                  <c:pt idx="1247">
                    <c:v>Rolling Stdev (30 Minute)</c:v>
                  </c:pt>
                  <c:pt idx="1248">
                    <c:v>Rolling Stdev (30 Minute)</c:v>
                  </c:pt>
                  <c:pt idx="1249">
                    <c:v>Rolling Stdev (30 Minute)</c:v>
                  </c:pt>
                  <c:pt idx="1250">
                    <c:v>Rolling Stdev (30 Minute)</c:v>
                  </c:pt>
                  <c:pt idx="1251">
                    <c:v>Rolling Stdev (30 Minute)</c:v>
                  </c:pt>
                  <c:pt idx="1252">
                    <c:v>Rolling Stdev (30 Minute)</c:v>
                  </c:pt>
                  <c:pt idx="1253">
                    <c:v>Rolling Stdev (30 Minute)</c:v>
                  </c:pt>
                  <c:pt idx="1254">
                    <c:v>Rolling Stdev (30 Minute)</c:v>
                  </c:pt>
                  <c:pt idx="1255">
                    <c:v>Rolling Stdev (30 Minute)</c:v>
                  </c:pt>
                  <c:pt idx="1256">
                    <c:v>Rolling Stdev (30 Minute)</c:v>
                  </c:pt>
                  <c:pt idx="1257">
                    <c:v>Rolling Stdev (30 Minute)</c:v>
                  </c:pt>
                  <c:pt idx="1258">
                    <c:v>Rolling Stdev (30 Minute)</c:v>
                  </c:pt>
                  <c:pt idx="1259">
                    <c:v>Rolling Stdev (30 Minute)</c:v>
                  </c:pt>
                  <c:pt idx="1260">
                    <c:v>Rolling Stdev (30 Minute)</c:v>
                  </c:pt>
                  <c:pt idx="1261">
                    <c:v>Rolling Stdev (30 Minute)</c:v>
                  </c:pt>
                  <c:pt idx="1262">
                    <c:v>Rolling Stdev (30 Minute)</c:v>
                  </c:pt>
                  <c:pt idx="1263">
                    <c:v>Rolling Stdev (30 Minute)</c:v>
                  </c:pt>
                  <c:pt idx="1264">
                    <c:v>Rolling Stdev (30 Minute)</c:v>
                  </c:pt>
                  <c:pt idx="1265">
                    <c:v>Rolling Stdev (30 Minute)</c:v>
                  </c:pt>
                  <c:pt idx="1266">
                    <c:v>Rolling Stdev (30 Minute)</c:v>
                  </c:pt>
                  <c:pt idx="1267">
                    <c:v>Rolling Stdev (30 Minute)</c:v>
                  </c:pt>
                  <c:pt idx="1268">
                    <c:v>Rolling Stdev (30 Minute)</c:v>
                  </c:pt>
                  <c:pt idx="1269">
                    <c:v>Rolling Stdev (30 Minute)</c:v>
                  </c:pt>
                  <c:pt idx="1270">
                    <c:v>Rolling Stdev (30 Minute)</c:v>
                  </c:pt>
                  <c:pt idx="1271">
                    <c:v>Rolling Stdev (30 Minute)</c:v>
                  </c:pt>
                  <c:pt idx="1272">
                    <c:v>Rolling Stdev (30 Minute)</c:v>
                  </c:pt>
                  <c:pt idx="1273">
                    <c:v>Rolling Stdev (30 Minute)</c:v>
                  </c:pt>
                  <c:pt idx="1274">
                    <c:v>Rolling Stdev (30 Minute)</c:v>
                  </c:pt>
                  <c:pt idx="1275">
                    <c:v>Rolling Stdev (30 Minute)</c:v>
                  </c:pt>
                  <c:pt idx="1276">
                    <c:v>Rolling Stdev (30 Minute)</c:v>
                  </c:pt>
                  <c:pt idx="1277">
                    <c:v>Rolling Stdev (30 Minute)</c:v>
                  </c:pt>
                  <c:pt idx="1278">
                    <c:v>Rolling Stdev (30 Minute)</c:v>
                  </c:pt>
                  <c:pt idx="1279">
                    <c:v>Rolling Stdev (30 Minute)</c:v>
                  </c:pt>
                  <c:pt idx="1280">
                    <c:v>Rolling Stdev (30 Minute)</c:v>
                  </c:pt>
                  <c:pt idx="1281">
                    <c:v>Rolling Stdev (30 Minute)</c:v>
                  </c:pt>
                  <c:pt idx="1282">
                    <c:v>Rolling Stdev (30 Minute)</c:v>
                  </c:pt>
                  <c:pt idx="1283">
                    <c:v>Rolling Stdev (30 Minute)</c:v>
                  </c:pt>
                  <c:pt idx="1284">
                    <c:v>Rolling Stdev (30 Minute)</c:v>
                  </c:pt>
                  <c:pt idx="1285">
                    <c:v>Rolling Stdev (30 Minute)</c:v>
                  </c:pt>
                  <c:pt idx="1286">
                    <c:v>Rolling Stdev (30 Minute)</c:v>
                  </c:pt>
                  <c:pt idx="1287">
                    <c:v>Rolling Stdev (30 Minute)</c:v>
                  </c:pt>
                  <c:pt idx="1288">
                    <c:v>Rolling Stdev (30 Minute)</c:v>
                  </c:pt>
                  <c:pt idx="1289">
                    <c:v>Rolling Stdev (30 Minute)</c:v>
                  </c:pt>
                  <c:pt idx="1290">
                    <c:v>Rolling Stdev (30 Minute)</c:v>
                  </c:pt>
                  <c:pt idx="1291">
                    <c:v>Rolling Stdev (30 Minute)</c:v>
                  </c:pt>
                  <c:pt idx="1292">
                    <c:v>Rolling Stdev (30 Minute)</c:v>
                  </c:pt>
                  <c:pt idx="1293">
                    <c:v>Rolling Stdev (30 Minute)</c:v>
                  </c:pt>
                  <c:pt idx="1294">
                    <c:v>Rolling Stdev (30 Minute)</c:v>
                  </c:pt>
                  <c:pt idx="1295">
                    <c:v>Rolling Stdev (30 Minute)</c:v>
                  </c:pt>
                  <c:pt idx="1296">
                    <c:v>Rolling Stdev (30 Minute)</c:v>
                  </c:pt>
                  <c:pt idx="1297">
                    <c:v>Rolling Stdev (30 Minute)</c:v>
                  </c:pt>
                  <c:pt idx="1298">
                    <c:v>Rolling Stdev (30 Minute)</c:v>
                  </c:pt>
                  <c:pt idx="1299">
                    <c:v>Rolling Stdev (30 Minute)</c:v>
                  </c:pt>
                  <c:pt idx="1300">
                    <c:v>Rolling Stdev (30 Minute)</c:v>
                  </c:pt>
                  <c:pt idx="1301">
                    <c:v>Rolling Stdev (30 Minute)</c:v>
                  </c:pt>
                  <c:pt idx="1302">
                    <c:v>Rolling Stdev (30 Minute)</c:v>
                  </c:pt>
                  <c:pt idx="1303">
                    <c:v>Rolling Stdev (30 Minute)</c:v>
                  </c:pt>
                  <c:pt idx="1304">
                    <c:v>Rolling Stdev (30 Minute)</c:v>
                  </c:pt>
                  <c:pt idx="1305">
                    <c:v>Rolling Stdev (30 Minute)</c:v>
                  </c:pt>
                  <c:pt idx="1306">
                    <c:v>Rolling Stdev (30 Minute)</c:v>
                  </c:pt>
                  <c:pt idx="1307">
                    <c:v>Rolling Stdev (30 Minute)</c:v>
                  </c:pt>
                  <c:pt idx="1308">
                    <c:v>Rolling Stdev (30 Minute)</c:v>
                  </c:pt>
                  <c:pt idx="1309">
                    <c:v>Rolling Stdev (30 Minute)</c:v>
                  </c:pt>
                  <c:pt idx="1310">
                    <c:v>Rolling Stdev (30 Minute)</c:v>
                  </c:pt>
                  <c:pt idx="1311">
                    <c:v>Rolling Stdev (30 Minute)</c:v>
                  </c:pt>
                  <c:pt idx="1312">
                    <c:v>Rolling Stdev (30 Minute)</c:v>
                  </c:pt>
                  <c:pt idx="1313">
                    <c:v>Rolling Stdev (30 Minute)</c:v>
                  </c:pt>
                  <c:pt idx="1314">
                    <c:v>Rolling Stdev (30 Minute)</c:v>
                  </c:pt>
                  <c:pt idx="1315">
                    <c:v>Rolling Stdev (30 Minute)</c:v>
                  </c:pt>
                  <c:pt idx="1316">
                    <c:v>Rolling Stdev (30 Minute)</c:v>
                  </c:pt>
                  <c:pt idx="1317">
                    <c:v>Rolling Stdev (30 Minute)</c:v>
                  </c:pt>
                  <c:pt idx="1318">
                    <c:v>Rolling Stdev (30 Minute)</c:v>
                  </c:pt>
                  <c:pt idx="1319">
                    <c:v>Rolling Stdev (30 Minute)</c:v>
                  </c:pt>
                  <c:pt idx="1320">
                    <c:v>Rolling Stdev (30 Minute)</c:v>
                  </c:pt>
                  <c:pt idx="1321">
                    <c:v>Rolling Stdev (30 Minute)</c:v>
                  </c:pt>
                  <c:pt idx="1322">
                    <c:v>Rolling Stdev (30 Minute)</c:v>
                  </c:pt>
                  <c:pt idx="1323">
                    <c:v>Rolling Stdev (30 Minute)</c:v>
                  </c:pt>
                  <c:pt idx="1324">
                    <c:v>Rolling Stdev (30 Minute)</c:v>
                  </c:pt>
                  <c:pt idx="1325">
                    <c:v>Rolling Stdev (30 Minute)</c:v>
                  </c:pt>
                  <c:pt idx="1326">
                    <c:v>Rolling Stdev (30 Minute)</c:v>
                  </c:pt>
                  <c:pt idx="1327">
                    <c:v>Rolling Stdev (30 Minute)</c:v>
                  </c:pt>
                  <c:pt idx="1328">
                    <c:v>Rolling Stdev (30 Minute)</c:v>
                  </c:pt>
                  <c:pt idx="1329">
                    <c:v>Rolling Stdev (30 Minute)</c:v>
                  </c:pt>
                  <c:pt idx="1330">
                    <c:v>Rolling Stdev (30 Minute)</c:v>
                  </c:pt>
                  <c:pt idx="1331">
                    <c:v>Rolling Stdev (30 Minute)</c:v>
                  </c:pt>
                  <c:pt idx="1332">
                    <c:v>Rolling Stdev (30 Minute)</c:v>
                  </c:pt>
                  <c:pt idx="1333">
                    <c:v>Rolling Stdev (30 Minute)</c:v>
                  </c:pt>
                  <c:pt idx="1334">
                    <c:v>Rolling Stdev (30 Minute)</c:v>
                  </c:pt>
                  <c:pt idx="1335">
                    <c:v>Rolling Stdev (30 Minute)</c:v>
                  </c:pt>
                  <c:pt idx="1336">
                    <c:v>Rolling Stdev (30 Minute)</c:v>
                  </c:pt>
                  <c:pt idx="1337">
                    <c:v>Rolling Stdev (30 Minute)</c:v>
                  </c:pt>
                  <c:pt idx="1338">
                    <c:v>Rolling Stdev (30 Minute)</c:v>
                  </c:pt>
                  <c:pt idx="1339">
                    <c:v>Rolling Stdev (30 Minute)</c:v>
                  </c:pt>
                  <c:pt idx="1340">
                    <c:v>Rolling Stdev (30 Minute)</c:v>
                  </c:pt>
                  <c:pt idx="1341">
                    <c:v>Rolling Stdev (30 Minute)</c:v>
                  </c:pt>
                  <c:pt idx="1342">
                    <c:v>Rolling Stdev (30 Minute)</c:v>
                  </c:pt>
                  <c:pt idx="1343">
                    <c:v>Rolling Stdev (30 Minute)</c:v>
                  </c:pt>
                  <c:pt idx="1344">
                    <c:v>Rolling Stdev (30 Minute)</c:v>
                  </c:pt>
                  <c:pt idx="1345">
                    <c:v>Rolling Stdev (30 Minute)</c:v>
                  </c:pt>
                  <c:pt idx="1346">
                    <c:v>Rolling Stdev (30 Minute)</c:v>
                  </c:pt>
                  <c:pt idx="1347">
                    <c:v>Rolling Stdev (30 Minute)</c:v>
                  </c:pt>
                  <c:pt idx="1348">
                    <c:v>Rolling Stdev (30 Minute)</c:v>
                  </c:pt>
                  <c:pt idx="1349">
                    <c:v>Rolling Stdev (30 Minute)</c:v>
                  </c:pt>
                  <c:pt idx="1350">
                    <c:v>Rolling Stdev (30 Minute)</c:v>
                  </c:pt>
                  <c:pt idx="1351">
                    <c:v>Rolling Stdev (30 Minute)</c:v>
                  </c:pt>
                  <c:pt idx="1352">
                    <c:v>Rolling Stdev (30 Minute)</c:v>
                  </c:pt>
                  <c:pt idx="1353">
                    <c:v>Rolling Stdev (30 Minute)</c:v>
                  </c:pt>
                  <c:pt idx="1354">
                    <c:v>Rolling Stdev (30 Minute)</c:v>
                  </c:pt>
                  <c:pt idx="1355">
                    <c:v>Rolling Stdev (30 Minute)</c:v>
                  </c:pt>
                  <c:pt idx="1356">
                    <c:v>Rolling Stdev (30 Minute)</c:v>
                  </c:pt>
                  <c:pt idx="1357">
                    <c:v>Rolling Stdev (30 Minute)</c:v>
                  </c:pt>
                  <c:pt idx="1358">
                    <c:v>Rolling Stdev (30 Minute)</c:v>
                  </c:pt>
                  <c:pt idx="1359">
                    <c:v>Rolling Stdev (30 Minute)</c:v>
                  </c:pt>
                  <c:pt idx="1360">
                    <c:v>Rolling Stdev (30 Minute)</c:v>
                  </c:pt>
                  <c:pt idx="1361">
                    <c:v>Rolling Stdev (30 Minute)</c:v>
                  </c:pt>
                  <c:pt idx="1362">
                    <c:v>Rolling Stdev (30 Minute)</c:v>
                  </c:pt>
                  <c:pt idx="1363">
                    <c:v>Rolling Stdev (30 Minute)</c:v>
                  </c:pt>
                  <c:pt idx="1364">
                    <c:v>Rolling Stdev (30 Minute)</c:v>
                  </c:pt>
                  <c:pt idx="1365">
                    <c:v>Rolling Stdev (30 Minute)</c:v>
                  </c:pt>
                  <c:pt idx="1366">
                    <c:v>Rolling Stdev (30 Minute)</c:v>
                  </c:pt>
                  <c:pt idx="1367">
                    <c:v>Rolling Stdev (30 Minute)</c:v>
                  </c:pt>
                  <c:pt idx="1368">
                    <c:v>Rolling Stdev (30 Minute)</c:v>
                  </c:pt>
                  <c:pt idx="1369">
                    <c:v>Rolling Stdev (30 Minute)</c:v>
                  </c:pt>
                  <c:pt idx="1370">
                    <c:v>Rolling Stdev (30 Minute)</c:v>
                  </c:pt>
                  <c:pt idx="1371">
                    <c:v>Rolling Stdev (30 Minute)</c:v>
                  </c:pt>
                  <c:pt idx="1372">
                    <c:v>Rolling Stdev (30 Minute)</c:v>
                  </c:pt>
                  <c:pt idx="1373">
                    <c:v>Rolling Stdev (30 Minute)</c:v>
                  </c:pt>
                  <c:pt idx="1374">
                    <c:v>Rolling Stdev (30 Minute)</c:v>
                  </c:pt>
                  <c:pt idx="1375">
                    <c:v>Rolling Stdev (30 Minute)</c:v>
                  </c:pt>
                  <c:pt idx="1376">
                    <c:v>Rolling Stdev (30 Minute)</c:v>
                  </c:pt>
                  <c:pt idx="1377">
                    <c:v>Rolling Stdev (30 Minute)</c:v>
                  </c:pt>
                  <c:pt idx="1378">
                    <c:v>Rolling Stdev (30 Minute)</c:v>
                  </c:pt>
                  <c:pt idx="1379">
                    <c:v>Rolling Stdev (30 Minute)</c:v>
                  </c:pt>
                  <c:pt idx="1380">
                    <c:v>Rolling Stdev (30 Minute)</c:v>
                  </c:pt>
                  <c:pt idx="1381">
                    <c:v>Rolling Stdev (30 Minute)</c:v>
                  </c:pt>
                  <c:pt idx="1382">
                    <c:v>Rolling Stdev (30 Minute)</c:v>
                  </c:pt>
                  <c:pt idx="1383">
                    <c:v>Rolling Stdev (30 Minute)</c:v>
                  </c:pt>
                  <c:pt idx="1384">
                    <c:v>Rolling Stdev (30 Minute)</c:v>
                  </c:pt>
                  <c:pt idx="1385">
                    <c:v>Rolling Stdev (30 Minute)</c:v>
                  </c:pt>
                  <c:pt idx="1386">
                    <c:v>Rolling Stdev (30 Minute)</c:v>
                  </c:pt>
                  <c:pt idx="1387">
                    <c:v>Rolling Stdev (30 Minute)</c:v>
                  </c:pt>
                  <c:pt idx="1388">
                    <c:v>Rolling Stdev (30 Minute)</c:v>
                  </c:pt>
                  <c:pt idx="1389">
                    <c:v>Rolling Stdev (30 Minute)</c:v>
                  </c:pt>
                  <c:pt idx="1390">
                    <c:v>Rolling Stdev (30 Minute)</c:v>
                  </c:pt>
                  <c:pt idx="1391">
                    <c:v>Rolling Stdev (30 Minute)</c:v>
                  </c:pt>
                  <c:pt idx="1392">
                    <c:v>Rolling Stdev (30 Minute)</c:v>
                  </c:pt>
                  <c:pt idx="1393">
                    <c:v>Rolling Stdev (30 Minute)</c:v>
                  </c:pt>
                  <c:pt idx="1394">
                    <c:v>Rolling Stdev (30 Minute)</c:v>
                  </c:pt>
                  <c:pt idx="1395">
                    <c:v>Rolling Stdev (30 Minute)</c:v>
                  </c:pt>
                  <c:pt idx="1396">
                    <c:v>Rolling Stdev (30 Minute)</c:v>
                  </c:pt>
                  <c:pt idx="1397">
                    <c:v>Rolling Stdev (30 Minute)</c:v>
                  </c:pt>
                  <c:pt idx="1398">
                    <c:v>Rolling Stdev (30 Minute)</c:v>
                  </c:pt>
                  <c:pt idx="1399">
                    <c:v>Rolling Stdev (30 Minute)</c:v>
                  </c:pt>
                  <c:pt idx="1400">
                    <c:v>Rolling Stdev (30 Minute)</c:v>
                  </c:pt>
                  <c:pt idx="1401">
                    <c:v>Rolling Stdev (30 Minute)</c:v>
                  </c:pt>
                  <c:pt idx="1402">
                    <c:v>Rolling Stdev (30 Minute)</c:v>
                  </c:pt>
                  <c:pt idx="1403">
                    <c:v>Rolling Stdev (30 Minute)</c:v>
                  </c:pt>
                  <c:pt idx="1404">
                    <c:v>Rolling Stdev (30 Minute)</c:v>
                  </c:pt>
                  <c:pt idx="1405">
                    <c:v>Rolling Stdev (30 Minute)</c:v>
                  </c:pt>
                  <c:pt idx="1406">
                    <c:v>Rolling Stdev (30 Minute)</c:v>
                  </c:pt>
                  <c:pt idx="1407">
                    <c:v>Rolling Stdev (30 Minute)</c:v>
                  </c:pt>
                  <c:pt idx="1408">
                    <c:v>Rolling Stdev (30 Minute)</c:v>
                  </c:pt>
                  <c:pt idx="1409">
                    <c:v>Rolling Stdev (30 Minute)</c:v>
                  </c:pt>
                  <c:pt idx="1410">
                    <c:v>Rolling Stdev (30 Minute)</c:v>
                  </c:pt>
                  <c:pt idx="1411">
                    <c:v>Rolling Stdev (30 Minute)</c:v>
                  </c:pt>
                  <c:pt idx="1412">
                    <c:v>Rolling Stdev (30 Minute)</c:v>
                  </c:pt>
                  <c:pt idx="1413">
                    <c:v>Rolling Stdev (30 Minute)</c:v>
                  </c:pt>
                  <c:pt idx="1414">
                    <c:v>Rolling Stdev (30 Minute)</c:v>
                  </c:pt>
                  <c:pt idx="1415">
                    <c:v>Rolling Stdev (30 Minute)</c:v>
                  </c:pt>
                  <c:pt idx="1416">
                    <c:v>Rolling Stdev (30 Minute)</c:v>
                  </c:pt>
                  <c:pt idx="1417">
                    <c:v>Rolling Stdev (30 Minute)</c:v>
                  </c:pt>
                  <c:pt idx="1418">
                    <c:v>Rolling Stdev (30 Minute)</c:v>
                  </c:pt>
                  <c:pt idx="1419">
                    <c:v>Rolling Stdev (30 Minute)</c:v>
                  </c:pt>
                  <c:pt idx="1420">
                    <c:v>Rolling Stdev (30 Minute)</c:v>
                  </c:pt>
                  <c:pt idx="1421">
                    <c:v>Rolling Stdev (30 Minute)</c:v>
                  </c:pt>
                  <c:pt idx="1422">
                    <c:v>Rolling Stdev (30 Minute)</c:v>
                  </c:pt>
                  <c:pt idx="1423">
                    <c:v>Rolling Stdev (30 Minute)</c:v>
                  </c:pt>
                  <c:pt idx="1424">
                    <c:v>Rolling Stdev (30 Minute)</c:v>
                  </c:pt>
                  <c:pt idx="1425">
                    <c:v>Rolling Stdev (30 Minute)</c:v>
                  </c:pt>
                  <c:pt idx="1426">
                    <c:v>Rolling Stdev (30 Minute)</c:v>
                  </c:pt>
                  <c:pt idx="1427">
                    <c:v>Rolling Stdev (30 Minute)</c:v>
                  </c:pt>
                  <c:pt idx="1428">
                    <c:v>Rolling Stdev (30 Minute)</c:v>
                  </c:pt>
                  <c:pt idx="1429">
                    <c:v>Rolling Stdev (30 Minute)</c:v>
                  </c:pt>
                  <c:pt idx="1430">
                    <c:v>Rolling Stdev (30 Minute)</c:v>
                  </c:pt>
                  <c:pt idx="1431">
                    <c:v>Rolling Stdev (30 Minute)</c:v>
                  </c:pt>
                  <c:pt idx="1432">
                    <c:v>Rolling Stdev (30 Minute)</c:v>
                  </c:pt>
                  <c:pt idx="1433">
                    <c:v>Rolling Stdev (30 Minute)</c:v>
                  </c:pt>
                  <c:pt idx="1434">
                    <c:v>Rolling Stdev (30 Minute)</c:v>
                  </c:pt>
                  <c:pt idx="1435">
                    <c:v>Rolling Stdev (30 Minute)</c:v>
                  </c:pt>
                  <c:pt idx="1436">
                    <c:v>Rolling Stdev (30 Minute)</c:v>
                  </c:pt>
                  <c:pt idx="1437">
                    <c:v>Rolling Stdev (30 Minute)</c:v>
                  </c:pt>
                  <c:pt idx="1438">
                    <c:v>Rolling Stdev (30 Minute)</c:v>
                  </c:pt>
                  <c:pt idx="1439">
                    <c:v>Rolling Stdev (30 Minute)</c:v>
                  </c:pt>
                  <c:pt idx="1440">
                    <c:v>Rolling Stdev (30 Minute)</c:v>
                  </c:pt>
                  <c:pt idx="1441">
                    <c:v>Rolling Stdev (30 Minute)</c:v>
                  </c:pt>
                  <c:pt idx="1442">
                    <c:v>Rolling Stdev (30 Minute)</c:v>
                  </c:pt>
                  <c:pt idx="1443">
                    <c:v>Rolling Stdev (30 Minute)</c:v>
                  </c:pt>
                  <c:pt idx="1444">
                    <c:v>Rolling Stdev (30 Minute)</c:v>
                  </c:pt>
                  <c:pt idx="1445">
                    <c:v>Rolling Stdev (30 Minute)</c:v>
                  </c:pt>
                  <c:pt idx="1446">
                    <c:v>Rolling Stdev (30 Minute)</c:v>
                  </c:pt>
                  <c:pt idx="1447">
                    <c:v>Rolling Stdev (30 Minute)</c:v>
                  </c:pt>
                  <c:pt idx="1448">
                    <c:v>Rolling Stdev (30 Minute)</c:v>
                  </c:pt>
                  <c:pt idx="1449">
                    <c:v>Rolling Stdev (30 Minute)</c:v>
                  </c:pt>
                  <c:pt idx="1450">
                    <c:v>Rolling Stdev (30 Minute)</c:v>
                  </c:pt>
                  <c:pt idx="1451">
                    <c:v>Rolling Stdev (30 Minute)</c:v>
                  </c:pt>
                  <c:pt idx="1452">
                    <c:v>Rolling Stdev (30 Minute)</c:v>
                  </c:pt>
                  <c:pt idx="1453">
                    <c:v>Rolling Stdev (30 Minute)</c:v>
                  </c:pt>
                  <c:pt idx="1454">
                    <c:v>Rolling Stdev (30 Minute)</c:v>
                  </c:pt>
                  <c:pt idx="1455">
                    <c:v>Rolling Stdev (30 Minute)</c:v>
                  </c:pt>
                  <c:pt idx="1456">
                    <c:v>Rolling Stdev (30 Minute)</c:v>
                  </c:pt>
                  <c:pt idx="1457">
                    <c:v>Rolling Stdev (30 Minute)</c:v>
                  </c:pt>
                  <c:pt idx="1458">
                    <c:v>Rolling Stdev (30 Minute)</c:v>
                  </c:pt>
                  <c:pt idx="1459">
                    <c:v>Rolling Stdev (30 Minute)</c:v>
                  </c:pt>
                  <c:pt idx="1460">
                    <c:v>Rolling Stdev (30 Minute)</c:v>
                  </c:pt>
                  <c:pt idx="1461">
                    <c:v>Rolling Stdev (30 Minute)</c:v>
                  </c:pt>
                  <c:pt idx="1462">
                    <c:v>Rolling Stdev (30 Minute)</c:v>
                  </c:pt>
                  <c:pt idx="1463">
                    <c:v>Rolling Stdev (30 Minute)</c:v>
                  </c:pt>
                  <c:pt idx="1464">
                    <c:v>Rolling Stdev (30 Minute)</c:v>
                  </c:pt>
                  <c:pt idx="1465">
                    <c:v>Rolling Stdev (30 Minute)</c:v>
                  </c:pt>
                  <c:pt idx="1466">
                    <c:v>Rolling Stdev (30 Minute)</c:v>
                  </c:pt>
                  <c:pt idx="1467">
                    <c:v>Rolling Stdev (30 Minute)</c:v>
                  </c:pt>
                  <c:pt idx="1468">
                    <c:v>Rolling Stdev (30 Minute)</c:v>
                  </c:pt>
                  <c:pt idx="1469">
                    <c:v>Rolling Stdev (30 Minute)</c:v>
                  </c:pt>
                  <c:pt idx="1470">
                    <c:v>Rolling Stdev (30 Minute)</c:v>
                  </c:pt>
                  <c:pt idx="1471">
                    <c:v>Rolling Stdev (30 Minute)</c:v>
                  </c:pt>
                  <c:pt idx="1472">
                    <c:v>Rolling Stdev (30 Minute)</c:v>
                  </c:pt>
                  <c:pt idx="1473">
                    <c:v>Rolling Stdev (30 Minute)</c:v>
                  </c:pt>
                  <c:pt idx="1474">
                    <c:v>Rolling Stdev (30 Minute)</c:v>
                  </c:pt>
                  <c:pt idx="1475">
                    <c:v>Rolling Stdev (30 Minute)</c:v>
                  </c:pt>
                  <c:pt idx="1476">
                    <c:v>Rolling Stdev (30 Minute)</c:v>
                  </c:pt>
                  <c:pt idx="1477">
                    <c:v>Rolling Stdev (30 Minute)</c:v>
                  </c:pt>
                  <c:pt idx="1478">
                    <c:v>Rolling Stdev (30 Minute)</c:v>
                  </c:pt>
                  <c:pt idx="1479">
                    <c:v>Rolling Stdev (30 Minute)</c:v>
                  </c:pt>
                  <c:pt idx="1480">
                    <c:v>Rolling Stdev (30 Minute)</c:v>
                  </c:pt>
                  <c:pt idx="1481">
                    <c:v>Rolling Stdev (30 Minute)</c:v>
                  </c:pt>
                  <c:pt idx="1482">
                    <c:v>Rolling Stdev (30 Minute)</c:v>
                  </c:pt>
                  <c:pt idx="1483">
                    <c:v>Rolling Stdev (30 Minute)</c:v>
                  </c:pt>
                  <c:pt idx="1484">
                    <c:v>Rolling Stdev (30 Minute)</c:v>
                  </c:pt>
                  <c:pt idx="1485">
                    <c:v>Rolling Stdev (30 Minute)</c:v>
                  </c:pt>
                  <c:pt idx="1486">
                    <c:v>Rolling Stdev (30 Minute)</c:v>
                  </c:pt>
                  <c:pt idx="1487">
                    <c:v>Rolling Stdev (30 Minute)</c:v>
                  </c:pt>
                  <c:pt idx="1488">
                    <c:v>Rolling Stdev (30 Minute)</c:v>
                  </c:pt>
                  <c:pt idx="1489">
                    <c:v>Rolling Stdev (30 Minute)</c:v>
                  </c:pt>
                  <c:pt idx="1490">
                    <c:v>Rolling Stdev (30 Minute)</c:v>
                  </c:pt>
                  <c:pt idx="1491">
                    <c:v>Rolling Stdev (30 Minute)</c:v>
                  </c:pt>
                  <c:pt idx="1492">
                    <c:v>Rolling Stdev (30 Minute)</c:v>
                  </c:pt>
                  <c:pt idx="1493">
                    <c:v>Rolling Stdev (30 Minute)</c:v>
                  </c:pt>
                  <c:pt idx="1494">
                    <c:v>Rolling Stdev (30 Minute)</c:v>
                  </c:pt>
                  <c:pt idx="1495">
                    <c:v>Rolling Stdev (30 Minute)</c:v>
                  </c:pt>
                  <c:pt idx="1496">
                    <c:v>Rolling Stdev (30 Minute)</c:v>
                  </c:pt>
                  <c:pt idx="1497">
                    <c:v>Rolling Stdev (30 Minute)</c:v>
                  </c:pt>
                  <c:pt idx="1498">
                    <c:v>Rolling Stdev (30 Minute)</c:v>
                  </c:pt>
                  <c:pt idx="1499">
                    <c:v>Rolling Stdev (30 Minute)</c:v>
                  </c:pt>
                  <c:pt idx="1500">
                    <c:v>Rolling Stdev (30 Minute)</c:v>
                  </c:pt>
                  <c:pt idx="1501">
                    <c:v>Rolling Stdev (30 Minute)</c:v>
                  </c:pt>
                  <c:pt idx="1502">
                    <c:v>Rolling Stdev (30 Minute)</c:v>
                  </c:pt>
                  <c:pt idx="1503">
                    <c:v>Rolling Stdev (30 Minute)</c:v>
                  </c:pt>
                  <c:pt idx="1504">
                    <c:v>Rolling Stdev (30 Minute)</c:v>
                  </c:pt>
                  <c:pt idx="1505">
                    <c:v>Rolling Stdev (30 Minute)</c:v>
                  </c:pt>
                  <c:pt idx="1506">
                    <c:v>Rolling Stdev (30 Minute)</c:v>
                  </c:pt>
                  <c:pt idx="1507">
                    <c:v>Rolling Stdev (30 Minute)</c:v>
                  </c:pt>
                  <c:pt idx="1508">
                    <c:v>Rolling Stdev (30 Minute)</c:v>
                  </c:pt>
                  <c:pt idx="1509">
                    <c:v>Rolling Stdev (30 Minute)</c:v>
                  </c:pt>
                  <c:pt idx="1510">
                    <c:v>Rolling Stdev (30 Minute)</c:v>
                  </c:pt>
                  <c:pt idx="1511">
                    <c:v>Rolling Stdev (30 Minute)</c:v>
                  </c:pt>
                  <c:pt idx="1512">
                    <c:v>Rolling Stdev (30 Minute)</c:v>
                  </c:pt>
                  <c:pt idx="1513">
                    <c:v>Rolling Stdev (30 Minute)</c:v>
                  </c:pt>
                  <c:pt idx="1514">
                    <c:v>Rolling Stdev (30 Minute)</c:v>
                  </c:pt>
                  <c:pt idx="1515">
                    <c:v>Rolling Stdev (30 Minute)</c:v>
                  </c:pt>
                  <c:pt idx="1516">
                    <c:v>Rolling Stdev (30 Minute)</c:v>
                  </c:pt>
                  <c:pt idx="1517">
                    <c:v>Rolling Stdev (30 Minute)</c:v>
                  </c:pt>
                  <c:pt idx="1518">
                    <c:v>Rolling Stdev (30 Minute)</c:v>
                  </c:pt>
                  <c:pt idx="1519">
                    <c:v>Rolling Stdev (30 Minute)</c:v>
                  </c:pt>
                  <c:pt idx="1520">
                    <c:v>Rolling Stdev (30 Minute)</c:v>
                  </c:pt>
                  <c:pt idx="1521">
                    <c:v>Rolling Stdev (30 Minute)</c:v>
                  </c:pt>
                  <c:pt idx="1522">
                    <c:v>Rolling Stdev (30 Minute)</c:v>
                  </c:pt>
                  <c:pt idx="1523">
                    <c:v>Rolling Stdev (30 Minute)</c:v>
                  </c:pt>
                  <c:pt idx="1524">
                    <c:v>Rolling Stdev (30 Minute)</c:v>
                  </c:pt>
                  <c:pt idx="1525">
                    <c:v>Rolling Stdev (30 Minute)</c:v>
                  </c:pt>
                  <c:pt idx="1526">
                    <c:v>Rolling Stdev (30 Minute)</c:v>
                  </c:pt>
                  <c:pt idx="1527">
                    <c:v>Rolling Stdev (30 Minute)</c:v>
                  </c:pt>
                  <c:pt idx="1528">
                    <c:v>Rolling Stdev (30 Minute)</c:v>
                  </c:pt>
                  <c:pt idx="1529">
                    <c:v>Rolling Stdev (30 Minute)</c:v>
                  </c:pt>
                  <c:pt idx="1530">
                    <c:v>Rolling Stdev (30 Minute)</c:v>
                  </c:pt>
                  <c:pt idx="1531">
                    <c:v>Rolling Stdev (30 Minute)</c:v>
                  </c:pt>
                  <c:pt idx="1532">
                    <c:v>Rolling Stdev (30 Minute)</c:v>
                  </c:pt>
                  <c:pt idx="1533">
                    <c:v>Rolling Stdev (30 Minute)</c:v>
                  </c:pt>
                  <c:pt idx="1534">
                    <c:v>Rolling Stdev (30 Minute)</c:v>
                  </c:pt>
                  <c:pt idx="1535">
                    <c:v>Rolling Stdev (30 Minute)</c:v>
                  </c:pt>
                  <c:pt idx="1536">
                    <c:v>Rolling Stdev (30 Minute)</c:v>
                  </c:pt>
                  <c:pt idx="1537">
                    <c:v>Rolling Stdev (30 Minute)</c:v>
                  </c:pt>
                  <c:pt idx="1538">
                    <c:v>Rolling Stdev (30 Minute)</c:v>
                  </c:pt>
                  <c:pt idx="1539">
                    <c:v>Rolling Stdev (30 Minute)</c:v>
                  </c:pt>
                  <c:pt idx="1540">
                    <c:v>Rolling Stdev (30 Minute)</c:v>
                  </c:pt>
                  <c:pt idx="1541">
                    <c:v>Rolling Stdev (30 Minute)</c:v>
                  </c:pt>
                  <c:pt idx="1542">
                    <c:v>Rolling Stdev (30 Minute)</c:v>
                  </c:pt>
                  <c:pt idx="1543">
                    <c:v>Rolling Stdev (30 Minute)</c:v>
                  </c:pt>
                  <c:pt idx="1544">
                    <c:v>Rolling Stdev (30 Minute)</c:v>
                  </c:pt>
                  <c:pt idx="1545">
                    <c:v>Rolling Stdev (30 Minute)</c:v>
                  </c:pt>
                  <c:pt idx="1546">
                    <c:v>Rolling Stdev (30 Minute)</c:v>
                  </c:pt>
                  <c:pt idx="1547">
                    <c:v>Rolling Stdev (30 Minute)</c:v>
                  </c:pt>
                  <c:pt idx="1548">
                    <c:v>Rolling Stdev (30 Minute)</c:v>
                  </c:pt>
                  <c:pt idx="1549">
                    <c:v>Rolling Stdev (30 Minute)</c:v>
                  </c:pt>
                  <c:pt idx="1550">
                    <c:v>Rolling Stdev (30 Minute)</c:v>
                  </c:pt>
                  <c:pt idx="1551">
                    <c:v>Rolling Stdev (30 Minute)</c:v>
                  </c:pt>
                  <c:pt idx="1552">
                    <c:v>Rolling Stdev (30 Minute)</c:v>
                  </c:pt>
                  <c:pt idx="1553">
                    <c:v>Rolling Stdev (30 Minute)</c:v>
                  </c:pt>
                  <c:pt idx="1554">
                    <c:v>Rolling Stdev (30 Minute)</c:v>
                  </c:pt>
                  <c:pt idx="1555">
                    <c:v>Rolling Stdev (30 Minute)</c:v>
                  </c:pt>
                  <c:pt idx="1556">
                    <c:v>Rolling Stdev (30 Minute)</c:v>
                  </c:pt>
                  <c:pt idx="1557">
                    <c:v>Rolling Stdev (30 Minute)</c:v>
                  </c:pt>
                  <c:pt idx="1558">
                    <c:v>Rolling Stdev (30 Minute)</c:v>
                  </c:pt>
                  <c:pt idx="1559">
                    <c:v>Rolling Stdev (30 Minute)</c:v>
                  </c:pt>
                  <c:pt idx="1560">
                    <c:v>Rolling Stdev (30 Minute)</c:v>
                  </c:pt>
                  <c:pt idx="1561">
                    <c:v>Rolling Stdev (30 Minute)</c:v>
                  </c:pt>
                  <c:pt idx="1562">
                    <c:v>Rolling Stdev (30 Minute)</c:v>
                  </c:pt>
                  <c:pt idx="1563">
                    <c:v>Rolling Stdev (30 Minute)</c:v>
                  </c:pt>
                  <c:pt idx="1564">
                    <c:v>Rolling Stdev (30 Minute)</c:v>
                  </c:pt>
                  <c:pt idx="1565">
                    <c:v>Rolling Stdev (30 Minute)</c:v>
                  </c:pt>
                  <c:pt idx="1566">
                    <c:v>Rolling Stdev (30 Minute)</c:v>
                  </c:pt>
                  <c:pt idx="1567">
                    <c:v>Rolling Stdev (30 Minute)</c:v>
                  </c:pt>
                  <c:pt idx="1568">
                    <c:v>Rolling Stdev (30 Minute)</c:v>
                  </c:pt>
                  <c:pt idx="1569">
                    <c:v>Rolling Stdev (30 Minute)</c:v>
                  </c:pt>
                  <c:pt idx="1570">
                    <c:v>Rolling Stdev (30 Minute)</c:v>
                  </c:pt>
                  <c:pt idx="1571">
                    <c:v>Rolling Stdev (30 Minute)</c:v>
                  </c:pt>
                  <c:pt idx="1572">
                    <c:v>Rolling Stdev (30 Minute)</c:v>
                  </c:pt>
                  <c:pt idx="1573">
                    <c:v>Rolling Stdev (30 Minute)</c:v>
                  </c:pt>
                  <c:pt idx="1574">
                    <c:v>Rolling Stdev (30 Minute)</c:v>
                  </c:pt>
                  <c:pt idx="1575">
                    <c:v>Rolling Stdev (30 Minute)</c:v>
                  </c:pt>
                  <c:pt idx="1576">
                    <c:v>Rolling Stdev (30 Minute)</c:v>
                  </c:pt>
                  <c:pt idx="1577">
                    <c:v>Rolling Stdev (30 Minute)</c:v>
                  </c:pt>
                  <c:pt idx="1578">
                    <c:v>Rolling Stdev (30 Minute)</c:v>
                  </c:pt>
                  <c:pt idx="1579">
                    <c:v>Rolling Stdev (30 Minute)</c:v>
                  </c:pt>
                  <c:pt idx="1580">
                    <c:v>Rolling Stdev (30 Minute)</c:v>
                  </c:pt>
                  <c:pt idx="1581">
                    <c:v>Rolling Stdev (30 Minute)</c:v>
                  </c:pt>
                  <c:pt idx="1582">
                    <c:v>Rolling Stdev (30 Minute)</c:v>
                  </c:pt>
                  <c:pt idx="1583">
                    <c:v>Rolling Stdev (30 Minute)</c:v>
                  </c:pt>
                  <c:pt idx="1584">
                    <c:v>Rolling Stdev (30 Minute)</c:v>
                  </c:pt>
                  <c:pt idx="1585">
                    <c:v>Rolling Stdev (30 Minute)</c:v>
                  </c:pt>
                  <c:pt idx="1586">
                    <c:v>Rolling Stdev (30 Minute)</c:v>
                  </c:pt>
                  <c:pt idx="1587">
                    <c:v>Rolling Stdev (30 Minute)</c:v>
                  </c:pt>
                  <c:pt idx="1588">
                    <c:v>Rolling Stdev (30 Minute)</c:v>
                  </c:pt>
                  <c:pt idx="1589">
                    <c:v>Rolling Stdev (30 Minute)</c:v>
                  </c:pt>
                  <c:pt idx="1590">
                    <c:v>Rolling Stdev (30 Minute)</c:v>
                  </c:pt>
                  <c:pt idx="1591">
                    <c:v>Rolling Stdev (30 Minute)</c:v>
                  </c:pt>
                  <c:pt idx="1592">
                    <c:v>Rolling Stdev (30 Minute)</c:v>
                  </c:pt>
                  <c:pt idx="1593">
                    <c:v>Rolling Stdev (30 Minute)</c:v>
                  </c:pt>
                  <c:pt idx="1594">
                    <c:v>Rolling Stdev (30 Minute)</c:v>
                  </c:pt>
                  <c:pt idx="1595">
                    <c:v>Rolling Stdev (30 Minute)</c:v>
                  </c:pt>
                  <c:pt idx="1596">
                    <c:v>Rolling Stdev (30 Minute)</c:v>
                  </c:pt>
                  <c:pt idx="1597">
                    <c:v>Rolling Stdev (30 Minute)</c:v>
                  </c:pt>
                  <c:pt idx="1598">
                    <c:v>Rolling Stdev (30 Minute)</c:v>
                  </c:pt>
                  <c:pt idx="1599">
                    <c:v>Rolling Stdev (30 Minute)</c:v>
                  </c:pt>
                  <c:pt idx="1600">
                    <c:v>Rolling Stdev (30 Minute)</c:v>
                  </c:pt>
                  <c:pt idx="1601">
                    <c:v>Rolling Stdev (30 Minute)</c:v>
                  </c:pt>
                  <c:pt idx="1602">
                    <c:v>Rolling Stdev (30 Minute)</c:v>
                  </c:pt>
                  <c:pt idx="1603">
                    <c:v>Rolling Stdev (30 Minute)</c:v>
                  </c:pt>
                  <c:pt idx="1604">
                    <c:v>Rolling Stdev (30 Minute)</c:v>
                  </c:pt>
                  <c:pt idx="1605">
                    <c:v>Rolling Stdev (30 Minute)</c:v>
                  </c:pt>
                  <c:pt idx="1606">
                    <c:v>Rolling Stdev (30 Minute)</c:v>
                  </c:pt>
                  <c:pt idx="1607">
                    <c:v>Rolling Stdev (30 Minute)</c:v>
                  </c:pt>
                  <c:pt idx="1608">
                    <c:v>Rolling Stdev (30 Minute)</c:v>
                  </c:pt>
                  <c:pt idx="1609">
                    <c:v>Rolling Stdev (30 Minute)</c:v>
                  </c:pt>
                  <c:pt idx="1610">
                    <c:v>Rolling Stdev (30 Minute)</c:v>
                  </c:pt>
                  <c:pt idx="1611">
                    <c:v>Rolling Stdev (30 Minute)</c:v>
                  </c:pt>
                  <c:pt idx="1612">
                    <c:v>Rolling Stdev (30 Minute)</c:v>
                  </c:pt>
                  <c:pt idx="1613">
                    <c:v>Rolling Stdev (30 Minute)</c:v>
                  </c:pt>
                  <c:pt idx="1614">
                    <c:v>Rolling Stdev (30 Minute)</c:v>
                  </c:pt>
                  <c:pt idx="1615">
                    <c:v>Rolling Stdev (30 Minute)</c:v>
                  </c:pt>
                  <c:pt idx="1616">
                    <c:v>Rolling Stdev (30 Minute)</c:v>
                  </c:pt>
                  <c:pt idx="1617">
                    <c:v>Rolling Stdev (30 Minute)</c:v>
                  </c:pt>
                  <c:pt idx="1618">
                    <c:v>Rolling Stdev (30 Minute)</c:v>
                  </c:pt>
                  <c:pt idx="1619">
                    <c:v>Rolling Stdev (30 Minute)</c:v>
                  </c:pt>
                  <c:pt idx="1620">
                    <c:v>Rolling Stdev (30 Minute)</c:v>
                  </c:pt>
                  <c:pt idx="1621">
                    <c:v>Rolling Stdev (30 Minute)</c:v>
                  </c:pt>
                  <c:pt idx="1622">
                    <c:v>Rolling Stdev (30 Minute)</c:v>
                  </c:pt>
                  <c:pt idx="1623">
                    <c:v>Rolling Stdev (30 Minute)</c:v>
                  </c:pt>
                  <c:pt idx="1624">
                    <c:v>Rolling Stdev (30 Minute)</c:v>
                  </c:pt>
                  <c:pt idx="1625">
                    <c:v>Rolling Stdev (30 Minute)</c:v>
                  </c:pt>
                  <c:pt idx="1626">
                    <c:v>Rolling Stdev (30 Minute)</c:v>
                  </c:pt>
                  <c:pt idx="1627">
                    <c:v>Rolling Stdev (30 Minute)</c:v>
                  </c:pt>
                  <c:pt idx="1628">
                    <c:v>Rolling Stdev (30 Minute)</c:v>
                  </c:pt>
                  <c:pt idx="1629">
                    <c:v>Rolling Stdev (30 Minute)</c:v>
                  </c:pt>
                  <c:pt idx="1630">
                    <c:v>Rolling Stdev (30 Minute)</c:v>
                  </c:pt>
                  <c:pt idx="1631">
                    <c:v>Rolling Stdev (30 Minute)</c:v>
                  </c:pt>
                  <c:pt idx="1632">
                    <c:v>Rolling Stdev (30 Minute)</c:v>
                  </c:pt>
                  <c:pt idx="1633">
                    <c:v>Rolling Stdev (30 Minute)</c:v>
                  </c:pt>
                  <c:pt idx="1634">
                    <c:v>Rolling Stdev (30 Minute)</c:v>
                  </c:pt>
                  <c:pt idx="1635">
                    <c:v>Rolling Stdev (30 Minute)</c:v>
                  </c:pt>
                  <c:pt idx="1636">
                    <c:v>Rolling Stdev (30 Minute)</c:v>
                  </c:pt>
                  <c:pt idx="1637">
                    <c:v>Rolling Stdev (30 Minute)</c:v>
                  </c:pt>
                  <c:pt idx="1638">
                    <c:v>Rolling Stdev (30 Minute)</c:v>
                  </c:pt>
                  <c:pt idx="1639">
                    <c:v>Rolling Stdev (30 Minute)</c:v>
                  </c:pt>
                  <c:pt idx="1640">
                    <c:v>Rolling Stdev (30 Minute)</c:v>
                  </c:pt>
                  <c:pt idx="1641">
                    <c:v>Rolling Stdev (30 Minute)</c:v>
                  </c:pt>
                  <c:pt idx="1642">
                    <c:v>Rolling Stdev (30 Minute)</c:v>
                  </c:pt>
                  <c:pt idx="1643">
                    <c:v>Rolling Stdev (30 Minute)</c:v>
                  </c:pt>
                  <c:pt idx="1644">
                    <c:v>Rolling Stdev (30 Minute)</c:v>
                  </c:pt>
                  <c:pt idx="1645">
                    <c:v>Rolling Stdev (30 Minute)</c:v>
                  </c:pt>
                  <c:pt idx="1646">
                    <c:v>Rolling Stdev (30 Minute)</c:v>
                  </c:pt>
                  <c:pt idx="1647">
                    <c:v>Rolling Stdev (30 Minute)</c:v>
                  </c:pt>
                  <c:pt idx="1648">
                    <c:v>Rolling Stdev (30 Minute)</c:v>
                  </c:pt>
                  <c:pt idx="1649">
                    <c:v>Rolling Stdev (30 Minute)</c:v>
                  </c:pt>
                  <c:pt idx="1650">
                    <c:v>Rolling Stdev (30 Minute)</c:v>
                  </c:pt>
                  <c:pt idx="1651">
                    <c:v>Rolling Stdev (30 Minute)</c:v>
                  </c:pt>
                  <c:pt idx="1652">
                    <c:v>Rolling Stdev (30 Minute)</c:v>
                  </c:pt>
                  <c:pt idx="1653">
                    <c:v>Rolling Stdev (30 Minute)</c:v>
                  </c:pt>
                  <c:pt idx="1654">
                    <c:v>Rolling Stdev (30 Minute)</c:v>
                  </c:pt>
                  <c:pt idx="1655">
                    <c:v>Rolling Stdev (30 Minute)</c:v>
                  </c:pt>
                  <c:pt idx="1656">
                    <c:v>Rolling Stdev (30 Minute)</c:v>
                  </c:pt>
                  <c:pt idx="1657">
                    <c:v>Rolling Stdev (30 Minute)</c:v>
                  </c:pt>
                  <c:pt idx="1658">
                    <c:v>Rolling Stdev (30 Minute)</c:v>
                  </c:pt>
                  <c:pt idx="1659">
                    <c:v>Rolling Stdev (30 Minute)</c:v>
                  </c:pt>
                  <c:pt idx="1660">
                    <c:v>Rolling Stdev (30 Minute)</c:v>
                  </c:pt>
                  <c:pt idx="1661">
                    <c:v>Rolling Stdev (30 Minute)</c:v>
                  </c:pt>
                  <c:pt idx="1662">
                    <c:v>Rolling Stdev (30 Minute)</c:v>
                  </c:pt>
                  <c:pt idx="1663">
                    <c:v>Rolling Stdev (30 Minute)</c:v>
                  </c:pt>
                  <c:pt idx="1664">
                    <c:v>Rolling Stdev (30 Minute)</c:v>
                  </c:pt>
                  <c:pt idx="1665">
                    <c:v>Rolling Stdev (30 Minute)</c:v>
                  </c:pt>
                  <c:pt idx="1666">
                    <c:v>Rolling Stdev (30 Minute)</c:v>
                  </c:pt>
                  <c:pt idx="1667">
                    <c:v>Rolling Stdev (30 Minute)</c:v>
                  </c:pt>
                  <c:pt idx="1668">
                    <c:v>Rolling Stdev (30 Minute)</c:v>
                  </c:pt>
                  <c:pt idx="1669">
                    <c:v>Rolling Stdev (30 Minute)</c:v>
                  </c:pt>
                  <c:pt idx="1670">
                    <c:v>Rolling Stdev (30 Minute)</c:v>
                  </c:pt>
                  <c:pt idx="1671">
                    <c:v>Rolling Stdev (30 Minute)</c:v>
                  </c:pt>
                  <c:pt idx="1672">
                    <c:v>Rolling Stdev (30 Minute)</c:v>
                  </c:pt>
                  <c:pt idx="1673">
                    <c:v>Rolling Stdev (30 Minute)</c:v>
                  </c:pt>
                  <c:pt idx="1674">
                    <c:v>Rolling Stdev (30 Minute)</c:v>
                  </c:pt>
                  <c:pt idx="1675">
                    <c:v>Rolling Stdev (30 Minute)</c:v>
                  </c:pt>
                  <c:pt idx="1676">
                    <c:v>Rolling Stdev (30 Minute)</c:v>
                  </c:pt>
                  <c:pt idx="1677">
                    <c:v>Rolling Stdev (30 Minute)</c:v>
                  </c:pt>
                  <c:pt idx="1678">
                    <c:v>Rolling Stdev (30 Minute)</c:v>
                  </c:pt>
                  <c:pt idx="1679">
                    <c:v>Rolling Stdev (30 Minute)</c:v>
                  </c:pt>
                  <c:pt idx="1680">
                    <c:v>Rolling Stdev (30 Minute)</c:v>
                  </c:pt>
                  <c:pt idx="1681">
                    <c:v>Rolling Stdev (30 Minute)</c:v>
                  </c:pt>
                  <c:pt idx="1682">
                    <c:v>Rolling Stdev (30 Minute)</c:v>
                  </c:pt>
                  <c:pt idx="1683">
                    <c:v>Rolling Stdev (30 Minute)</c:v>
                  </c:pt>
                  <c:pt idx="1684">
                    <c:v>Rolling Stdev (30 Minute)</c:v>
                  </c:pt>
                  <c:pt idx="1685">
                    <c:v>Rolling Stdev (30 Minute)</c:v>
                  </c:pt>
                  <c:pt idx="1686">
                    <c:v>Rolling Stdev (30 Minute)</c:v>
                  </c:pt>
                  <c:pt idx="1687">
                    <c:v>Rolling Stdev (30 Minute)</c:v>
                  </c:pt>
                  <c:pt idx="1688">
                    <c:v>Rolling Stdev (30 Minute)</c:v>
                  </c:pt>
                  <c:pt idx="1689">
                    <c:v>Rolling Stdev (30 Minute)</c:v>
                  </c:pt>
                  <c:pt idx="1690">
                    <c:v>Rolling Stdev (30 Minute)</c:v>
                  </c:pt>
                  <c:pt idx="1691">
                    <c:v>Rolling Stdev (30 Minute)</c:v>
                  </c:pt>
                  <c:pt idx="1692">
                    <c:v>Rolling Stdev (30 Minute)</c:v>
                  </c:pt>
                  <c:pt idx="1693">
                    <c:v>Rolling Stdev (30 Minute)</c:v>
                  </c:pt>
                  <c:pt idx="1694">
                    <c:v>Rolling Stdev (30 Minute)</c:v>
                  </c:pt>
                  <c:pt idx="1695">
                    <c:v>Rolling Stdev (30 Minute)</c:v>
                  </c:pt>
                  <c:pt idx="1696">
                    <c:v>Rolling Stdev (30 Minute)</c:v>
                  </c:pt>
                  <c:pt idx="1697">
                    <c:v>Rolling Stdev (30 Minute)</c:v>
                  </c:pt>
                  <c:pt idx="1698">
                    <c:v>Rolling Stdev (30 Minute)</c:v>
                  </c:pt>
                  <c:pt idx="1699">
                    <c:v>Rolling Stdev (30 Minute)</c:v>
                  </c:pt>
                  <c:pt idx="1700">
                    <c:v>Rolling Stdev (30 Minute)</c:v>
                  </c:pt>
                  <c:pt idx="1701">
                    <c:v>Rolling Stdev (30 Minute)</c:v>
                  </c:pt>
                  <c:pt idx="1702">
                    <c:v>Rolling Stdev (30 Minute)</c:v>
                  </c:pt>
                  <c:pt idx="1703">
                    <c:v>Rolling Stdev (30 Minute)</c:v>
                  </c:pt>
                  <c:pt idx="1704">
                    <c:v>Rolling Stdev (30 Minute)</c:v>
                  </c:pt>
                  <c:pt idx="1705">
                    <c:v>Rolling Stdev (30 Minute)</c:v>
                  </c:pt>
                  <c:pt idx="1706">
                    <c:v>Rolling Stdev (30 Minute)</c:v>
                  </c:pt>
                  <c:pt idx="1707">
                    <c:v>Rolling Stdev (30 Minute)</c:v>
                  </c:pt>
                  <c:pt idx="1708">
                    <c:v>Rolling Stdev (30 Minute)</c:v>
                  </c:pt>
                  <c:pt idx="1709">
                    <c:v>Rolling Stdev (30 Minute)</c:v>
                  </c:pt>
                  <c:pt idx="1710">
                    <c:v>Rolling Stdev (30 Minute)</c:v>
                  </c:pt>
                  <c:pt idx="1711">
                    <c:v>Rolling Stdev (30 Minute)</c:v>
                  </c:pt>
                  <c:pt idx="1712">
                    <c:v>Rolling Stdev (30 Minute)</c:v>
                  </c:pt>
                  <c:pt idx="1713">
                    <c:v>Rolling Stdev (30 Minute)</c:v>
                  </c:pt>
                  <c:pt idx="1714">
                    <c:v>Rolling Stdev (30 Minute)</c:v>
                  </c:pt>
                  <c:pt idx="1715">
                    <c:v>Rolling Stdev (30 Minute)</c:v>
                  </c:pt>
                  <c:pt idx="1716">
                    <c:v>Rolling Stdev (30 Minute)</c:v>
                  </c:pt>
                  <c:pt idx="1717">
                    <c:v>Rolling Stdev (30 Minute)</c:v>
                  </c:pt>
                  <c:pt idx="1718">
                    <c:v>Rolling Stdev (30 Minute)</c:v>
                  </c:pt>
                  <c:pt idx="1719">
                    <c:v>Rolling Stdev (30 Minute)</c:v>
                  </c:pt>
                  <c:pt idx="1720">
                    <c:v>Rolling Stdev (30 Minute)</c:v>
                  </c:pt>
                  <c:pt idx="1721">
                    <c:v>Rolling Stdev (30 Minute)</c:v>
                  </c:pt>
                  <c:pt idx="1722">
                    <c:v>Rolling Stdev (30 Minute)</c:v>
                  </c:pt>
                  <c:pt idx="1723">
                    <c:v>Rolling Stdev (30 Minute)</c:v>
                  </c:pt>
                  <c:pt idx="1724">
                    <c:v>Rolling Stdev (30 Minute)</c:v>
                  </c:pt>
                  <c:pt idx="1725">
                    <c:v>Rolling Stdev (30 Minute)</c:v>
                  </c:pt>
                  <c:pt idx="1726">
                    <c:v>Rolling Stdev (30 Minute)</c:v>
                  </c:pt>
                  <c:pt idx="1727">
                    <c:v>Rolling Stdev (30 Minute)</c:v>
                  </c:pt>
                  <c:pt idx="1728">
                    <c:v>Rolling Stdev (30 Minute)</c:v>
                  </c:pt>
                  <c:pt idx="1729">
                    <c:v>Rolling Stdev (30 Minute)</c:v>
                  </c:pt>
                  <c:pt idx="1730">
                    <c:v>Rolling Stdev (30 Minute)</c:v>
                  </c:pt>
                  <c:pt idx="1731">
                    <c:v>Rolling Stdev (30 Minute)</c:v>
                  </c:pt>
                  <c:pt idx="1732">
                    <c:v>Rolling Stdev (30 Minute)</c:v>
                  </c:pt>
                  <c:pt idx="1733">
                    <c:v>Rolling Stdev (30 Minute)</c:v>
                  </c:pt>
                  <c:pt idx="1734">
                    <c:v>Rolling Stdev (30 Minute)</c:v>
                  </c:pt>
                  <c:pt idx="1735">
                    <c:v>Rolling Stdev (30 Minute)</c:v>
                  </c:pt>
                  <c:pt idx="1736">
                    <c:v>Rolling Stdev (30 Minute)</c:v>
                  </c:pt>
                  <c:pt idx="1737">
                    <c:v>Rolling Stdev (30 Minute)</c:v>
                  </c:pt>
                  <c:pt idx="1738">
                    <c:v>Rolling Stdev (30 Minute)</c:v>
                  </c:pt>
                  <c:pt idx="1739">
                    <c:v>Rolling Stdev (30 Minute)</c:v>
                  </c:pt>
                  <c:pt idx="1740">
                    <c:v>Rolling Stdev (30 Minute)</c:v>
                  </c:pt>
                  <c:pt idx="1741">
                    <c:v>Rolling Stdev (30 Minute)</c:v>
                  </c:pt>
                  <c:pt idx="1742">
                    <c:v>Rolling Stdev (30 Minute)</c:v>
                  </c:pt>
                  <c:pt idx="1743">
                    <c:v>Rolling Stdev (30 Minute)</c:v>
                  </c:pt>
                  <c:pt idx="1744">
                    <c:v>Rolling Stdev (30 Minute)</c:v>
                  </c:pt>
                  <c:pt idx="1745">
                    <c:v>Rolling Stdev (30 Minute)</c:v>
                  </c:pt>
                  <c:pt idx="1746">
                    <c:v>Rolling Stdev (30 Minute)</c:v>
                  </c:pt>
                  <c:pt idx="1747">
                    <c:v>Rolling Stdev (30 Minute)</c:v>
                  </c:pt>
                  <c:pt idx="1748">
                    <c:v>Rolling Stdev (30 Minute)</c:v>
                  </c:pt>
                  <c:pt idx="1749">
                    <c:v>Rolling Stdev (30 Minute)</c:v>
                  </c:pt>
                  <c:pt idx="1750">
                    <c:v>Rolling Stdev (30 Minute)</c:v>
                  </c:pt>
                  <c:pt idx="1751">
                    <c:v>Rolling Stdev (30 Minute)</c:v>
                  </c:pt>
                  <c:pt idx="1752">
                    <c:v>Rolling Stdev (30 Minute)</c:v>
                  </c:pt>
                  <c:pt idx="1753">
                    <c:v>Rolling Stdev (30 Minute)</c:v>
                  </c:pt>
                  <c:pt idx="1754">
                    <c:v>Rolling Stdev (30 Minute)</c:v>
                  </c:pt>
                  <c:pt idx="1755">
                    <c:v>Rolling Stdev (30 Minute)</c:v>
                  </c:pt>
                  <c:pt idx="1756">
                    <c:v>Rolling Stdev (30 Minute)</c:v>
                  </c:pt>
                  <c:pt idx="1757">
                    <c:v>Rolling Stdev (30 Minute)</c:v>
                  </c:pt>
                  <c:pt idx="1758">
                    <c:v>Rolling Stdev (30 Minute)</c:v>
                  </c:pt>
                  <c:pt idx="1759">
                    <c:v>Rolling Stdev (30 Minute)</c:v>
                  </c:pt>
                  <c:pt idx="1760">
                    <c:v>Rolling Stdev (30 Minute)</c:v>
                  </c:pt>
                  <c:pt idx="1761">
                    <c:v>Rolling Stdev (30 Minute)</c:v>
                  </c:pt>
                  <c:pt idx="1762">
                    <c:v>Rolling Stdev (30 Minute)</c:v>
                  </c:pt>
                  <c:pt idx="1763">
                    <c:v>Rolling Stdev (30 Minute)</c:v>
                  </c:pt>
                  <c:pt idx="1764">
                    <c:v>Rolling Stdev (30 Minute)</c:v>
                  </c:pt>
                  <c:pt idx="1765">
                    <c:v>Rolling Stdev (30 Minute)</c:v>
                  </c:pt>
                  <c:pt idx="1766">
                    <c:v>Rolling Stdev (30 Minute)</c:v>
                  </c:pt>
                  <c:pt idx="1767">
                    <c:v>Rolling Stdev (30 Minute)</c:v>
                  </c:pt>
                  <c:pt idx="1768">
                    <c:v>Rolling Stdev (30 Minute)</c:v>
                  </c:pt>
                  <c:pt idx="1769">
                    <c:v>Rolling Stdev (30 Minute)</c:v>
                  </c:pt>
                  <c:pt idx="1770">
                    <c:v>Rolling Stdev (30 Minute)</c:v>
                  </c:pt>
                  <c:pt idx="1771">
                    <c:v>Rolling Stdev (30 Minute)</c:v>
                  </c:pt>
                  <c:pt idx="1772">
                    <c:v>Rolling Stdev (30 Minute)</c:v>
                  </c:pt>
                  <c:pt idx="1773">
                    <c:v>Rolling Stdev (30 Minute)</c:v>
                  </c:pt>
                  <c:pt idx="1774">
                    <c:v>Rolling Stdev (30 Minute)</c:v>
                  </c:pt>
                  <c:pt idx="1775">
                    <c:v>Rolling Stdev (30 Minute)</c:v>
                  </c:pt>
                  <c:pt idx="1776">
                    <c:v>Rolling Stdev (30 Minute)</c:v>
                  </c:pt>
                  <c:pt idx="1777">
                    <c:v>Rolling Stdev (30 Minute)</c:v>
                  </c:pt>
                  <c:pt idx="1778">
                    <c:v>Rolling Stdev (30 Minute)</c:v>
                  </c:pt>
                  <c:pt idx="1779">
                    <c:v>Rolling Stdev (30 Minute)</c:v>
                  </c:pt>
                  <c:pt idx="1780">
                    <c:v>Rolling Stdev (30 Minute)</c:v>
                  </c:pt>
                  <c:pt idx="1781">
                    <c:v>Rolling Stdev (30 Minute)</c:v>
                  </c:pt>
                  <c:pt idx="1782">
                    <c:v>Rolling Stdev (30 Minute)</c:v>
                  </c:pt>
                  <c:pt idx="1783">
                    <c:v>Rolling Stdev (30 Minute)</c:v>
                  </c:pt>
                  <c:pt idx="1784">
                    <c:v>Rolling Stdev (30 Minute)</c:v>
                  </c:pt>
                  <c:pt idx="1785">
                    <c:v>Rolling Stdev (30 Minute)</c:v>
                  </c:pt>
                  <c:pt idx="1786">
                    <c:v>Rolling Stdev (30 Minute)</c:v>
                  </c:pt>
                  <c:pt idx="1787">
                    <c:v>Rolling Stdev (30 Minute)</c:v>
                  </c:pt>
                  <c:pt idx="1788">
                    <c:v>Rolling Stdev (30 Minute)</c:v>
                  </c:pt>
                  <c:pt idx="1789">
                    <c:v>Rolling Stdev (30 Minute)</c:v>
                  </c:pt>
                  <c:pt idx="1790">
                    <c:v>Rolling Stdev (30 Minute)</c:v>
                  </c:pt>
                  <c:pt idx="1791">
                    <c:v>Rolling Stdev (30 Minute)</c:v>
                  </c:pt>
                  <c:pt idx="1792">
                    <c:v>Rolling Stdev (30 Minute)</c:v>
                  </c:pt>
                  <c:pt idx="1793">
                    <c:v>Rolling Stdev (30 Minute)</c:v>
                  </c:pt>
                  <c:pt idx="1794">
                    <c:v>Rolling Stdev (30 Minute)</c:v>
                  </c:pt>
                  <c:pt idx="1795">
                    <c:v>Rolling Stdev (30 Minute)</c:v>
                  </c:pt>
                  <c:pt idx="1796">
                    <c:v>Rolling Stdev (30 Minute)</c:v>
                  </c:pt>
                  <c:pt idx="1797">
                    <c:v>Rolling Stdev (30 Minute)</c:v>
                  </c:pt>
                  <c:pt idx="1798">
                    <c:v>Rolling Stdev (30 Minute)</c:v>
                  </c:pt>
                  <c:pt idx="1799">
                    <c:v>Rolling Stdev (30 Minute)</c:v>
                  </c:pt>
                  <c:pt idx="1800">
                    <c:v>Rolling Stdev (30 Minute)</c:v>
                  </c:pt>
                  <c:pt idx="1801">
                    <c:v>Rolling Stdev (30 Minute)</c:v>
                  </c:pt>
                  <c:pt idx="1802">
                    <c:v>Rolling Stdev (30 Minute)</c:v>
                  </c:pt>
                  <c:pt idx="1803">
                    <c:v>Rolling Stdev (30 Minute)</c:v>
                  </c:pt>
                  <c:pt idx="1804">
                    <c:v>Rolling Stdev (30 Minute)</c:v>
                  </c:pt>
                  <c:pt idx="1805">
                    <c:v>Rolling Stdev (30 Minute)</c:v>
                  </c:pt>
                  <c:pt idx="1806">
                    <c:v>Rolling Stdev (30 Minute)</c:v>
                  </c:pt>
                  <c:pt idx="1807">
                    <c:v>Rolling Stdev (30 Minute)</c:v>
                  </c:pt>
                  <c:pt idx="1808">
                    <c:v>Rolling Stdev (30 Minute)</c:v>
                  </c:pt>
                  <c:pt idx="1809">
                    <c:v>Rolling Stdev (30 Minute)</c:v>
                  </c:pt>
                  <c:pt idx="1810">
                    <c:v>Rolling Stdev (30 Minute)</c:v>
                  </c:pt>
                  <c:pt idx="1811">
                    <c:v>Rolling Stdev (30 Minute)</c:v>
                  </c:pt>
                  <c:pt idx="1812">
                    <c:v>Rolling Stdev (30 Minute)</c:v>
                  </c:pt>
                  <c:pt idx="1813">
                    <c:v>Rolling Stdev (30 Minute)</c:v>
                  </c:pt>
                  <c:pt idx="1814">
                    <c:v>Rolling Stdev (30 Minute)</c:v>
                  </c:pt>
                  <c:pt idx="1815">
                    <c:v>Rolling Stdev (30 Minute)</c:v>
                  </c:pt>
                  <c:pt idx="1816">
                    <c:v>Rolling Stdev (30 Minute)</c:v>
                  </c:pt>
                  <c:pt idx="1817">
                    <c:v>Rolling Stdev (30 Minute)</c:v>
                  </c:pt>
                  <c:pt idx="1818">
                    <c:v>Rolling Stdev (30 Minute)</c:v>
                  </c:pt>
                  <c:pt idx="1819">
                    <c:v>Rolling Stdev (30 Minute)</c:v>
                  </c:pt>
                  <c:pt idx="1820">
                    <c:v>Rolling Stdev (30 Minute)</c:v>
                  </c:pt>
                  <c:pt idx="1821">
                    <c:v>Rolling Stdev (30 Minute)</c:v>
                  </c:pt>
                  <c:pt idx="1822">
                    <c:v>Rolling Stdev (30 Minute)</c:v>
                  </c:pt>
                  <c:pt idx="1823">
                    <c:v>Rolling Stdev (30 Minute)</c:v>
                  </c:pt>
                  <c:pt idx="1824">
                    <c:v>Rolling Stdev (30 Minute)</c:v>
                  </c:pt>
                  <c:pt idx="1825">
                    <c:v>Rolling Stdev (30 Minute)</c:v>
                  </c:pt>
                  <c:pt idx="1826">
                    <c:v>Rolling Stdev (30 Minute)</c:v>
                  </c:pt>
                  <c:pt idx="1827">
                    <c:v>Rolling Stdev (30 Minute)</c:v>
                  </c:pt>
                  <c:pt idx="1828">
                    <c:v>Rolling Stdev (30 Minute)</c:v>
                  </c:pt>
                  <c:pt idx="1829">
                    <c:v>Rolling Stdev (30 Minute)</c:v>
                  </c:pt>
                  <c:pt idx="1830">
                    <c:v>Rolling Stdev (30 Minute)</c:v>
                  </c:pt>
                  <c:pt idx="1831">
                    <c:v>Rolling Stdev (30 Minute)</c:v>
                  </c:pt>
                  <c:pt idx="1832">
                    <c:v>Rolling Stdev (30 Minute)</c:v>
                  </c:pt>
                  <c:pt idx="1833">
                    <c:v>Rolling Stdev (30 Minute)</c:v>
                  </c:pt>
                  <c:pt idx="1834">
                    <c:v>Rolling Stdev (30 Minute)</c:v>
                  </c:pt>
                  <c:pt idx="1835">
                    <c:v>Rolling Stdev (30 Minute)</c:v>
                  </c:pt>
                  <c:pt idx="1836">
                    <c:v>Rolling Stdev (30 Minute)</c:v>
                  </c:pt>
                  <c:pt idx="1837">
                    <c:v>Rolling Stdev (30 Minute)</c:v>
                  </c:pt>
                  <c:pt idx="1838">
                    <c:v>Rolling Stdev (30 Minute)</c:v>
                  </c:pt>
                  <c:pt idx="1839">
                    <c:v>Rolling Stdev (30 Minute)</c:v>
                  </c:pt>
                  <c:pt idx="1840">
                    <c:v>Rolling Stdev (30 Minute)</c:v>
                  </c:pt>
                  <c:pt idx="1841">
                    <c:v>Rolling Stdev (30 Minute)</c:v>
                  </c:pt>
                  <c:pt idx="1842">
                    <c:v>Rolling Stdev (30 Minute)</c:v>
                  </c:pt>
                  <c:pt idx="1843">
                    <c:v>Rolling Stdev (30 Minute)</c:v>
                  </c:pt>
                  <c:pt idx="1844">
                    <c:v>Rolling Stdev (30 Minute)</c:v>
                  </c:pt>
                  <c:pt idx="1845">
                    <c:v>Rolling Stdev (30 Minute)</c:v>
                  </c:pt>
                  <c:pt idx="1846">
                    <c:v>Rolling Stdev (30 Minute)</c:v>
                  </c:pt>
                  <c:pt idx="1847">
                    <c:v>Rolling Stdev (30 Minute)</c:v>
                  </c:pt>
                  <c:pt idx="1848">
                    <c:v>Rolling Stdev (30 Minute)</c:v>
                  </c:pt>
                  <c:pt idx="1849">
                    <c:v>Rolling Stdev (30 Minute)</c:v>
                  </c:pt>
                  <c:pt idx="1850">
                    <c:v>Rolling Stdev (30 Minute)</c:v>
                  </c:pt>
                  <c:pt idx="1851">
                    <c:v>Rolling Stdev (30 Minute)</c:v>
                  </c:pt>
                  <c:pt idx="1852">
                    <c:v>Rolling Stdev (30 Minute)</c:v>
                  </c:pt>
                  <c:pt idx="1853">
                    <c:v>Rolling Stdev (30 Minute)</c:v>
                  </c:pt>
                  <c:pt idx="1854">
                    <c:v>Rolling Stdev (30 Minute)</c:v>
                  </c:pt>
                  <c:pt idx="1855">
                    <c:v>Rolling Stdev (30 Minute)</c:v>
                  </c:pt>
                  <c:pt idx="1856">
                    <c:v>Rolling Stdev (30 Minute)</c:v>
                  </c:pt>
                  <c:pt idx="1857">
                    <c:v>Rolling Stdev (30 Minute)</c:v>
                  </c:pt>
                  <c:pt idx="1858">
                    <c:v>Rolling Stdev (30 Minute)</c:v>
                  </c:pt>
                  <c:pt idx="1859">
                    <c:v>Rolling Stdev (30 Minute)</c:v>
                  </c:pt>
                  <c:pt idx="1860">
                    <c:v>Rolling Stdev (30 Minute)</c:v>
                  </c:pt>
                  <c:pt idx="1861">
                    <c:v>Rolling Stdev (30 Minute)</c:v>
                  </c:pt>
                  <c:pt idx="1862">
                    <c:v>Rolling Stdev (30 Minute)</c:v>
                  </c:pt>
                  <c:pt idx="1863">
                    <c:v>Rolling Stdev (30 Minute)</c:v>
                  </c:pt>
                  <c:pt idx="1864">
                    <c:v>Rolling Stdev (30 Minute)</c:v>
                  </c:pt>
                  <c:pt idx="1865">
                    <c:v>Rolling Stdev (30 Minute)</c:v>
                  </c:pt>
                  <c:pt idx="1866">
                    <c:v>Rolling Stdev (30 Minute)</c:v>
                  </c:pt>
                  <c:pt idx="1867">
                    <c:v>Rolling Stdev (30 Minute)</c:v>
                  </c:pt>
                  <c:pt idx="1868">
                    <c:v>Rolling Stdev (30 Minute)</c:v>
                  </c:pt>
                  <c:pt idx="1869">
                    <c:v>Rolling Stdev (30 Minute)</c:v>
                  </c:pt>
                  <c:pt idx="1870">
                    <c:v>Rolling Stdev (30 Minute)</c:v>
                  </c:pt>
                  <c:pt idx="1871">
                    <c:v>Rolling Stdev (30 Minute)</c:v>
                  </c:pt>
                  <c:pt idx="1872">
                    <c:v>Rolling Stdev (30 Minute)</c:v>
                  </c:pt>
                  <c:pt idx="1873">
                    <c:v>Rolling Stdev (30 Minute)</c:v>
                  </c:pt>
                  <c:pt idx="1874">
                    <c:v>Rolling Stdev (30 Minute)</c:v>
                  </c:pt>
                  <c:pt idx="1875">
                    <c:v>Rolling Stdev (30 Minute)</c:v>
                  </c:pt>
                  <c:pt idx="1876">
                    <c:v>Rolling Stdev (30 Minute)</c:v>
                  </c:pt>
                  <c:pt idx="1877">
                    <c:v>Rolling Stdev (30 Minute)</c:v>
                  </c:pt>
                  <c:pt idx="1878">
                    <c:v>Rolling Stdev (30 Minute)</c:v>
                  </c:pt>
                  <c:pt idx="1879">
                    <c:v>Rolling Stdev (30 Minute)</c:v>
                  </c:pt>
                  <c:pt idx="1880">
                    <c:v>Rolling Stdev (30 Minute)</c:v>
                  </c:pt>
                  <c:pt idx="1881">
                    <c:v>Rolling Stdev (30 Minute)</c:v>
                  </c:pt>
                  <c:pt idx="1882">
                    <c:v>Rolling Stdev (30 Minute)</c:v>
                  </c:pt>
                  <c:pt idx="1883">
                    <c:v>Rolling Stdev (30 Minute)</c:v>
                  </c:pt>
                  <c:pt idx="1884">
                    <c:v>Rolling Stdev (30 Minute)</c:v>
                  </c:pt>
                  <c:pt idx="1885">
                    <c:v>Rolling Stdev (30 Minute)</c:v>
                  </c:pt>
                  <c:pt idx="1886">
                    <c:v>Rolling Stdev (30 Minute)</c:v>
                  </c:pt>
                  <c:pt idx="1887">
                    <c:v>Rolling Stdev (30 Minute)</c:v>
                  </c:pt>
                  <c:pt idx="1888">
                    <c:v>Rolling Stdev (30 Minute)</c:v>
                  </c:pt>
                  <c:pt idx="1889">
                    <c:v>Rolling Stdev (30 Minute)</c:v>
                  </c:pt>
                  <c:pt idx="1890">
                    <c:v>Rolling Stdev (30 Minute)</c:v>
                  </c:pt>
                  <c:pt idx="1891">
                    <c:v>Rolling Stdev (30 Minute)</c:v>
                  </c:pt>
                  <c:pt idx="1892">
                    <c:v>Rolling Stdev (30 Minute)</c:v>
                  </c:pt>
                  <c:pt idx="1893">
                    <c:v>Rolling Stdev (30 Minute)</c:v>
                  </c:pt>
                  <c:pt idx="1894">
                    <c:v>Rolling Stdev (30 Minute)</c:v>
                  </c:pt>
                  <c:pt idx="1895">
                    <c:v>Rolling Stdev (30 Minute)</c:v>
                  </c:pt>
                  <c:pt idx="1896">
                    <c:v>Rolling Stdev (30 Minute)</c:v>
                  </c:pt>
                  <c:pt idx="1897">
                    <c:v>Rolling Stdev (30 Minute)</c:v>
                  </c:pt>
                  <c:pt idx="1898">
                    <c:v>Rolling Stdev (30 Minute)</c:v>
                  </c:pt>
                  <c:pt idx="1899">
                    <c:v>Rolling Stdev (30 Minute)</c:v>
                  </c:pt>
                  <c:pt idx="1900">
                    <c:v>Rolling Stdev (30 Minute)</c:v>
                  </c:pt>
                  <c:pt idx="1901">
                    <c:v>Rolling Stdev (30 Minute)</c:v>
                  </c:pt>
                  <c:pt idx="1902">
                    <c:v>Rolling Stdev (30 Minute)</c:v>
                  </c:pt>
                  <c:pt idx="1903">
                    <c:v>Rolling Stdev (30 Minute)</c:v>
                  </c:pt>
                  <c:pt idx="1904">
                    <c:v>Rolling Stdev (30 Minute)</c:v>
                  </c:pt>
                  <c:pt idx="1905">
                    <c:v>Rolling Stdev (30 Minute)</c:v>
                  </c:pt>
                  <c:pt idx="1906">
                    <c:v>Rolling Stdev (30 Minute)</c:v>
                  </c:pt>
                  <c:pt idx="1907">
                    <c:v>Rolling Stdev (30 Minute)</c:v>
                  </c:pt>
                  <c:pt idx="1908">
                    <c:v>Rolling Stdev (30 Minute)</c:v>
                  </c:pt>
                  <c:pt idx="1909">
                    <c:v>Rolling Stdev (30 Minute)</c:v>
                  </c:pt>
                  <c:pt idx="1910">
                    <c:v>Rolling Stdev (30 Minute)</c:v>
                  </c:pt>
                  <c:pt idx="1911">
                    <c:v>Rolling Stdev (30 Minute)</c:v>
                  </c:pt>
                  <c:pt idx="1912">
                    <c:v>Rolling Stdev (30 Minute)</c:v>
                  </c:pt>
                  <c:pt idx="1913">
                    <c:v>Rolling Stdev (30 Minute)</c:v>
                  </c:pt>
                  <c:pt idx="1914">
                    <c:v>Rolling Stdev (30 Minute)</c:v>
                  </c:pt>
                  <c:pt idx="1915">
                    <c:v>Rolling Stdev (30 Minute)</c:v>
                  </c:pt>
                  <c:pt idx="1916">
                    <c:v>Rolling Stdev (30 Minute)</c:v>
                  </c:pt>
                  <c:pt idx="1917">
                    <c:v>Rolling Stdev (30 Minute)</c:v>
                  </c:pt>
                  <c:pt idx="1918">
                    <c:v>Rolling Stdev (30 Minute)</c:v>
                  </c:pt>
                  <c:pt idx="1919">
                    <c:v>Rolling Stdev (30 Minute)</c:v>
                  </c:pt>
                  <c:pt idx="1920">
                    <c:v>Rolling Stdev (30 Minute)</c:v>
                  </c:pt>
                  <c:pt idx="1921">
                    <c:v>Rolling Stdev (30 Minute)</c:v>
                  </c:pt>
                  <c:pt idx="1922">
                    <c:v>Rolling Stdev (30 Minute)</c:v>
                  </c:pt>
                  <c:pt idx="1923">
                    <c:v>Rolling Stdev (30 Minute)</c:v>
                  </c:pt>
                  <c:pt idx="1924">
                    <c:v>Rolling Stdev (30 Minute)</c:v>
                  </c:pt>
                  <c:pt idx="1925">
                    <c:v>Rolling Stdev (30 Minute)</c:v>
                  </c:pt>
                  <c:pt idx="1926">
                    <c:v>Rolling Stdev (30 Minute)</c:v>
                  </c:pt>
                  <c:pt idx="1927">
                    <c:v>Rolling Stdev (30 Minute)</c:v>
                  </c:pt>
                  <c:pt idx="1928">
                    <c:v>Rolling Stdev (30 Minute)</c:v>
                  </c:pt>
                  <c:pt idx="1929">
                    <c:v>Rolling Stdev (30 Minute)</c:v>
                  </c:pt>
                  <c:pt idx="1930">
                    <c:v>Rolling Stdev (30 Minute)</c:v>
                  </c:pt>
                  <c:pt idx="1931">
                    <c:v>Rolling Stdev (30 Minute)</c:v>
                  </c:pt>
                  <c:pt idx="1932">
                    <c:v>Rolling Stdev (30 Minute)</c:v>
                  </c:pt>
                  <c:pt idx="1933">
                    <c:v>Rolling Stdev (30 Minute)</c:v>
                  </c:pt>
                  <c:pt idx="1934">
                    <c:v>Rolling Stdev (30 Minute)</c:v>
                  </c:pt>
                  <c:pt idx="1935">
                    <c:v>Rolling Stdev (30 Minute)</c:v>
                  </c:pt>
                  <c:pt idx="1936">
                    <c:v>Rolling Stdev (30 Minute)</c:v>
                  </c:pt>
                  <c:pt idx="1937">
                    <c:v>Rolling Stdev (30 Minute)</c:v>
                  </c:pt>
                  <c:pt idx="1938">
                    <c:v>Rolling Stdev (30 Minute)</c:v>
                  </c:pt>
                  <c:pt idx="1939">
                    <c:v>Rolling Stdev (30 Minute)</c:v>
                  </c:pt>
                  <c:pt idx="1940">
                    <c:v>Rolling Stdev (30 Minute)</c:v>
                  </c:pt>
                  <c:pt idx="1941">
                    <c:v>Rolling Stdev (30 Minute)</c:v>
                  </c:pt>
                  <c:pt idx="1942">
                    <c:v>Rolling Stdev (30 Minute)</c:v>
                  </c:pt>
                  <c:pt idx="1943">
                    <c:v>Rolling Stdev (30 Minute)</c:v>
                  </c:pt>
                  <c:pt idx="1944">
                    <c:v>Rolling Stdev (30 Minute)</c:v>
                  </c:pt>
                  <c:pt idx="1945">
                    <c:v>Rolling Stdev (30 Minute)</c:v>
                  </c:pt>
                  <c:pt idx="1946">
                    <c:v>Rolling Stdev (30 Minute)</c:v>
                  </c:pt>
                  <c:pt idx="1947">
                    <c:v>Rolling Stdev (30 Minute)</c:v>
                  </c:pt>
                  <c:pt idx="1948">
                    <c:v>Rolling Stdev (30 Minute)</c:v>
                  </c:pt>
                  <c:pt idx="1949">
                    <c:v>Rolling Stdev (30 Minute)</c:v>
                  </c:pt>
                  <c:pt idx="1950">
                    <c:v>Rolling Stdev (30 Minute)</c:v>
                  </c:pt>
                  <c:pt idx="1951">
                    <c:v>Rolling Stdev (30 Minute)</c:v>
                  </c:pt>
                  <c:pt idx="1952">
                    <c:v>Rolling Stdev (30 Minute)</c:v>
                  </c:pt>
                  <c:pt idx="1953">
                    <c:v>Rolling Stdev (30 Minute)</c:v>
                  </c:pt>
                  <c:pt idx="1954">
                    <c:v>Rolling Stdev (30 Minute)</c:v>
                  </c:pt>
                  <c:pt idx="1955">
                    <c:v>Rolling Stdev (30 Minute)</c:v>
                  </c:pt>
                  <c:pt idx="1956">
                    <c:v>Rolling Stdev (30 Minute)</c:v>
                  </c:pt>
                  <c:pt idx="1957">
                    <c:v>Rolling Stdev (30 Minute)</c:v>
                  </c:pt>
                  <c:pt idx="1958">
                    <c:v>Rolling Stdev (30 Minute)</c:v>
                  </c:pt>
                  <c:pt idx="1959">
                    <c:v>Rolling Stdev (30 Minute)</c:v>
                  </c:pt>
                  <c:pt idx="1960">
                    <c:v>Rolling Stdev (30 Minute)</c:v>
                  </c:pt>
                  <c:pt idx="1961">
                    <c:v>Rolling Stdev (30 Minute)</c:v>
                  </c:pt>
                  <c:pt idx="1962">
                    <c:v>Rolling Stdev (30 Minute)</c:v>
                  </c:pt>
                  <c:pt idx="1963">
                    <c:v>Rolling Stdev (30 Minute)</c:v>
                  </c:pt>
                  <c:pt idx="1964">
                    <c:v>Rolling Stdev (30 Minute)</c:v>
                  </c:pt>
                  <c:pt idx="1965">
                    <c:v>Rolling Stdev (30 Minute)</c:v>
                  </c:pt>
                  <c:pt idx="1966">
                    <c:v>Rolling Stdev (30 Minute)</c:v>
                  </c:pt>
                  <c:pt idx="1967">
                    <c:v>Rolling Stdev (30 Minute)</c:v>
                  </c:pt>
                  <c:pt idx="1968">
                    <c:v>Rolling Stdev (30 Minute)</c:v>
                  </c:pt>
                  <c:pt idx="1969">
                    <c:v>Rolling Stdev (30 Minute)</c:v>
                  </c:pt>
                  <c:pt idx="1970">
                    <c:v>Rolling Stdev (30 Minute)</c:v>
                  </c:pt>
                  <c:pt idx="1971">
                    <c:v>Rolling Stdev (30 Minute)</c:v>
                  </c:pt>
                  <c:pt idx="1972">
                    <c:v>Rolling Stdev (30 Minute)</c:v>
                  </c:pt>
                  <c:pt idx="1973">
                    <c:v>Rolling Stdev (30 Minute)</c:v>
                  </c:pt>
                  <c:pt idx="1974">
                    <c:v>Rolling Stdev (30 Minute)</c:v>
                  </c:pt>
                  <c:pt idx="1975">
                    <c:v>Rolling Stdev (30 Minute)</c:v>
                  </c:pt>
                  <c:pt idx="1976">
                    <c:v>Rolling Stdev (30 Minute)</c:v>
                  </c:pt>
                  <c:pt idx="1977">
                    <c:v>Rolling Stdev (30 Minute)</c:v>
                  </c:pt>
                  <c:pt idx="1978">
                    <c:v>Rolling Stdev (30 Minute)</c:v>
                  </c:pt>
                  <c:pt idx="1979">
                    <c:v>Rolling Stdev (30 Minute)</c:v>
                  </c:pt>
                  <c:pt idx="1980">
                    <c:v>Rolling Stdev (30 Minute)</c:v>
                  </c:pt>
                  <c:pt idx="1981">
                    <c:v>Rolling Stdev (30 Minute)</c:v>
                  </c:pt>
                  <c:pt idx="1982">
                    <c:v>Rolling Stdev (30 Minute)</c:v>
                  </c:pt>
                  <c:pt idx="1983">
                    <c:v>Rolling Stdev (30 Minute)</c:v>
                  </c:pt>
                  <c:pt idx="1984">
                    <c:v>Rolling Stdev (30 Minute)</c:v>
                  </c:pt>
                  <c:pt idx="1985">
                    <c:v>Rolling Stdev (30 Minute)</c:v>
                  </c:pt>
                  <c:pt idx="1986">
                    <c:v>Rolling Stdev (30 Minute)</c:v>
                  </c:pt>
                  <c:pt idx="1987">
                    <c:v>Rolling Stdev (30 Minute)</c:v>
                  </c:pt>
                  <c:pt idx="1988">
                    <c:v>Rolling Stdev (30 Minute)</c:v>
                  </c:pt>
                  <c:pt idx="1989">
                    <c:v>Rolling Stdev (30 Minute)</c:v>
                  </c:pt>
                  <c:pt idx="1990">
                    <c:v>Rolling Stdev (30 Minute)</c:v>
                  </c:pt>
                  <c:pt idx="1991">
                    <c:v>Rolling Stdev (30 Minute)</c:v>
                  </c:pt>
                  <c:pt idx="1992">
                    <c:v>Rolling Stdev (30 Minute)</c:v>
                  </c:pt>
                  <c:pt idx="1993">
                    <c:v>Rolling Stdev (30 Minute)</c:v>
                  </c:pt>
                  <c:pt idx="1994">
                    <c:v>Rolling Stdev (30 Minute)</c:v>
                  </c:pt>
                  <c:pt idx="1995">
                    <c:v>Rolling Stdev (30 Minute)</c:v>
                  </c:pt>
                  <c:pt idx="1996">
                    <c:v>Rolling Stdev (30 Minute)</c:v>
                  </c:pt>
                  <c:pt idx="1997">
                    <c:v>Rolling Stdev (30 Minute)</c:v>
                  </c:pt>
                  <c:pt idx="1998">
                    <c:v>Rolling Stdev (30 Minute)</c:v>
                  </c:pt>
                  <c:pt idx="1999">
                    <c:v>Rolling Stdev (30 Minute)</c:v>
                  </c:pt>
                  <c:pt idx="2000">
                    <c:v>Rolling Stdev (30 Minute)</c:v>
                  </c:pt>
                  <c:pt idx="2001">
                    <c:v>Rolling Stdev (30 Minute)</c:v>
                  </c:pt>
                  <c:pt idx="2002">
                    <c:v>Rolling Stdev (30 Minute)</c:v>
                  </c:pt>
                  <c:pt idx="2003">
                    <c:v>Rolling Stdev (30 Minute)</c:v>
                  </c:pt>
                  <c:pt idx="2004">
                    <c:v>Rolling Stdev (30 Minute)</c:v>
                  </c:pt>
                  <c:pt idx="2005">
                    <c:v>Rolling Stdev (30 Minute)</c:v>
                  </c:pt>
                  <c:pt idx="2006">
                    <c:v>Rolling Stdev (30 Minute)</c:v>
                  </c:pt>
                  <c:pt idx="2007">
                    <c:v>Rolling Stdev (30 Minute)</c:v>
                  </c:pt>
                  <c:pt idx="2008">
                    <c:v>Rolling Stdev (30 Minute)</c:v>
                  </c:pt>
                  <c:pt idx="2009">
                    <c:v>Rolling Stdev (30 Minute)</c:v>
                  </c:pt>
                  <c:pt idx="2010">
                    <c:v>Rolling Stdev (30 Minute)</c:v>
                  </c:pt>
                  <c:pt idx="2011">
                    <c:v>Rolling Stdev (30 Minute)</c:v>
                  </c:pt>
                  <c:pt idx="2012">
                    <c:v>Rolling Stdev (30 Minute)</c:v>
                  </c:pt>
                  <c:pt idx="2013">
                    <c:v>Rolling Stdev (30 Minute)</c:v>
                  </c:pt>
                  <c:pt idx="2014">
                    <c:v>Rolling Stdev (30 Minute)</c:v>
                  </c:pt>
                  <c:pt idx="2015">
                    <c:v>Rolling Stdev (30 Minute)</c:v>
                  </c:pt>
                  <c:pt idx="2016">
                    <c:v>Rolling Stdev (30 Minute)</c:v>
                  </c:pt>
                  <c:pt idx="2017">
                    <c:v>Rolling Stdev (30 Minute)</c:v>
                  </c:pt>
                  <c:pt idx="2018">
                    <c:v>Rolling Stdev (30 Minute)</c:v>
                  </c:pt>
                  <c:pt idx="2019">
                    <c:v>Rolling Stdev (30 Minute)</c:v>
                  </c:pt>
                  <c:pt idx="2020">
                    <c:v>Rolling Stdev (30 Minute)</c:v>
                  </c:pt>
                  <c:pt idx="2021">
                    <c:v>Rolling Stdev (30 Minute)</c:v>
                  </c:pt>
                  <c:pt idx="2022">
                    <c:v>Rolling Stdev (30 Minute)</c:v>
                  </c:pt>
                  <c:pt idx="2023">
                    <c:v>Rolling Stdev (30 Minute)</c:v>
                  </c:pt>
                  <c:pt idx="2024">
                    <c:v>Rolling Stdev (30 Minute)</c:v>
                  </c:pt>
                  <c:pt idx="2025">
                    <c:v>Rolling Stdev (30 Minute)</c:v>
                  </c:pt>
                  <c:pt idx="2026">
                    <c:v>Rolling Stdev (30 Minute)</c:v>
                  </c:pt>
                  <c:pt idx="2027">
                    <c:v>Rolling Stdev (30 Minute)</c:v>
                  </c:pt>
                  <c:pt idx="2028">
                    <c:v>Rolling Stdev (30 Minute)</c:v>
                  </c:pt>
                  <c:pt idx="2029">
                    <c:v>Rolling Stdev (30 Minute)</c:v>
                  </c:pt>
                  <c:pt idx="2030">
                    <c:v>Rolling Stdev (30 Minute)</c:v>
                  </c:pt>
                  <c:pt idx="2031">
                    <c:v>Rolling Stdev (30 Minute)</c:v>
                  </c:pt>
                  <c:pt idx="2032">
                    <c:v>Rolling Stdev (30 Minute)</c:v>
                  </c:pt>
                  <c:pt idx="2033">
                    <c:v>Rolling Stdev (30 Minute)</c:v>
                  </c:pt>
                  <c:pt idx="2034">
                    <c:v>Rolling Stdev (30 Minute)</c:v>
                  </c:pt>
                  <c:pt idx="2035">
                    <c:v>Rolling Stdev (30 Minute)</c:v>
                  </c:pt>
                  <c:pt idx="2036">
                    <c:v>Rolling Stdev (30 Minute)</c:v>
                  </c:pt>
                  <c:pt idx="2037">
                    <c:v>Rolling Stdev (30 Minute)</c:v>
                  </c:pt>
                  <c:pt idx="2038">
                    <c:v>Rolling Stdev (30 Minute)</c:v>
                  </c:pt>
                  <c:pt idx="2039">
                    <c:v>Rolling Stdev (30 Minute)</c:v>
                  </c:pt>
                  <c:pt idx="2040">
                    <c:v>Rolling Stdev (30 Minute)</c:v>
                  </c:pt>
                  <c:pt idx="2041">
                    <c:v>Rolling Stdev (30 Minute)</c:v>
                  </c:pt>
                  <c:pt idx="2042">
                    <c:v>Rolling Stdev (30 Minute)</c:v>
                  </c:pt>
                  <c:pt idx="2043">
                    <c:v>Rolling Stdev (30 Minute)</c:v>
                  </c:pt>
                  <c:pt idx="2044">
                    <c:v>Rolling Stdev (30 Minute)</c:v>
                  </c:pt>
                  <c:pt idx="2045">
                    <c:v>Rolling Stdev (30 Minute)</c:v>
                  </c:pt>
                  <c:pt idx="2046">
                    <c:v>Rolling Stdev (30 Minute)</c:v>
                  </c:pt>
                  <c:pt idx="2047">
                    <c:v>Rolling Stdev (30 Minute)</c:v>
                  </c:pt>
                  <c:pt idx="2048">
                    <c:v>Rolling Stdev (30 Minute)</c:v>
                  </c:pt>
                  <c:pt idx="2049">
                    <c:v>Rolling Stdev (30 Minute)</c:v>
                  </c:pt>
                  <c:pt idx="2050">
                    <c:v>Rolling Stdev (30 Minute)</c:v>
                  </c:pt>
                  <c:pt idx="2051">
                    <c:v>Rolling Stdev (30 Minute)</c:v>
                  </c:pt>
                  <c:pt idx="2052">
                    <c:v>Rolling Stdev (30 Minute)</c:v>
                  </c:pt>
                  <c:pt idx="2053">
                    <c:v>Rolling Stdev (30 Minute)</c:v>
                  </c:pt>
                  <c:pt idx="2054">
                    <c:v>Rolling Stdev (30 Minute)</c:v>
                  </c:pt>
                  <c:pt idx="2055">
                    <c:v>Rolling Stdev (30 Minute)</c:v>
                  </c:pt>
                  <c:pt idx="2056">
                    <c:v>Rolling Stdev (30 Minute)</c:v>
                  </c:pt>
                  <c:pt idx="2057">
                    <c:v>Rolling Stdev (30 Minute)</c:v>
                  </c:pt>
                  <c:pt idx="2058">
                    <c:v>Rolling Stdev (30 Minute)</c:v>
                  </c:pt>
                  <c:pt idx="2059">
                    <c:v>Rolling Stdev (30 Minute)</c:v>
                  </c:pt>
                  <c:pt idx="2060">
                    <c:v>Rolling Stdev (30 Minute)</c:v>
                  </c:pt>
                  <c:pt idx="2061">
                    <c:v>Rolling Stdev (30 Minute)</c:v>
                  </c:pt>
                  <c:pt idx="2062">
                    <c:v>Rolling Stdev (30 Minute)</c:v>
                  </c:pt>
                  <c:pt idx="2063">
                    <c:v>Rolling Stdev (30 Minute)</c:v>
                  </c:pt>
                  <c:pt idx="2064">
                    <c:v>Rolling Stdev (30 Minute)</c:v>
                  </c:pt>
                  <c:pt idx="2065">
                    <c:v>Rolling Stdev (30 Minute)</c:v>
                  </c:pt>
                  <c:pt idx="2066">
                    <c:v>Rolling Stdev (30 Minute)</c:v>
                  </c:pt>
                  <c:pt idx="2067">
                    <c:v>Rolling Stdev (30 Minute)</c:v>
                  </c:pt>
                  <c:pt idx="2068">
                    <c:v>Rolling Stdev (30 Minute)</c:v>
                  </c:pt>
                  <c:pt idx="2069">
                    <c:v>Rolling Stdev (30 Minute)</c:v>
                  </c:pt>
                  <c:pt idx="2070">
                    <c:v>Rolling Stdev (30 Minute)</c:v>
                  </c:pt>
                  <c:pt idx="2071">
                    <c:v>Rolling Stdev (30 Minute)</c:v>
                  </c:pt>
                  <c:pt idx="2072">
                    <c:v>Rolling Stdev (30 Minute)</c:v>
                  </c:pt>
                  <c:pt idx="2073">
                    <c:v>Rolling Stdev (30 Minute)</c:v>
                  </c:pt>
                  <c:pt idx="2074">
                    <c:v>Rolling Stdev (30 Minute)</c:v>
                  </c:pt>
                  <c:pt idx="2075">
                    <c:v>Rolling Stdev (30 Minute)</c:v>
                  </c:pt>
                  <c:pt idx="2076">
                    <c:v>Rolling Stdev (30 Minute)</c:v>
                  </c:pt>
                  <c:pt idx="2077">
                    <c:v>Rolling Stdev (30 Minute)</c:v>
                  </c:pt>
                  <c:pt idx="2078">
                    <c:v>Rolling Stdev (30 Minute)</c:v>
                  </c:pt>
                  <c:pt idx="2079">
                    <c:v>Rolling Stdev (30 Minute)</c:v>
                  </c:pt>
                  <c:pt idx="2080">
                    <c:v>Rolling Stdev (30 Minute)</c:v>
                  </c:pt>
                  <c:pt idx="2081">
                    <c:v>Rolling Stdev (30 Minute)</c:v>
                  </c:pt>
                  <c:pt idx="2082">
                    <c:v>Rolling Stdev (30 Minute)</c:v>
                  </c:pt>
                  <c:pt idx="2083">
                    <c:v>Rolling Stdev (30 Minute)</c:v>
                  </c:pt>
                  <c:pt idx="2084">
                    <c:v>Rolling Stdev (30 Minute)</c:v>
                  </c:pt>
                  <c:pt idx="2085">
                    <c:v>Rolling Stdev (30 Minute)</c:v>
                  </c:pt>
                  <c:pt idx="2086">
                    <c:v>Rolling Stdev (30 Minute)</c:v>
                  </c:pt>
                  <c:pt idx="2087">
                    <c:v>Rolling Stdev (30 Minute)</c:v>
                  </c:pt>
                  <c:pt idx="2088">
                    <c:v>Rolling Stdev (30 Minute)</c:v>
                  </c:pt>
                  <c:pt idx="2089">
                    <c:v>Rolling Stdev (30 Minute)</c:v>
                  </c:pt>
                  <c:pt idx="2090">
                    <c:v>Rolling Stdev (30 Minute)</c:v>
                  </c:pt>
                  <c:pt idx="2091">
                    <c:v>Rolling Stdev (30 Minute)</c:v>
                  </c:pt>
                  <c:pt idx="2092">
                    <c:v>Rolling Stdev (30 Minute)</c:v>
                  </c:pt>
                  <c:pt idx="2093">
                    <c:v>Rolling Stdev (30 Minute)</c:v>
                  </c:pt>
                  <c:pt idx="2094">
                    <c:v>Rolling Stdev (30 Minute)</c:v>
                  </c:pt>
                  <c:pt idx="2095">
                    <c:v>Rolling Stdev (30 Minute)</c:v>
                  </c:pt>
                  <c:pt idx="2096">
                    <c:v>Rolling Stdev (30 Minute)</c:v>
                  </c:pt>
                  <c:pt idx="2097">
                    <c:v>Rolling Stdev (30 Minute)</c:v>
                  </c:pt>
                  <c:pt idx="2098">
                    <c:v>Rolling Stdev (30 Minute)</c:v>
                  </c:pt>
                  <c:pt idx="2099">
                    <c:v>Rolling Stdev (30 Minute)</c:v>
                  </c:pt>
                  <c:pt idx="2100">
                    <c:v>Rolling Stdev (30 Minute)</c:v>
                  </c:pt>
                  <c:pt idx="2101">
                    <c:v>Rolling Stdev (30 Minute)</c:v>
                  </c:pt>
                  <c:pt idx="2102">
                    <c:v>Rolling Stdev (30 Minute)</c:v>
                  </c:pt>
                  <c:pt idx="2103">
                    <c:v>Rolling Stdev (30 Minute)</c:v>
                  </c:pt>
                  <c:pt idx="2104">
                    <c:v>Rolling Stdev (30 Minute)</c:v>
                  </c:pt>
                  <c:pt idx="2105">
                    <c:v>Rolling Stdev (30 Minute)</c:v>
                  </c:pt>
                  <c:pt idx="2106">
                    <c:v>Rolling Stdev (30 Minute)</c:v>
                  </c:pt>
                  <c:pt idx="2107">
                    <c:v>Rolling Stdev (30 Minute)</c:v>
                  </c:pt>
                  <c:pt idx="2108">
                    <c:v>Rolling Stdev (30 Minute)</c:v>
                  </c:pt>
                  <c:pt idx="2109">
                    <c:v>Rolling Stdev (30 Minute)</c:v>
                  </c:pt>
                  <c:pt idx="2110">
                    <c:v>Rolling Stdev (30 Minute)</c:v>
                  </c:pt>
                  <c:pt idx="2111">
                    <c:v>Rolling Stdev (30 Minute)</c:v>
                  </c:pt>
                  <c:pt idx="2112">
                    <c:v>Rolling Stdev (30 Minute)</c:v>
                  </c:pt>
                  <c:pt idx="2113">
                    <c:v>Rolling Stdev (30 Minute)</c:v>
                  </c:pt>
                  <c:pt idx="2114">
                    <c:v>Rolling Stdev (30 Minute)</c:v>
                  </c:pt>
                  <c:pt idx="2115">
                    <c:v>Rolling Stdev (30 Minute)</c:v>
                  </c:pt>
                  <c:pt idx="2116">
                    <c:v>Rolling Stdev (30 Minute)</c:v>
                  </c:pt>
                  <c:pt idx="2117">
                    <c:v>Rolling Stdev (30 Minute)</c:v>
                  </c:pt>
                  <c:pt idx="2118">
                    <c:v>Rolling Stdev (30 Minute)</c:v>
                  </c:pt>
                  <c:pt idx="2119">
                    <c:v>Rolling Stdev (30 Minute)</c:v>
                  </c:pt>
                  <c:pt idx="2120">
                    <c:v>Rolling Stdev (30 Minute)</c:v>
                  </c:pt>
                  <c:pt idx="2121">
                    <c:v>Rolling Stdev (30 Minute)</c:v>
                  </c:pt>
                  <c:pt idx="2122">
                    <c:v>Rolling Stdev (30 Minute)</c:v>
                  </c:pt>
                  <c:pt idx="2123">
                    <c:v>Rolling Stdev (30 Minute)</c:v>
                  </c:pt>
                  <c:pt idx="2124">
                    <c:v>Rolling Stdev (30 Minute)</c:v>
                  </c:pt>
                  <c:pt idx="2125">
                    <c:v>Rolling Stdev (30 Minute)</c:v>
                  </c:pt>
                  <c:pt idx="2126">
                    <c:v>Rolling Stdev (30 Minute)</c:v>
                  </c:pt>
                  <c:pt idx="2127">
                    <c:v>Rolling Stdev (30 Minute)</c:v>
                  </c:pt>
                  <c:pt idx="2128">
                    <c:v>Rolling Stdev (30 Minute)</c:v>
                  </c:pt>
                  <c:pt idx="2129">
                    <c:v>Rolling Stdev (30 Minute)</c:v>
                  </c:pt>
                  <c:pt idx="2130">
                    <c:v>Rolling Stdev (30 Minute)</c:v>
                  </c:pt>
                  <c:pt idx="2131">
                    <c:v>Rolling Stdev (30 Minute)</c:v>
                  </c:pt>
                  <c:pt idx="2132">
                    <c:v>Rolling Stdev (30 Minute)</c:v>
                  </c:pt>
                  <c:pt idx="2133">
                    <c:v>Rolling Stdev (30 Minute)</c:v>
                  </c:pt>
                  <c:pt idx="2134">
                    <c:v>Rolling Stdev (30 Minute)</c:v>
                  </c:pt>
                  <c:pt idx="2135">
                    <c:v>Rolling Stdev (30 Minute)</c:v>
                  </c:pt>
                  <c:pt idx="2136">
                    <c:v>Rolling Stdev (30 Minute)</c:v>
                  </c:pt>
                  <c:pt idx="2137">
                    <c:v>Rolling Stdev (30 Minute)</c:v>
                  </c:pt>
                  <c:pt idx="2138">
                    <c:v>Rolling Stdev (30 Minute)</c:v>
                  </c:pt>
                  <c:pt idx="2139">
                    <c:v>Rolling Stdev (30 Minute)</c:v>
                  </c:pt>
                  <c:pt idx="2140">
                    <c:v>Rolling Stdev (30 Minute)</c:v>
                  </c:pt>
                  <c:pt idx="2141">
                    <c:v>Rolling Stdev (30 Minute)</c:v>
                  </c:pt>
                  <c:pt idx="2142">
                    <c:v>Rolling Stdev (30 Minute)</c:v>
                  </c:pt>
                  <c:pt idx="2143">
                    <c:v>Rolling Stdev (30 Minute)</c:v>
                  </c:pt>
                  <c:pt idx="2144">
                    <c:v>Rolling Stdev (30 Minute)</c:v>
                  </c:pt>
                  <c:pt idx="2145">
                    <c:v>Rolling Stdev (30 Minute)</c:v>
                  </c:pt>
                  <c:pt idx="2146">
                    <c:v>Rolling Stdev (30 Minute)</c:v>
                  </c:pt>
                  <c:pt idx="2147">
                    <c:v>Rolling Stdev (30 Minute)</c:v>
                  </c:pt>
                  <c:pt idx="2148">
                    <c:v>Rolling Stdev (30 Minute)</c:v>
                  </c:pt>
                  <c:pt idx="2149">
                    <c:v>Rolling Stdev (30 Minute)</c:v>
                  </c:pt>
                  <c:pt idx="2150">
                    <c:v>Rolling Stdev (30 Minute)</c:v>
                  </c:pt>
                  <c:pt idx="2151">
                    <c:v>Rolling Stdev (30 Minute)</c:v>
                  </c:pt>
                  <c:pt idx="2152">
                    <c:v>Rolling Stdev (30 Minute)</c:v>
                  </c:pt>
                  <c:pt idx="2153">
                    <c:v>Rolling Stdev (30 Minute)</c:v>
                  </c:pt>
                  <c:pt idx="2154">
                    <c:v>Rolling Stdev (30 Minute)</c:v>
                  </c:pt>
                  <c:pt idx="2155">
                    <c:v>Rolling Stdev (30 Minute)</c:v>
                  </c:pt>
                  <c:pt idx="2156">
                    <c:v>Rolling Stdev (30 Minute)</c:v>
                  </c:pt>
                  <c:pt idx="2157">
                    <c:v>Rolling Stdev (30 Minute)</c:v>
                  </c:pt>
                  <c:pt idx="2158">
                    <c:v>Rolling Stdev (30 Minute)</c:v>
                  </c:pt>
                  <c:pt idx="2159">
                    <c:v>Rolling Stdev (30 Minute)</c:v>
                  </c:pt>
                  <c:pt idx="2160">
                    <c:v>Rolling Stdev (30 Minute)</c:v>
                  </c:pt>
                  <c:pt idx="2161">
                    <c:v>Rolling Stdev (30 Minute)</c:v>
                  </c:pt>
                  <c:pt idx="2162">
                    <c:v>Rolling Stdev (30 Minute)</c:v>
                  </c:pt>
                  <c:pt idx="2163">
                    <c:v>Rolling Stdev (30 Minute)</c:v>
                  </c:pt>
                  <c:pt idx="2164">
                    <c:v>Rolling Stdev (30 Minute)</c:v>
                  </c:pt>
                  <c:pt idx="2165">
                    <c:v>Rolling Stdev (30 Minute)</c:v>
                  </c:pt>
                  <c:pt idx="2166">
                    <c:v>Rolling Stdev (30 Minute)</c:v>
                  </c:pt>
                  <c:pt idx="2167">
                    <c:v>Rolling Stdev (30 Minute)</c:v>
                  </c:pt>
                  <c:pt idx="2168">
                    <c:v>Rolling Stdev (30 Minute)</c:v>
                  </c:pt>
                  <c:pt idx="2169">
                    <c:v>Rolling Stdev (30 Minute)</c:v>
                  </c:pt>
                  <c:pt idx="2170">
                    <c:v>Rolling Stdev (30 Minute)</c:v>
                  </c:pt>
                  <c:pt idx="2171">
                    <c:v>Rolling Stdev (30 Minute)</c:v>
                  </c:pt>
                  <c:pt idx="2172">
                    <c:v>Rolling Stdev (30 Minute)</c:v>
                  </c:pt>
                  <c:pt idx="2173">
                    <c:v>Rolling Stdev (30 Minute)</c:v>
                  </c:pt>
                  <c:pt idx="2174">
                    <c:v>Rolling Stdev (30 Minute)</c:v>
                  </c:pt>
                  <c:pt idx="2175">
                    <c:v>Rolling Stdev (30 Minute)</c:v>
                  </c:pt>
                  <c:pt idx="2176">
                    <c:v>Rolling Stdev (30 Minute)</c:v>
                  </c:pt>
                  <c:pt idx="2177">
                    <c:v>Rolling Stdev (30 Minute)</c:v>
                  </c:pt>
                  <c:pt idx="2178">
                    <c:v>Rolling Stdev (30 Minute)</c:v>
                  </c:pt>
                  <c:pt idx="2179">
                    <c:v>Rolling Stdev (30 Minute)</c:v>
                  </c:pt>
                  <c:pt idx="2180">
                    <c:v>Rolling Stdev (30 Minute)</c:v>
                  </c:pt>
                  <c:pt idx="2181">
                    <c:v>Rolling Stdev (30 Minute)</c:v>
                  </c:pt>
                  <c:pt idx="2182">
                    <c:v>Rolling Stdev (30 Minute)</c:v>
                  </c:pt>
                  <c:pt idx="2183">
                    <c:v>Rolling Stdev (30 Minute)</c:v>
                  </c:pt>
                  <c:pt idx="2184">
                    <c:v>Rolling Stdev (30 Minute)</c:v>
                  </c:pt>
                  <c:pt idx="2185">
                    <c:v>Rolling Stdev (30 Minute)</c:v>
                  </c:pt>
                  <c:pt idx="2186">
                    <c:v>Rolling Stdev (30 Minute)</c:v>
                  </c:pt>
                  <c:pt idx="2187">
                    <c:v>Rolling Stdev (30 Minute)</c:v>
                  </c:pt>
                  <c:pt idx="2188">
                    <c:v>Rolling Stdev (30 Minute)</c:v>
                  </c:pt>
                  <c:pt idx="2189">
                    <c:v>Rolling Stdev (30 Minute)</c:v>
                  </c:pt>
                  <c:pt idx="2190">
                    <c:v>Rolling Stdev (30 Minute)</c:v>
                  </c:pt>
                  <c:pt idx="2191">
                    <c:v>Rolling Stdev (30 Minute)</c:v>
                  </c:pt>
                  <c:pt idx="2192">
                    <c:v>Rolling Stdev (30 Minute)</c:v>
                  </c:pt>
                  <c:pt idx="2193">
                    <c:v>Rolling Stdev (30 Minute)</c:v>
                  </c:pt>
                  <c:pt idx="2194">
                    <c:v>Rolling Stdev (30 Minute)</c:v>
                  </c:pt>
                  <c:pt idx="2195">
                    <c:v>Rolling Stdev (30 Minute)</c:v>
                  </c:pt>
                  <c:pt idx="2196">
                    <c:v>Rolling Stdev (30 Minute)</c:v>
                  </c:pt>
                  <c:pt idx="2197">
                    <c:v>Rolling Stdev (30 Minute)</c:v>
                  </c:pt>
                  <c:pt idx="2198">
                    <c:v>Rolling Stdev (30 Minute)</c:v>
                  </c:pt>
                  <c:pt idx="2199">
                    <c:v>Rolling Stdev (30 Minute)</c:v>
                  </c:pt>
                  <c:pt idx="2200">
                    <c:v>Rolling Stdev (30 Minute)</c:v>
                  </c:pt>
                  <c:pt idx="2201">
                    <c:v>Rolling Stdev (30 Minute)</c:v>
                  </c:pt>
                  <c:pt idx="2202">
                    <c:v>Rolling Stdev (30 Minute)</c:v>
                  </c:pt>
                  <c:pt idx="2203">
                    <c:v>Rolling Stdev (30 Minute)</c:v>
                  </c:pt>
                  <c:pt idx="2204">
                    <c:v>Rolling Stdev (30 Minute)</c:v>
                  </c:pt>
                  <c:pt idx="2205">
                    <c:v>Rolling Stdev (30 Minute)</c:v>
                  </c:pt>
                  <c:pt idx="2206">
                    <c:v>Rolling Stdev (30 Minute)</c:v>
                  </c:pt>
                  <c:pt idx="2207">
                    <c:v>Rolling Stdev (30 Minute)</c:v>
                  </c:pt>
                  <c:pt idx="2208">
                    <c:v>Rolling Stdev (30 Minute)</c:v>
                  </c:pt>
                  <c:pt idx="2209">
                    <c:v>Rolling Stdev (30 Minute)</c:v>
                  </c:pt>
                  <c:pt idx="2210">
                    <c:v>Rolling Stdev (30 Minute)</c:v>
                  </c:pt>
                  <c:pt idx="2211">
                    <c:v>Rolling Stdev (30 Minute)</c:v>
                  </c:pt>
                  <c:pt idx="2212">
                    <c:v>Rolling Stdev (30 Minute)</c:v>
                  </c:pt>
                  <c:pt idx="2213">
                    <c:v>Rolling Stdev (30 Minute)</c:v>
                  </c:pt>
                  <c:pt idx="2214">
                    <c:v>Rolling Stdev (30 Minute)</c:v>
                  </c:pt>
                  <c:pt idx="2215">
                    <c:v>Rolling Stdev (30 Minute)</c:v>
                  </c:pt>
                  <c:pt idx="2216">
                    <c:v>Rolling Stdev (30 Minute)</c:v>
                  </c:pt>
                  <c:pt idx="2217">
                    <c:v>Rolling Stdev (30 Minute)</c:v>
                  </c:pt>
                  <c:pt idx="2218">
                    <c:v>Rolling Stdev (30 Minute)</c:v>
                  </c:pt>
                  <c:pt idx="2219">
                    <c:v>Rolling Stdev (30 Minute)</c:v>
                  </c:pt>
                  <c:pt idx="2220">
                    <c:v>Rolling Stdev (30 Minute)</c:v>
                  </c:pt>
                  <c:pt idx="2221">
                    <c:v>Rolling Stdev (30 Minute)</c:v>
                  </c:pt>
                  <c:pt idx="2222">
                    <c:v>Rolling Stdev (30 Minute)</c:v>
                  </c:pt>
                  <c:pt idx="2223">
                    <c:v>Rolling Stdev (30 Minute)</c:v>
                  </c:pt>
                  <c:pt idx="2224">
                    <c:v>Rolling Stdev (30 Minute)</c:v>
                  </c:pt>
                  <c:pt idx="2225">
                    <c:v>Rolling Stdev (30 Minute)</c:v>
                  </c:pt>
                  <c:pt idx="2226">
                    <c:v>Rolling Stdev (30 Minute)</c:v>
                  </c:pt>
                  <c:pt idx="2227">
                    <c:v>Rolling Stdev (30 Minute)</c:v>
                  </c:pt>
                  <c:pt idx="2228">
                    <c:v>Rolling Stdev (30 Minute)</c:v>
                  </c:pt>
                  <c:pt idx="2229">
                    <c:v>Rolling Stdev (30 Minute)</c:v>
                  </c:pt>
                  <c:pt idx="2230">
                    <c:v>Rolling Stdev (30 Minute)</c:v>
                  </c:pt>
                  <c:pt idx="2231">
                    <c:v>Rolling Stdev (30 Minute)</c:v>
                  </c:pt>
                  <c:pt idx="2232">
                    <c:v>Rolling Stdev (30 Minute)</c:v>
                  </c:pt>
                  <c:pt idx="2233">
                    <c:v>Rolling Stdev (30 Minute)</c:v>
                  </c:pt>
                  <c:pt idx="2234">
                    <c:v>Rolling Stdev (30 Minute)</c:v>
                  </c:pt>
                  <c:pt idx="2235">
                    <c:v>Rolling Stdev (30 Minute)</c:v>
                  </c:pt>
                  <c:pt idx="2236">
                    <c:v>Rolling Stdev (30 Minute)</c:v>
                  </c:pt>
                  <c:pt idx="2237">
                    <c:v>Rolling Stdev (30 Minute)</c:v>
                  </c:pt>
                  <c:pt idx="2238">
                    <c:v>Rolling Stdev (30 Minute)</c:v>
                  </c:pt>
                  <c:pt idx="2239">
                    <c:v>Rolling Stdev (30 Minute)</c:v>
                  </c:pt>
                  <c:pt idx="2240">
                    <c:v>Rolling Stdev (30 Minute)</c:v>
                  </c:pt>
                  <c:pt idx="2241">
                    <c:v>Rolling Stdev (30 Minute)</c:v>
                  </c:pt>
                  <c:pt idx="2242">
                    <c:v>Rolling Stdev (30 Minute)</c:v>
                  </c:pt>
                  <c:pt idx="2243">
                    <c:v>Rolling Stdev (30 Minute)</c:v>
                  </c:pt>
                  <c:pt idx="2244">
                    <c:v>Rolling Stdev (30 Minute)</c:v>
                  </c:pt>
                  <c:pt idx="2245">
                    <c:v>Rolling Stdev (30 Minute)</c:v>
                  </c:pt>
                  <c:pt idx="2246">
                    <c:v>Rolling Stdev (30 Minute)</c:v>
                  </c:pt>
                  <c:pt idx="2247">
                    <c:v>Rolling Stdev (30 Minute)</c:v>
                  </c:pt>
                  <c:pt idx="2248">
                    <c:v>Rolling Stdev (30 Minute)</c:v>
                  </c:pt>
                  <c:pt idx="2249">
                    <c:v>Rolling Stdev (30 Minute)</c:v>
                  </c:pt>
                  <c:pt idx="2250">
                    <c:v>Rolling Stdev (30 Minute)</c:v>
                  </c:pt>
                  <c:pt idx="2251">
                    <c:v>Rolling Stdev (30 Minute)</c:v>
                  </c:pt>
                  <c:pt idx="2252">
                    <c:v>Rolling Stdev (30 Minute)</c:v>
                  </c:pt>
                  <c:pt idx="2253">
                    <c:v>Rolling Stdev (30 Minute)</c:v>
                  </c:pt>
                  <c:pt idx="2254">
                    <c:v>Rolling Stdev (30 Minute)</c:v>
                  </c:pt>
                  <c:pt idx="2255">
                    <c:v>Rolling Stdev (30 Minute)</c:v>
                  </c:pt>
                  <c:pt idx="2256">
                    <c:v>Rolling Stdev (30 Minute)</c:v>
                  </c:pt>
                  <c:pt idx="2257">
                    <c:v>Rolling Stdev (30 Minute)</c:v>
                  </c:pt>
                  <c:pt idx="2258">
                    <c:v>Rolling Stdev (30 Minute)</c:v>
                  </c:pt>
                  <c:pt idx="2259">
                    <c:v>Rolling Stdev (30 Minute)</c:v>
                  </c:pt>
                  <c:pt idx="2260">
                    <c:v>Rolling Stdev (30 Minute)</c:v>
                  </c:pt>
                  <c:pt idx="2261">
                    <c:v>Rolling Stdev (30 Minute)</c:v>
                  </c:pt>
                  <c:pt idx="2262">
                    <c:v>Rolling Stdev (30 Minute)</c:v>
                  </c:pt>
                  <c:pt idx="2263">
                    <c:v>Rolling Stdev (30 Minute)</c:v>
                  </c:pt>
                  <c:pt idx="2264">
                    <c:v>Rolling Stdev (30 Minute)</c:v>
                  </c:pt>
                  <c:pt idx="2265">
                    <c:v>Rolling Stdev (30 Minute)</c:v>
                  </c:pt>
                  <c:pt idx="2266">
                    <c:v>Rolling Stdev (30 Minute)</c:v>
                  </c:pt>
                  <c:pt idx="2267">
                    <c:v>Rolling Stdev (30 Minute)</c:v>
                  </c:pt>
                  <c:pt idx="2268">
                    <c:v>Rolling Stdev (30 Minute)</c:v>
                  </c:pt>
                  <c:pt idx="2269">
                    <c:v>Rolling Stdev (30 Minute)</c:v>
                  </c:pt>
                  <c:pt idx="2270">
                    <c:v>Rolling Stdev (30 Minute)</c:v>
                  </c:pt>
                  <c:pt idx="2271">
                    <c:v>Rolling Stdev (30 Minute)</c:v>
                  </c:pt>
                  <c:pt idx="2272">
                    <c:v>Rolling Stdev (30 Minute)</c:v>
                  </c:pt>
                  <c:pt idx="2273">
                    <c:v>Rolling Stdev (30 Minute)</c:v>
                  </c:pt>
                  <c:pt idx="2274">
                    <c:v>Rolling Stdev (30 Minute)</c:v>
                  </c:pt>
                  <c:pt idx="2275">
                    <c:v>Rolling Stdev (30 Minute)</c:v>
                  </c:pt>
                  <c:pt idx="2276">
                    <c:v>Rolling Stdev (30 Minute)</c:v>
                  </c:pt>
                  <c:pt idx="2277">
                    <c:v>Rolling Stdev (30 Minute)</c:v>
                  </c:pt>
                  <c:pt idx="2278">
                    <c:v>Rolling Stdev (30 Minute)</c:v>
                  </c:pt>
                  <c:pt idx="2279">
                    <c:v>Rolling Stdev (30 Minute)</c:v>
                  </c:pt>
                  <c:pt idx="2280">
                    <c:v>Rolling Stdev (30 Minute)</c:v>
                  </c:pt>
                  <c:pt idx="2281">
                    <c:v>Rolling Stdev (30 Minute)</c:v>
                  </c:pt>
                  <c:pt idx="2282">
                    <c:v>Rolling Stdev (30 Minute)</c:v>
                  </c:pt>
                  <c:pt idx="2283">
                    <c:v>Rolling Stdev (30 Minute)</c:v>
                  </c:pt>
                  <c:pt idx="2284">
                    <c:v>Rolling Stdev (30 Minute)</c:v>
                  </c:pt>
                  <c:pt idx="2285">
                    <c:v>Rolling Stdev (30 Minute)</c:v>
                  </c:pt>
                  <c:pt idx="2286">
                    <c:v>Rolling Stdev (30 Minute)</c:v>
                  </c:pt>
                  <c:pt idx="2287">
                    <c:v>Rolling Stdev (30 Minute)</c:v>
                  </c:pt>
                  <c:pt idx="2288">
                    <c:v>Rolling Stdev (30 Minute)</c:v>
                  </c:pt>
                  <c:pt idx="2289">
                    <c:v>Rolling Stdev (30 Minute)</c:v>
                  </c:pt>
                  <c:pt idx="2290">
                    <c:v>Rolling Stdev (30 Minute)</c:v>
                  </c:pt>
                  <c:pt idx="2291">
                    <c:v>Rolling Stdev (30 Minute)</c:v>
                  </c:pt>
                  <c:pt idx="2292">
                    <c:v>Rolling Stdev (30 Minute)</c:v>
                  </c:pt>
                  <c:pt idx="2293">
                    <c:v>Rolling Stdev (30 Minute)</c:v>
                  </c:pt>
                  <c:pt idx="2294">
                    <c:v>Rolling Stdev (30 Minute)</c:v>
                  </c:pt>
                  <c:pt idx="2295">
                    <c:v>Rolling Stdev (30 Minute)</c:v>
                  </c:pt>
                  <c:pt idx="2296">
                    <c:v>Rolling Stdev (30 Minute)</c:v>
                  </c:pt>
                  <c:pt idx="2297">
                    <c:v>Rolling Stdev (30 Minute)</c:v>
                  </c:pt>
                  <c:pt idx="2298">
                    <c:v>Rolling Stdev (30 Minute)</c:v>
                  </c:pt>
                  <c:pt idx="2299">
                    <c:v>Rolling Stdev (30 Minute)</c:v>
                  </c:pt>
                  <c:pt idx="2300">
                    <c:v>Rolling Stdev (30 Minute)</c:v>
                  </c:pt>
                  <c:pt idx="2301">
                    <c:v>Rolling Stdev (30 Minute)</c:v>
                  </c:pt>
                  <c:pt idx="2302">
                    <c:v>Rolling Stdev (30 Minute)</c:v>
                  </c:pt>
                  <c:pt idx="2303">
                    <c:v>Rolling Stdev (30 Minute)</c:v>
                  </c:pt>
                  <c:pt idx="2304">
                    <c:v>Rolling Stdev (30 Minute)</c:v>
                  </c:pt>
                  <c:pt idx="2305">
                    <c:v>Rolling Stdev (30 Minute)</c:v>
                  </c:pt>
                  <c:pt idx="2306">
                    <c:v>Rolling Stdev (30 Minute)</c:v>
                  </c:pt>
                  <c:pt idx="2307">
                    <c:v>Rolling Stdev (30 Minute)</c:v>
                  </c:pt>
                  <c:pt idx="2308">
                    <c:v>Rolling Stdev (30 Minute)</c:v>
                  </c:pt>
                  <c:pt idx="2309">
                    <c:v>Rolling Stdev (30 Minute)</c:v>
                  </c:pt>
                  <c:pt idx="2310">
                    <c:v>Rolling Stdev (30 Minute)</c:v>
                  </c:pt>
                  <c:pt idx="2311">
                    <c:v>Rolling Stdev (30 Minute)</c:v>
                  </c:pt>
                  <c:pt idx="2312">
                    <c:v>Rolling Stdev (30 Minute)</c:v>
                  </c:pt>
                  <c:pt idx="2313">
                    <c:v>Rolling Stdev (30 Minute)</c:v>
                  </c:pt>
                  <c:pt idx="2314">
                    <c:v>Rolling Stdev (30 Minute)</c:v>
                  </c:pt>
                  <c:pt idx="2315">
                    <c:v>Rolling Stdev (30 Minute)</c:v>
                  </c:pt>
                  <c:pt idx="2316">
                    <c:v>Rolling Stdev (30 Minute)</c:v>
                  </c:pt>
                  <c:pt idx="2317">
                    <c:v>Rolling Stdev (30 Minute)</c:v>
                  </c:pt>
                  <c:pt idx="2318">
                    <c:v>Rolling Stdev (30 Minute)</c:v>
                  </c:pt>
                  <c:pt idx="2319">
                    <c:v>Rolling Stdev (30 Minute)</c:v>
                  </c:pt>
                  <c:pt idx="2320">
                    <c:v>Rolling Stdev (30 Minute)</c:v>
                  </c:pt>
                  <c:pt idx="2321">
                    <c:v>Rolling Stdev (30 Minute)</c:v>
                  </c:pt>
                  <c:pt idx="2322">
                    <c:v>Rolling Stdev (30 Minute)</c:v>
                  </c:pt>
                  <c:pt idx="2323">
                    <c:v>Rolling Stdev (30 Minute)</c:v>
                  </c:pt>
                  <c:pt idx="2324">
                    <c:v>Rolling Stdev (30 Minute)</c:v>
                  </c:pt>
                  <c:pt idx="2325">
                    <c:v>Rolling Stdev (30 Minute)</c:v>
                  </c:pt>
                  <c:pt idx="2326">
                    <c:v>Rolling Stdev (30 Minute)</c:v>
                  </c:pt>
                  <c:pt idx="2327">
                    <c:v>Rolling Stdev (30 Minute)</c:v>
                  </c:pt>
                  <c:pt idx="2328">
                    <c:v>Rolling Stdev (30 Minute)</c:v>
                  </c:pt>
                  <c:pt idx="2329">
                    <c:v>Rolling Stdev (30 Minute)</c:v>
                  </c:pt>
                  <c:pt idx="2330">
                    <c:v>Rolling Stdev (30 Minute)</c:v>
                  </c:pt>
                  <c:pt idx="2331">
                    <c:v>Rolling Stdev (30 Minute)</c:v>
                  </c:pt>
                  <c:pt idx="2332">
                    <c:v>Rolling Stdev (30 Minute)</c:v>
                  </c:pt>
                  <c:pt idx="2333">
                    <c:v>Rolling Stdev (30 Minute)</c:v>
                  </c:pt>
                  <c:pt idx="2334">
                    <c:v>Rolling Stdev (30 Minute)</c:v>
                  </c:pt>
                  <c:pt idx="2335">
                    <c:v>Rolling Stdev (30 Minute)</c:v>
                  </c:pt>
                  <c:pt idx="2336">
                    <c:v>Rolling Stdev (30 Minute)</c:v>
                  </c:pt>
                  <c:pt idx="2337">
                    <c:v>Rolling Stdev (30 Minute)</c:v>
                  </c:pt>
                  <c:pt idx="2338">
                    <c:v>Rolling Stdev (30 Minute)</c:v>
                  </c:pt>
                  <c:pt idx="2339">
                    <c:v>Rolling Stdev (30 Minute)</c:v>
                  </c:pt>
                  <c:pt idx="2340">
                    <c:v>Rolling Stdev (30 Minute)</c:v>
                  </c:pt>
                  <c:pt idx="2341">
                    <c:v>Rolling Stdev (30 Minute)</c:v>
                  </c:pt>
                  <c:pt idx="2342">
                    <c:v>Rolling Stdev (30 Minute)</c:v>
                  </c:pt>
                  <c:pt idx="2343">
                    <c:v>Rolling Stdev (30 Minute)</c:v>
                  </c:pt>
                  <c:pt idx="2344">
                    <c:v>Rolling Stdev (30 Minute)</c:v>
                  </c:pt>
                  <c:pt idx="2345">
                    <c:v>Rolling Stdev (30 Minute)</c:v>
                  </c:pt>
                  <c:pt idx="2346">
                    <c:v>Rolling Stdev (30 Minute)</c:v>
                  </c:pt>
                  <c:pt idx="2347">
                    <c:v>Rolling Stdev (30 Minute)</c:v>
                  </c:pt>
                  <c:pt idx="2348">
                    <c:v>Rolling Stdev (30 Minute)</c:v>
                  </c:pt>
                  <c:pt idx="2349">
                    <c:v>Rolling Stdev (30 Minute)</c:v>
                  </c:pt>
                  <c:pt idx="2350">
                    <c:v>Rolling Stdev (30 Minute)</c:v>
                  </c:pt>
                  <c:pt idx="2351">
                    <c:v>Rolling Stdev (30 Minute)</c:v>
                  </c:pt>
                  <c:pt idx="2352">
                    <c:v>Rolling Stdev (30 Minute)</c:v>
                  </c:pt>
                  <c:pt idx="2353">
                    <c:v>Rolling Stdev (30 Minute)</c:v>
                  </c:pt>
                  <c:pt idx="2354">
                    <c:v>Rolling Stdev (30 Minute)</c:v>
                  </c:pt>
                  <c:pt idx="2355">
                    <c:v>Rolling Stdev (30 Minute)</c:v>
                  </c:pt>
                  <c:pt idx="2356">
                    <c:v>Rolling Stdev (30 Minute)</c:v>
                  </c:pt>
                  <c:pt idx="2357">
                    <c:v>Rolling Stdev (30 Minute)</c:v>
                  </c:pt>
                  <c:pt idx="2358">
                    <c:v>Rolling Stdev (30 Minute)</c:v>
                  </c:pt>
                  <c:pt idx="2359">
                    <c:v>Rolling Stdev (30 Minute)</c:v>
                  </c:pt>
                  <c:pt idx="2360">
                    <c:v>Rolling Stdev (30 Minute)</c:v>
                  </c:pt>
                  <c:pt idx="2361">
                    <c:v>Rolling Stdev (30 Minute)</c:v>
                  </c:pt>
                  <c:pt idx="2362">
                    <c:v>Rolling Stdev (30 Minute)</c:v>
                  </c:pt>
                  <c:pt idx="2363">
                    <c:v>Rolling Stdev (30 Minute)</c:v>
                  </c:pt>
                  <c:pt idx="2364">
                    <c:v>Rolling Stdev (30 Minute)</c:v>
                  </c:pt>
                  <c:pt idx="2365">
                    <c:v>Rolling Stdev (30 Minute)</c:v>
                  </c:pt>
                  <c:pt idx="2366">
                    <c:v>Rolling Stdev (30 Minute)</c:v>
                  </c:pt>
                  <c:pt idx="2367">
                    <c:v>Rolling Stdev (30 Minute)</c:v>
                  </c:pt>
                  <c:pt idx="2368">
                    <c:v>Rolling Stdev (30 Minute)</c:v>
                  </c:pt>
                  <c:pt idx="2369">
                    <c:v>Rolling Stdev (30 Minute)</c:v>
                  </c:pt>
                  <c:pt idx="2370">
                    <c:v>Rolling Stdev (30 Minute)</c:v>
                  </c:pt>
                  <c:pt idx="2371">
                    <c:v>Rolling Stdev (30 Minute)</c:v>
                  </c:pt>
                  <c:pt idx="2372">
                    <c:v>Rolling Stdev (30 Minute)</c:v>
                  </c:pt>
                  <c:pt idx="2373">
                    <c:v>Rolling Stdev (30 Minute)</c:v>
                  </c:pt>
                  <c:pt idx="2374">
                    <c:v>Rolling Stdev (30 Minute)</c:v>
                  </c:pt>
                  <c:pt idx="2375">
                    <c:v>Rolling Stdev (30 Minute)</c:v>
                  </c:pt>
                  <c:pt idx="2376">
                    <c:v>Rolling Stdev (30 Minute)</c:v>
                  </c:pt>
                  <c:pt idx="2377">
                    <c:v>Rolling Stdev (30 Minute)</c:v>
                  </c:pt>
                  <c:pt idx="2378">
                    <c:v>Rolling Stdev (30 Minute)</c:v>
                  </c:pt>
                  <c:pt idx="2379">
                    <c:v>Rolling Stdev (30 Minute)</c:v>
                  </c:pt>
                  <c:pt idx="2380">
                    <c:v>Rolling Stdev (30 Minute)</c:v>
                  </c:pt>
                  <c:pt idx="2381">
                    <c:v>Rolling Stdev (30 Minute)</c:v>
                  </c:pt>
                  <c:pt idx="2382">
                    <c:v>Rolling Stdev (30 Minute)</c:v>
                  </c:pt>
                  <c:pt idx="2383">
                    <c:v>Rolling Stdev (30 Minute)</c:v>
                  </c:pt>
                  <c:pt idx="2384">
                    <c:v>Rolling Stdev (30 Minute)</c:v>
                  </c:pt>
                  <c:pt idx="2385">
                    <c:v>Rolling Stdev (30 Minute)</c:v>
                  </c:pt>
                  <c:pt idx="2386">
                    <c:v>Rolling Stdev (30 Minute)</c:v>
                  </c:pt>
                  <c:pt idx="2387">
                    <c:v>Rolling Stdev (30 Minute)</c:v>
                  </c:pt>
                  <c:pt idx="2388">
                    <c:v>Rolling Stdev (30 Minute)</c:v>
                  </c:pt>
                  <c:pt idx="2389">
                    <c:v>Rolling Stdev (30 Minute)</c:v>
                  </c:pt>
                  <c:pt idx="2390">
                    <c:v>Rolling Stdev (30 Minute)</c:v>
                  </c:pt>
                  <c:pt idx="2391">
                    <c:v>Rolling Stdev (30 Minute)</c:v>
                  </c:pt>
                  <c:pt idx="2392">
                    <c:v>Rolling Stdev (30 Minute)</c:v>
                  </c:pt>
                  <c:pt idx="2393">
                    <c:v>Rolling Stdev (30 Minute)</c:v>
                  </c:pt>
                  <c:pt idx="2394">
                    <c:v>Rolling Stdev (30 Minute)</c:v>
                  </c:pt>
                  <c:pt idx="2395">
                    <c:v>Rolling Stdev (30 Minute)</c:v>
                  </c:pt>
                  <c:pt idx="2396">
                    <c:v>Rolling Stdev (30 Minute)</c:v>
                  </c:pt>
                  <c:pt idx="2397">
                    <c:v>Rolling Stdev (30 Minute)</c:v>
                  </c:pt>
                  <c:pt idx="2398">
                    <c:v>Rolling Stdev (30 Minute)</c:v>
                  </c:pt>
                  <c:pt idx="2399">
                    <c:v>Rolling Stdev (30 Minute)</c:v>
                  </c:pt>
                  <c:pt idx="2400">
                    <c:v>Rolling Stdev (30 Minute)</c:v>
                  </c:pt>
                  <c:pt idx="2401">
                    <c:v>Rolling Stdev (30 Minute)</c:v>
                  </c:pt>
                  <c:pt idx="2402">
                    <c:v>Rolling Stdev (30 Minute)</c:v>
                  </c:pt>
                  <c:pt idx="2403">
                    <c:v>Rolling Stdev (30 Minute)</c:v>
                  </c:pt>
                  <c:pt idx="2404">
                    <c:v>Rolling Stdev (30 Minute)</c:v>
                  </c:pt>
                  <c:pt idx="2405">
                    <c:v>Rolling Stdev (30 Minute)</c:v>
                  </c:pt>
                  <c:pt idx="2406">
                    <c:v>Rolling Stdev (30 Minute)</c:v>
                  </c:pt>
                  <c:pt idx="2407">
                    <c:v>Rolling Stdev (30 Minute)</c:v>
                  </c:pt>
                  <c:pt idx="2408">
                    <c:v>Rolling Stdev (30 Minute)</c:v>
                  </c:pt>
                  <c:pt idx="2409">
                    <c:v>Rolling Stdev (30 Minute)</c:v>
                  </c:pt>
                  <c:pt idx="2410">
                    <c:v>Rolling Stdev (30 Minute)</c:v>
                  </c:pt>
                  <c:pt idx="2411">
                    <c:v>Rolling Stdev (30 Minute)</c:v>
                  </c:pt>
                  <c:pt idx="2412">
                    <c:v>Rolling Stdev (30 Minute)</c:v>
                  </c:pt>
                  <c:pt idx="2413">
                    <c:v>Rolling Stdev (30 Minute)</c:v>
                  </c:pt>
                  <c:pt idx="2414">
                    <c:v>Rolling Stdev (30 Minute)</c:v>
                  </c:pt>
                  <c:pt idx="2415">
                    <c:v>Rolling Stdev (30 Minute)</c:v>
                  </c:pt>
                  <c:pt idx="2416">
                    <c:v>Rolling Stdev (30 Minute)</c:v>
                  </c:pt>
                  <c:pt idx="2417">
                    <c:v>Rolling Stdev (30 Minute)</c:v>
                  </c:pt>
                  <c:pt idx="2418">
                    <c:v>Rolling Stdev (30 Minute)</c:v>
                  </c:pt>
                  <c:pt idx="2419">
                    <c:v>Rolling Stdev (30 Minute)</c:v>
                  </c:pt>
                  <c:pt idx="2420">
                    <c:v>Rolling Stdev (30 Minute)</c:v>
                  </c:pt>
                  <c:pt idx="2421">
                    <c:v>Rolling Stdev (30 Minute)</c:v>
                  </c:pt>
                  <c:pt idx="2422">
                    <c:v>Rolling Stdev (30 Minute)</c:v>
                  </c:pt>
                  <c:pt idx="2423">
                    <c:v>Rolling Stdev (30 Minute)</c:v>
                  </c:pt>
                  <c:pt idx="2424">
                    <c:v>Rolling Stdev (30 Minute)</c:v>
                  </c:pt>
                  <c:pt idx="2425">
                    <c:v>Rolling Stdev (30 Minute)</c:v>
                  </c:pt>
                  <c:pt idx="2426">
                    <c:v>Rolling Stdev (30 Minute)</c:v>
                  </c:pt>
                  <c:pt idx="2427">
                    <c:v>Rolling Stdev (30 Minute)</c:v>
                  </c:pt>
                  <c:pt idx="2428">
                    <c:v>Rolling Stdev (30 Minute)</c:v>
                  </c:pt>
                  <c:pt idx="2429">
                    <c:v>Rolling Stdev (30 Minute)</c:v>
                  </c:pt>
                  <c:pt idx="2430">
                    <c:v>Rolling Stdev (30 Minute)</c:v>
                  </c:pt>
                  <c:pt idx="2431">
                    <c:v>Rolling Stdev (30 Minute)</c:v>
                  </c:pt>
                  <c:pt idx="2432">
                    <c:v>Rolling Stdev (30 Minute)</c:v>
                  </c:pt>
                  <c:pt idx="2433">
                    <c:v>Rolling Stdev (30 Minute)</c:v>
                  </c:pt>
                  <c:pt idx="2434">
                    <c:v>Rolling Stdev (30 Minute)</c:v>
                  </c:pt>
                  <c:pt idx="2435">
                    <c:v>Rolling Stdev (30 Minute)</c:v>
                  </c:pt>
                  <c:pt idx="2436">
                    <c:v>Rolling Stdev (30 Minute)</c:v>
                  </c:pt>
                  <c:pt idx="2437">
                    <c:v>Rolling Stdev (30 Minute)</c:v>
                  </c:pt>
                  <c:pt idx="2438">
                    <c:v>Rolling Stdev (30 Minute)</c:v>
                  </c:pt>
                  <c:pt idx="2439">
                    <c:v>Rolling Stdev (30 Minute)</c:v>
                  </c:pt>
                  <c:pt idx="2440">
                    <c:v>Rolling Stdev (30 Minute)</c:v>
                  </c:pt>
                  <c:pt idx="2441">
                    <c:v>Rolling Stdev (30 Minute)</c:v>
                  </c:pt>
                  <c:pt idx="2442">
                    <c:v>Rolling Stdev (30 Minute)</c:v>
                  </c:pt>
                  <c:pt idx="2443">
                    <c:v>Rolling Stdev (30 Minute)</c:v>
                  </c:pt>
                  <c:pt idx="2444">
                    <c:v>Rolling Stdev (30 Minute)</c:v>
                  </c:pt>
                  <c:pt idx="2445">
                    <c:v>Rolling Stdev (30 Minute)</c:v>
                  </c:pt>
                  <c:pt idx="2446">
                    <c:v>Rolling Stdev (30 Minute)</c:v>
                  </c:pt>
                  <c:pt idx="2447">
                    <c:v>Rolling Stdev (30 Minute)</c:v>
                  </c:pt>
                  <c:pt idx="2448">
                    <c:v>Rolling Stdev (30 Minute)</c:v>
                  </c:pt>
                  <c:pt idx="2449">
                    <c:v>Rolling Stdev (30 Minute)</c:v>
                  </c:pt>
                  <c:pt idx="2450">
                    <c:v>Rolling Stdev (30 Minute)</c:v>
                  </c:pt>
                  <c:pt idx="2451">
                    <c:v>Rolling Stdev (30 Minute)</c:v>
                  </c:pt>
                </c:lvl>
              </c:multiLvlStrCache>
            </c:multiLvlStrRef>
          </c:cat>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4-6785-41B4-BCE1-ECD89FF12F5A}"/>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multiLvlStrRef>
              <c:f>'DRT Rolling Stdev'!$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Stdev (30 Minute)</c:v>
                  </c:pt>
                  <c:pt idx="1">
                    <c:v>Rolling Stdev (30 Minute)</c:v>
                  </c:pt>
                  <c:pt idx="2">
                    <c:v>Rolling Stdev (30 Minute)</c:v>
                  </c:pt>
                  <c:pt idx="3">
                    <c:v>Rolling Stdev (30 Minute)</c:v>
                  </c:pt>
                  <c:pt idx="4">
                    <c:v>Rolling Stdev (30 Minute)</c:v>
                  </c:pt>
                  <c:pt idx="5">
                    <c:v>Rolling Stdev (30 Minute)</c:v>
                  </c:pt>
                  <c:pt idx="6">
                    <c:v>Rolling Stdev (30 Minute)</c:v>
                  </c:pt>
                  <c:pt idx="7">
                    <c:v>Rolling Stdev (30 Minute)</c:v>
                  </c:pt>
                  <c:pt idx="8">
                    <c:v>Rolling Stdev (30 Minute)</c:v>
                  </c:pt>
                  <c:pt idx="9">
                    <c:v>Rolling Stdev (30 Minute)</c:v>
                  </c:pt>
                  <c:pt idx="10">
                    <c:v>Rolling Stdev (30 Minute)</c:v>
                  </c:pt>
                  <c:pt idx="11">
                    <c:v>Rolling Stdev (30 Minute)</c:v>
                  </c:pt>
                  <c:pt idx="12">
                    <c:v>Rolling Stdev (30 Minute)</c:v>
                  </c:pt>
                  <c:pt idx="13">
                    <c:v>Rolling Stdev (30 Minute)</c:v>
                  </c:pt>
                  <c:pt idx="14">
                    <c:v>Rolling Stdev (30 Minute)</c:v>
                  </c:pt>
                  <c:pt idx="15">
                    <c:v>Rolling Stdev (30 Minute)</c:v>
                  </c:pt>
                  <c:pt idx="16">
                    <c:v>Rolling Stdev (30 Minute)</c:v>
                  </c:pt>
                  <c:pt idx="17">
                    <c:v>Rolling Stdev (30 Minute)</c:v>
                  </c:pt>
                  <c:pt idx="18">
                    <c:v>Rolling Stdev (30 Minute)</c:v>
                  </c:pt>
                  <c:pt idx="19">
                    <c:v>Rolling Stdev (30 Minute)</c:v>
                  </c:pt>
                  <c:pt idx="20">
                    <c:v>Rolling Stdev (30 Minute)</c:v>
                  </c:pt>
                  <c:pt idx="21">
                    <c:v>Rolling Stdev (30 Minute)</c:v>
                  </c:pt>
                  <c:pt idx="22">
                    <c:v>Rolling Stdev (30 Minute)</c:v>
                  </c:pt>
                  <c:pt idx="23">
                    <c:v>Rolling Stdev (30 Minute)</c:v>
                  </c:pt>
                  <c:pt idx="24">
                    <c:v>Rolling Stdev (30 Minute)</c:v>
                  </c:pt>
                  <c:pt idx="25">
                    <c:v>Rolling Stdev (30 Minute)</c:v>
                  </c:pt>
                  <c:pt idx="26">
                    <c:v>Rolling Stdev (30 Minute)</c:v>
                  </c:pt>
                  <c:pt idx="27">
                    <c:v>Rolling Stdev (30 Minute)</c:v>
                  </c:pt>
                  <c:pt idx="28">
                    <c:v>Rolling Stdev (30 Minute)</c:v>
                  </c:pt>
                  <c:pt idx="29">
                    <c:v>Rolling Stdev (30 Minute)</c:v>
                  </c:pt>
                  <c:pt idx="30">
                    <c:v>Rolling Stdev (30 Minute)</c:v>
                  </c:pt>
                  <c:pt idx="31">
                    <c:v>Rolling Stdev (30 Minute)</c:v>
                  </c:pt>
                  <c:pt idx="32">
                    <c:v>Rolling Stdev (30 Minute)</c:v>
                  </c:pt>
                  <c:pt idx="33">
                    <c:v>Rolling Stdev (30 Minute)</c:v>
                  </c:pt>
                  <c:pt idx="34">
                    <c:v>Rolling Stdev (30 Minute)</c:v>
                  </c:pt>
                  <c:pt idx="35">
                    <c:v>Rolling Stdev (30 Minute)</c:v>
                  </c:pt>
                  <c:pt idx="36">
                    <c:v>Rolling Stdev (30 Minute)</c:v>
                  </c:pt>
                  <c:pt idx="37">
                    <c:v>Rolling Stdev (30 Minute)</c:v>
                  </c:pt>
                  <c:pt idx="38">
                    <c:v>Rolling Stdev (30 Minute)</c:v>
                  </c:pt>
                  <c:pt idx="39">
                    <c:v>Rolling Stdev (30 Minute)</c:v>
                  </c:pt>
                  <c:pt idx="40">
                    <c:v>Rolling Stdev (30 Minute)</c:v>
                  </c:pt>
                  <c:pt idx="41">
                    <c:v>Rolling Stdev (30 Minute)</c:v>
                  </c:pt>
                  <c:pt idx="42">
                    <c:v>Rolling Stdev (30 Minute)</c:v>
                  </c:pt>
                  <c:pt idx="43">
                    <c:v>Rolling Stdev (30 Minute)</c:v>
                  </c:pt>
                  <c:pt idx="44">
                    <c:v>Rolling Stdev (30 Minute)</c:v>
                  </c:pt>
                  <c:pt idx="45">
                    <c:v>Rolling Stdev (30 Minute)</c:v>
                  </c:pt>
                  <c:pt idx="46">
                    <c:v>Rolling Stdev (30 Minute)</c:v>
                  </c:pt>
                  <c:pt idx="47">
                    <c:v>Rolling Stdev (30 Minute)</c:v>
                  </c:pt>
                  <c:pt idx="48">
                    <c:v>Rolling Stdev (30 Minute)</c:v>
                  </c:pt>
                  <c:pt idx="49">
                    <c:v>Rolling Stdev (30 Minute)</c:v>
                  </c:pt>
                  <c:pt idx="50">
                    <c:v>Rolling Stdev (30 Minute)</c:v>
                  </c:pt>
                  <c:pt idx="51">
                    <c:v>Rolling Stdev (30 Minute)</c:v>
                  </c:pt>
                  <c:pt idx="52">
                    <c:v>Rolling Stdev (30 Minute)</c:v>
                  </c:pt>
                  <c:pt idx="53">
                    <c:v>Rolling Stdev (30 Minute)</c:v>
                  </c:pt>
                  <c:pt idx="54">
                    <c:v>Rolling Stdev (30 Minute)</c:v>
                  </c:pt>
                  <c:pt idx="55">
                    <c:v>Rolling Stdev (30 Minute)</c:v>
                  </c:pt>
                  <c:pt idx="56">
                    <c:v>Rolling Stdev (30 Minute)</c:v>
                  </c:pt>
                  <c:pt idx="57">
                    <c:v>Rolling Stdev (30 Minute)</c:v>
                  </c:pt>
                  <c:pt idx="58">
                    <c:v>Rolling Stdev (30 Minute)</c:v>
                  </c:pt>
                  <c:pt idx="59">
                    <c:v>Rolling Stdev (30 Minute)</c:v>
                  </c:pt>
                  <c:pt idx="60">
                    <c:v>Rolling Stdev (30 Minute)</c:v>
                  </c:pt>
                  <c:pt idx="61">
                    <c:v>Rolling Stdev (30 Minute)</c:v>
                  </c:pt>
                  <c:pt idx="62">
                    <c:v>Rolling Stdev (30 Minute)</c:v>
                  </c:pt>
                  <c:pt idx="63">
                    <c:v>Rolling Stdev (30 Minute)</c:v>
                  </c:pt>
                  <c:pt idx="64">
                    <c:v>Rolling Stdev (30 Minute)</c:v>
                  </c:pt>
                  <c:pt idx="65">
                    <c:v>Rolling Stdev (30 Minute)</c:v>
                  </c:pt>
                  <c:pt idx="66">
                    <c:v>Rolling Stdev (30 Minute)</c:v>
                  </c:pt>
                  <c:pt idx="67">
                    <c:v>Rolling Stdev (30 Minute)</c:v>
                  </c:pt>
                  <c:pt idx="68">
                    <c:v>Rolling Stdev (30 Minute)</c:v>
                  </c:pt>
                  <c:pt idx="69">
                    <c:v>Rolling Stdev (30 Minute)</c:v>
                  </c:pt>
                  <c:pt idx="70">
                    <c:v>Rolling Stdev (30 Minute)</c:v>
                  </c:pt>
                  <c:pt idx="71">
                    <c:v>Rolling Stdev (30 Minute)</c:v>
                  </c:pt>
                  <c:pt idx="72">
                    <c:v>Rolling Stdev (30 Minute)</c:v>
                  </c:pt>
                  <c:pt idx="73">
                    <c:v>Rolling Stdev (30 Minute)</c:v>
                  </c:pt>
                  <c:pt idx="74">
                    <c:v>Rolling Stdev (30 Minute)</c:v>
                  </c:pt>
                  <c:pt idx="75">
                    <c:v>Rolling Stdev (30 Minute)</c:v>
                  </c:pt>
                  <c:pt idx="76">
                    <c:v>Rolling Stdev (30 Minute)</c:v>
                  </c:pt>
                  <c:pt idx="77">
                    <c:v>Rolling Stdev (30 Minute)</c:v>
                  </c:pt>
                  <c:pt idx="78">
                    <c:v>Rolling Stdev (30 Minute)</c:v>
                  </c:pt>
                  <c:pt idx="79">
                    <c:v>Rolling Stdev (30 Minute)</c:v>
                  </c:pt>
                  <c:pt idx="80">
                    <c:v>Rolling Stdev (30 Minute)</c:v>
                  </c:pt>
                  <c:pt idx="81">
                    <c:v>Rolling Stdev (30 Minute)</c:v>
                  </c:pt>
                  <c:pt idx="82">
                    <c:v>Rolling Stdev (30 Minute)</c:v>
                  </c:pt>
                  <c:pt idx="83">
                    <c:v>Rolling Stdev (30 Minute)</c:v>
                  </c:pt>
                  <c:pt idx="84">
                    <c:v>Rolling Stdev (30 Minute)</c:v>
                  </c:pt>
                  <c:pt idx="85">
                    <c:v>Rolling Stdev (30 Minute)</c:v>
                  </c:pt>
                  <c:pt idx="86">
                    <c:v>Rolling Stdev (30 Minute)</c:v>
                  </c:pt>
                  <c:pt idx="87">
                    <c:v>Rolling Stdev (30 Minute)</c:v>
                  </c:pt>
                  <c:pt idx="88">
                    <c:v>Rolling Stdev (30 Minute)</c:v>
                  </c:pt>
                  <c:pt idx="89">
                    <c:v>Rolling Stdev (30 Minute)</c:v>
                  </c:pt>
                  <c:pt idx="90">
                    <c:v>Rolling Stdev (30 Minute)</c:v>
                  </c:pt>
                  <c:pt idx="91">
                    <c:v>Rolling Stdev (30 Minute)</c:v>
                  </c:pt>
                  <c:pt idx="92">
                    <c:v>Rolling Stdev (30 Minute)</c:v>
                  </c:pt>
                  <c:pt idx="93">
                    <c:v>Rolling Stdev (30 Minute)</c:v>
                  </c:pt>
                  <c:pt idx="94">
                    <c:v>Rolling Stdev (30 Minute)</c:v>
                  </c:pt>
                  <c:pt idx="95">
                    <c:v>Rolling Stdev (30 Minute)</c:v>
                  </c:pt>
                  <c:pt idx="96">
                    <c:v>Rolling Stdev (30 Minute)</c:v>
                  </c:pt>
                  <c:pt idx="97">
                    <c:v>Rolling Stdev (30 Minute)</c:v>
                  </c:pt>
                  <c:pt idx="98">
                    <c:v>Rolling Stdev (30 Minute)</c:v>
                  </c:pt>
                  <c:pt idx="99">
                    <c:v>Rolling Stdev (30 Minute)</c:v>
                  </c:pt>
                  <c:pt idx="100">
                    <c:v>Rolling Stdev (30 Minute)</c:v>
                  </c:pt>
                  <c:pt idx="101">
                    <c:v>Rolling Stdev (30 Minute)</c:v>
                  </c:pt>
                  <c:pt idx="102">
                    <c:v>Rolling Stdev (30 Minute)</c:v>
                  </c:pt>
                  <c:pt idx="103">
                    <c:v>Rolling Stdev (30 Minute)</c:v>
                  </c:pt>
                  <c:pt idx="104">
                    <c:v>Rolling Stdev (30 Minute)</c:v>
                  </c:pt>
                  <c:pt idx="105">
                    <c:v>Rolling Stdev (30 Minute)</c:v>
                  </c:pt>
                  <c:pt idx="106">
                    <c:v>Rolling Stdev (30 Minute)</c:v>
                  </c:pt>
                  <c:pt idx="107">
                    <c:v>Rolling Stdev (30 Minute)</c:v>
                  </c:pt>
                  <c:pt idx="108">
                    <c:v>Rolling Stdev (30 Minute)</c:v>
                  </c:pt>
                  <c:pt idx="109">
                    <c:v>Rolling Stdev (30 Minute)</c:v>
                  </c:pt>
                  <c:pt idx="110">
                    <c:v>Rolling Stdev (30 Minute)</c:v>
                  </c:pt>
                  <c:pt idx="111">
                    <c:v>Rolling Stdev (30 Minute)</c:v>
                  </c:pt>
                  <c:pt idx="112">
                    <c:v>Rolling Stdev (30 Minute)</c:v>
                  </c:pt>
                  <c:pt idx="113">
                    <c:v>Rolling Stdev (30 Minute)</c:v>
                  </c:pt>
                  <c:pt idx="114">
                    <c:v>Rolling Stdev (30 Minute)</c:v>
                  </c:pt>
                  <c:pt idx="115">
                    <c:v>Rolling Stdev (30 Minute)</c:v>
                  </c:pt>
                  <c:pt idx="116">
                    <c:v>Rolling Stdev (30 Minute)</c:v>
                  </c:pt>
                  <c:pt idx="117">
                    <c:v>Rolling Stdev (30 Minute)</c:v>
                  </c:pt>
                  <c:pt idx="118">
                    <c:v>Rolling Stdev (30 Minute)</c:v>
                  </c:pt>
                  <c:pt idx="119">
                    <c:v>Rolling Stdev (30 Minute)</c:v>
                  </c:pt>
                  <c:pt idx="120">
                    <c:v>Rolling Stdev (30 Minute)</c:v>
                  </c:pt>
                  <c:pt idx="121">
                    <c:v>Rolling Stdev (30 Minute)</c:v>
                  </c:pt>
                  <c:pt idx="122">
                    <c:v>Rolling Stdev (30 Minute)</c:v>
                  </c:pt>
                  <c:pt idx="123">
                    <c:v>Rolling Stdev (30 Minute)</c:v>
                  </c:pt>
                  <c:pt idx="124">
                    <c:v>Rolling Stdev (30 Minute)</c:v>
                  </c:pt>
                  <c:pt idx="125">
                    <c:v>Rolling Stdev (30 Minute)</c:v>
                  </c:pt>
                  <c:pt idx="126">
                    <c:v>Rolling Stdev (30 Minute)</c:v>
                  </c:pt>
                  <c:pt idx="127">
                    <c:v>Rolling Stdev (30 Minute)</c:v>
                  </c:pt>
                  <c:pt idx="128">
                    <c:v>Rolling Stdev (30 Minute)</c:v>
                  </c:pt>
                  <c:pt idx="129">
                    <c:v>Rolling Stdev (30 Minute)</c:v>
                  </c:pt>
                  <c:pt idx="130">
                    <c:v>Rolling Stdev (30 Minute)</c:v>
                  </c:pt>
                  <c:pt idx="131">
                    <c:v>Rolling Stdev (30 Minute)</c:v>
                  </c:pt>
                  <c:pt idx="132">
                    <c:v>Rolling Stdev (30 Minute)</c:v>
                  </c:pt>
                  <c:pt idx="133">
                    <c:v>Rolling Stdev (30 Minute)</c:v>
                  </c:pt>
                  <c:pt idx="134">
                    <c:v>Rolling Stdev (30 Minute)</c:v>
                  </c:pt>
                  <c:pt idx="135">
                    <c:v>Rolling Stdev (30 Minute)</c:v>
                  </c:pt>
                  <c:pt idx="136">
                    <c:v>Rolling Stdev (30 Minute)</c:v>
                  </c:pt>
                  <c:pt idx="137">
                    <c:v>Rolling Stdev (30 Minute)</c:v>
                  </c:pt>
                  <c:pt idx="138">
                    <c:v>Rolling Stdev (30 Minute)</c:v>
                  </c:pt>
                  <c:pt idx="139">
                    <c:v>Rolling Stdev (30 Minute)</c:v>
                  </c:pt>
                  <c:pt idx="140">
                    <c:v>Rolling Stdev (30 Minute)</c:v>
                  </c:pt>
                  <c:pt idx="141">
                    <c:v>Rolling Stdev (30 Minute)</c:v>
                  </c:pt>
                  <c:pt idx="142">
                    <c:v>Rolling Stdev (30 Minute)</c:v>
                  </c:pt>
                  <c:pt idx="143">
                    <c:v>Rolling Stdev (30 Minute)</c:v>
                  </c:pt>
                  <c:pt idx="144">
                    <c:v>Rolling Stdev (30 Minute)</c:v>
                  </c:pt>
                  <c:pt idx="145">
                    <c:v>Rolling Stdev (30 Minute)</c:v>
                  </c:pt>
                  <c:pt idx="146">
                    <c:v>Rolling Stdev (30 Minute)</c:v>
                  </c:pt>
                  <c:pt idx="147">
                    <c:v>Rolling Stdev (30 Minute)</c:v>
                  </c:pt>
                  <c:pt idx="148">
                    <c:v>Rolling Stdev (30 Minute)</c:v>
                  </c:pt>
                  <c:pt idx="149">
                    <c:v>Rolling Stdev (30 Minute)</c:v>
                  </c:pt>
                  <c:pt idx="150">
                    <c:v>Rolling Stdev (30 Minute)</c:v>
                  </c:pt>
                  <c:pt idx="151">
                    <c:v>Rolling Stdev (30 Minute)</c:v>
                  </c:pt>
                  <c:pt idx="152">
                    <c:v>Rolling Stdev (30 Minute)</c:v>
                  </c:pt>
                  <c:pt idx="153">
                    <c:v>Rolling Stdev (30 Minute)</c:v>
                  </c:pt>
                  <c:pt idx="154">
                    <c:v>Rolling Stdev (30 Minute)</c:v>
                  </c:pt>
                  <c:pt idx="155">
                    <c:v>Rolling Stdev (30 Minute)</c:v>
                  </c:pt>
                  <c:pt idx="156">
                    <c:v>Rolling Stdev (30 Minute)</c:v>
                  </c:pt>
                  <c:pt idx="157">
                    <c:v>Rolling Stdev (30 Minute)</c:v>
                  </c:pt>
                  <c:pt idx="158">
                    <c:v>Rolling Stdev (30 Minute)</c:v>
                  </c:pt>
                  <c:pt idx="159">
                    <c:v>Rolling Stdev (30 Minute)</c:v>
                  </c:pt>
                  <c:pt idx="160">
                    <c:v>Rolling Stdev (30 Minute)</c:v>
                  </c:pt>
                  <c:pt idx="161">
                    <c:v>Rolling Stdev (30 Minute)</c:v>
                  </c:pt>
                  <c:pt idx="162">
                    <c:v>Rolling Stdev (30 Minute)</c:v>
                  </c:pt>
                  <c:pt idx="163">
                    <c:v>Rolling Stdev (30 Minute)</c:v>
                  </c:pt>
                  <c:pt idx="164">
                    <c:v>Rolling Stdev (30 Minute)</c:v>
                  </c:pt>
                  <c:pt idx="165">
                    <c:v>Rolling Stdev (30 Minute)</c:v>
                  </c:pt>
                  <c:pt idx="166">
                    <c:v>Rolling Stdev (30 Minute)</c:v>
                  </c:pt>
                  <c:pt idx="167">
                    <c:v>Rolling Stdev (30 Minute)</c:v>
                  </c:pt>
                  <c:pt idx="168">
                    <c:v>Rolling Stdev (30 Minute)</c:v>
                  </c:pt>
                  <c:pt idx="169">
                    <c:v>Rolling Stdev (30 Minute)</c:v>
                  </c:pt>
                  <c:pt idx="170">
                    <c:v>Rolling Stdev (30 Minute)</c:v>
                  </c:pt>
                  <c:pt idx="171">
                    <c:v>Rolling Stdev (30 Minute)</c:v>
                  </c:pt>
                  <c:pt idx="172">
                    <c:v>Rolling Stdev (30 Minute)</c:v>
                  </c:pt>
                  <c:pt idx="173">
                    <c:v>Rolling Stdev (30 Minute)</c:v>
                  </c:pt>
                  <c:pt idx="174">
                    <c:v>Rolling Stdev (30 Minute)</c:v>
                  </c:pt>
                  <c:pt idx="175">
                    <c:v>Rolling Stdev (30 Minute)</c:v>
                  </c:pt>
                  <c:pt idx="176">
                    <c:v>Rolling Stdev (30 Minute)</c:v>
                  </c:pt>
                  <c:pt idx="177">
                    <c:v>Rolling Stdev (30 Minute)</c:v>
                  </c:pt>
                  <c:pt idx="178">
                    <c:v>Rolling Stdev (30 Minute)</c:v>
                  </c:pt>
                  <c:pt idx="179">
                    <c:v>Rolling Stdev (30 Minute)</c:v>
                  </c:pt>
                  <c:pt idx="180">
                    <c:v>Rolling Stdev (30 Minute)</c:v>
                  </c:pt>
                  <c:pt idx="181">
                    <c:v>Rolling Stdev (30 Minute)</c:v>
                  </c:pt>
                  <c:pt idx="182">
                    <c:v>Rolling Stdev (30 Minute)</c:v>
                  </c:pt>
                  <c:pt idx="183">
                    <c:v>Rolling Stdev (30 Minute)</c:v>
                  </c:pt>
                  <c:pt idx="184">
                    <c:v>Rolling Stdev (30 Minute)</c:v>
                  </c:pt>
                  <c:pt idx="185">
                    <c:v>Rolling Stdev (30 Minute)</c:v>
                  </c:pt>
                  <c:pt idx="186">
                    <c:v>Rolling Stdev (30 Minute)</c:v>
                  </c:pt>
                  <c:pt idx="187">
                    <c:v>Rolling Stdev (30 Minute)</c:v>
                  </c:pt>
                  <c:pt idx="188">
                    <c:v>Rolling Stdev (30 Minute)</c:v>
                  </c:pt>
                  <c:pt idx="189">
                    <c:v>Rolling Stdev (30 Minute)</c:v>
                  </c:pt>
                  <c:pt idx="190">
                    <c:v>Rolling Stdev (30 Minute)</c:v>
                  </c:pt>
                  <c:pt idx="191">
                    <c:v>Rolling Stdev (30 Minute)</c:v>
                  </c:pt>
                  <c:pt idx="192">
                    <c:v>Rolling Stdev (30 Minute)</c:v>
                  </c:pt>
                  <c:pt idx="193">
                    <c:v>Rolling Stdev (30 Minute)</c:v>
                  </c:pt>
                  <c:pt idx="194">
                    <c:v>Rolling Stdev (30 Minute)</c:v>
                  </c:pt>
                  <c:pt idx="195">
                    <c:v>Rolling Stdev (30 Minute)</c:v>
                  </c:pt>
                  <c:pt idx="196">
                    <c:v>Rolling Stdev (30 Minute)</c:v>
                  </c:pt>
                  <c:pt idx="197">
                    <c:v>Rolling Stdev (30 Minute)</c:v>
                  </c:pt>
                  <c:pt idx="198">
                    <c:v>Rolling Stdev (30 Minute)</c:v>
                  </c:pt>
                  <c:pt idx="199">
                    <c:v>Rolling Stdev (30 Minute)</c:v>
                  </c:pt>
                  <c:pt idx="200">
                    <c:v>Rolling Stdev (30 Minute)</c:v>
                  </c:pt>
                  <c:pt idx="201">
                    <c:v>Rolling Stdev (30 Minute)</c:v>
                  </c:pt>
                  <c:pt idx="202">
                    <c:v>Rolling Stdev (30 Minute)</c:v>
                  </c:pt>
                  <c:pt idx="203">
                    <c:v>Rolling Stdev (30 Minute)</c:v>
                  </c:pt>
                  <c:pt idx="204">
                    <c:v>Rolling Stdev (30 Minute)</c:v>
                  </c:pt>
                  <c:pt idx="205">
                    <c:v>Rolling Stdev (30 Minute)</c:v>
                  </c:pt>
                  <c:pt idx="206">
                    <c:v>Rolling Stdev (30 Minute)</c:v>
                  </c:pt>
                  <c:pt idx="207">
                    <c:v>Rolling Stdev (30 Minute)</c:v>
                  </c:pt>
                  <c:pt idx="208">
                    <c:v>Rolling Stdev (30 Minute)</c:v>
                  </c:pt>
                  <c:pt idx="209">
                    <c:v>Rolling Stdev (30 Minute)</c:v>
                  </c:pt>
                  <c:pt idx="210">
                    <c:v>Rolling Stdev (30 Minute)</c:v>
                  </c:pt>
                  <c:pt idx="211">
                    <c:v>Rolling Stdev (30 Minute)</c:v>
                  </c:pt>
                  <c:pt idx="212">
                    <c:v>Rolling Stdev (30 Minute)</c:v>
                  </c:pt>
                  <c:pt idx="213">
                    <c:v>Rolling Stdev (30 Minute)</c:v>
                  </c:pt>
                  <c:pt idx="214">
                    <c:v>Rolling Stdev (30 Minute)</c:v>
                  </c:pt>
                  <c:pt idx="215">
                    <c:v>Rolling Stdev (30 Minute)</c:v>
                  </c:pt>
                  <c:pt idx="216">
                    <c:v>Rolling Stdev (30 Minute)</c:v>
                  </c:pt>
                  <c:pt idx="217">
                    <c:v>Rolling Stdev (30 Minute)</c:v>
                  </c:pt>
                  <c:pt idx="218">
                    <c:v>Rolling Stdev (30 Minute)</c:v>
                  </c:pt>
                  <c:pt idx="219">
                    <c:v>Rolling Stdev (30 Minute)</c:v>
                  </c:pt>
                  <c:pt idx="220">
                    <c:v>Rolling Stdev (30 Minute)</c:v>
                  </c:pt>
                  <c:pt idx="221">
                    <c:v>Rolling Stdev (30 Minute)</c:v>
                  </c:pt>
                  <c:pt idx="222">
                    <c:v>Rolling Stdev (30 Minute)</c:v>
                  </c:pt>
                  <c:pt idx="223">
                    <c:v>Rolling Stdev (30 Minute)</c:v>
                  </c:pt>
                  <c:pt idx="224">
                    <c:v>Rolling Stdev (30 Minute)</c:v>
                  </c:pt>
                  <c:pt idx="225">
                    <c:v>Rolling Stdev (30 Minute)</c:v>
                  </c:pt>
                  <c:pt idx="226">
                    <c:v>Rolling Stdev (30 Minute)</c:v>
                  </c:pt>
                  <c:pt idx="227">
                    <c:v>Rolling Stdev (30 Minute)</c:v>
                  </c:pt>
                  <c:pt idx="228">
                    <c:v>Rolling Stdev (30 Minute)</c:v>
                  </c:pt>
                  <c:pt idx="229">
                    <c:v>Rolling Stdev (30 Minute)</c:v>
                  </c:pt>
                  <c:pt idx="230">
                    <c:v>Rolling Stdev (30 Minute)</c:v>
                  </c:pt>
                  <c:pt idx="231">
                    <c:v>Rolling Stdev (30 Minute)</c:v>
                  </c:pt>
                  <c:pt idx="232">
                    <c:v>Rolling Stdev (30 Minute)</c:v>
                  </c:pt>
                  <c:pt idx="233">
                    <c:v>Rolling Stdev (30 Minute)</c:v>
                  </c:pt>
                  <c:pt idx="234">
                    <c:v>Rolling Stdev (30 Minute)</c:v>
                  </c:pt>
                  <c:pt idx="235">
                    <c:v>Rolling Stdev (30 Minute)</c:v>
                  </c:pt>
                  <c:pt idx="236">
                    <c:v>Rolling Stdev (30 Minute)</c:v>
                  </c:pt>
                  <c:pt idx="237">
                    <c:v>Rolling Stdev (30 Minute)</c:v>
                  </c:pt>
                  <c:pt idx="238">
                    <c:v>Rolling Stdev (30 Minute)</c:v>
                  </c:pt>
                  <c:pt idx="239">
                    <c:v>Rolling Stdev (30 Minute)</c:v>
                  </c:pt>
                  <c:pt idx="240">
                    <c:v>Rolling Stdev (30 Minute)</c:v>
                  </c:pt>
                  <c:pt idx="241">
                    <c:v>Rolling Stdev (30 Minute)</c:v>
                  </c:pt>
                  <c:pt idx="242">
                    <c:v>Rolling Stdev (30 Minute)</c:v>
                  </c:pt>
                  <c:pt idx="243">
                    <c:v>Rolling Stdev (30 Minute)</c:v>
                  </c:pt>
                  <c:pt idx="244">
                    <c:v>Rolling Stdev (30 Minute)</c:v>
                  </c:pt>
                  <c:pt idx="245">
                    <c:v>Rolling Stdev (30 Minute)</c:v>
                  </c:pt>
                  <c:pt idx="246">
                    <c:v>Rolling Stdev (30 Minute)</c:v>
                  </c:pt>
                  <c:pt idx="247">
                    <c:v>Rolling Stdev (30 Minute)</c:v>
                  </c:pt>
                  <c:pt idx="248">
                    <c:v>Rolling Stdev (30 Minute)</c:v>
                  </c:pt>
                  <c:pt idx="249">
                    <c:v>Rolling Stdev (30 Minute)</c:v>
                  </c:pt>
                  <c:pt idx="250">
                    <c:v>Rolling Stdev (30 Minute)</c:v>
                  </c:pt>
                  <c:pt idx="251">
                    <c:v>Rolling Stdev (30 Minute)</c:v>
                  </c:pt>
                  <c:pt idx="252">
                    <c:v>Rolling Stdev (30 Minute)</c:v>
                  </c:pt>
                  <c:pt idx="253">
                    <c:v>Rolling Stdev (30 Minute)</c:v>
                  </c:pt>
                  <c:pt idx="254">
                    <c:v>Rolling Stdev (30 Minute)</c:v>
                  </c:pt>
                  <c:pt idx="255">
                    <c:v>Rolling Stdev (30 Minute)</c:v>
                  </c:pt>
                  <c:pt idx="256">
                    <c:v>Rolling Stdev (30 Minute)</c:v>
                  </c:pt>
                  <c:pt idx="257">
                    <c:v>Rolling Stdev (30 Minute)</c:v>
                  </c:pt>
                  <c:pt idx="258">
                    <c:v>Rolling Stdev (30 Minute)</c:v>
                  </c:pt>
                  <c:pt idx="259">
                    <c:v>Rolling Stdev (30 Minute)</c:v>
                  </c:pt>
                  <c:pt idx="260">
                    <c:v>Rolling Stdev (30 Minute)</c:v>
                  </c:pt>
                  <c:pt idx="261">
                    <c:v>Rolling Stdev (30 Minute)</c:v>
                  </c:pt>
                  <c:pt idx="262">
                    <c:v>Rolling Stdev (30 Minute)</c:v>
                  </c:pt>
                  <c:pt idx="263">
                    <c:v>Rolling Stdev (30 Minute)</c:v>
                  </c:pt>
                  <c:pt idx="264">
                    <c:v>Rolling Stdev (30 Minute)</c:v>
                  </c:pt>
                  <c:pt idx="265">
                    <c:v>Rolling Stdev (30 Minute)</c:v>
                  </c:pt>
                  <c:pt idx="266">
                    <c:v>Rolling Stdev (30 Minute)</c:v>
                  </c:pt>
                  <c:pt idx="267">
                    <c:v>Rolling Stdev (30 Minute)</c:v>
                  </c:pt>
                  <c:pt idx="268">
                    <c:v>Rolling Stdev (30 Minute)</c:v>
                  </c:pt>
                  <c:pt idx="269">
                    <c:v>Rolling Stdev (30 Minute)</c:v>
                  </c:pt>
                  <c:pt idx="270">
                    <c:v>Rolling Stdev (30 Minute)</c:v>
                  </c:pt>
                  <c:pt idx="271">
                    <c:v>Rolling Stdev (30 Minute)</c:v>
                  </c:pt>
                  <c:pt idx="272">
                    <c:v>Rolling Stdev (30 Minute)</c:v>
                  </c:pt>
                  <c:pt idx="273">
                    <c:v>Rolling Stdev (30 Minute)</c:v>
                  </c:pt>
                  <c:pt idx="274">
                    <c:v>Rolling Stdev (30 Minute)</c:v>
                  </c:pt>
                  <c:pt idx="275">
                    <c:v>Rolling Stdev (30 Minute)</c:v>
                  </c:pt>
                  <c:pt idx="276">
                    <c:v>Rolling Stdev (30 Minute)</c:v>
                  </c:pt>
                  <c:pt idx="277">
                    <c:v>Rolling Stdev (30 Minute)</c:v>
                  </c:pt>
                  <c:pt idx="278">
                    <c:v>Rolling Stdev (30 Minute)</c:v>
                  </c:pt>
                  <c:pt idx="279">
                    <c:v>Rolling Stdev (30 Minute)</c:v>
                  </c:pt>
                  <c:pt idx="280">
                    <c:v>Rolling Stdev (30 Minute)</c:v>
                  </c:pt>
                  <c:pt idx="281">
                    <c:v>Rolling Stdev (30 Minute)</c:v>
                  </c:pt>
                  <c:pt idx="282">
                    <c:v>Rolling Stdev (30 Minute)</c:v>
                  </c:pt>
                  <c:pt idx="283">
                    <c:v>Rolling Stdev (30 Minute)</c:v>
                  </c:pt>
                  <c:pt idx="284">
                    <c:v>Rolling Stdev (30 Minute)</c:v>
                  </c:pt>
                  <c:pt idx="285">
                    <c:v>Rolling Stdev (30 Minute)</c:v>
                  </c:pt>
                  <c:pt idx="286">
                    <c:v>Rolling Stdev (30 Minute)</c:v>
                  </c:pt>
                  <c:pt idx="287">
                    <c:v>Rolling Stdev (30 Minute)</c:v>
                  </c:pt>
                  <c:pt idx="288">
                    <c:v>Rolling Stdev (30 Minute)</c:v>
                  </c:pt>
                  <c:pt idx="289">
                    <c:v>Rolling Stdev (30 Minute)</c:v>
                  </c:pt>
                  <c:pt idx="290">
                    <c:v>Rolling Stdev (30 Minute)</c:v>
                  </c:pt>
                  <c:pt idx="291">
                    <c:v>Rolling Stdev (30 Minute)</c:v>
                  </c:pt>
                  <c:pt idx="292">
                    <c:v>Rolling Stdev (30 Minute)</c:v>
                  </c:pt>
                  <c:pt idx="293">
                    <c:v>Rolling Stdev (30 Minute)</c:v>
                  </c:pt>
                  <c:pt idx="294">
                    <c:v>Rolling Stdev (30 Minute)</c:v>
                  </c:pt>
                  <c:pt idx="295">
                    <c:v>Rolling Stdev (30 Minute)</c:v>
                  </c:pt>
                  <c:pt idx="296">
                    <c:v>Rolling Stdev (30 Minute)</c:v>
                  </c:pt>
                  <c:pt idx="297">
                    <c:v>Rolling Stdev (30 Minute)</c:v>
                  </c:pt>
                  <c:pt idx="298">
                    <c:v>Rolling Stdev (30 Minute)</c:v>
                  </c:pt>
                  <c:pt idx="299">
                    <c:v>Rolling Stdev (30 Minute)</c:v>
                  </c:pt>
                  <c:pt idx="300">
                    <c:v>Rolling Stdev (30 Minute)</c:v>
                  </c:pt>
                  <c:pt idx="301">
                    <c:v>Rolling Stdev (30 Minute)</c:v>
                  </c:pt>
                  <c:pt idx="302">
                    <c:v>Rolling Stdev (30 Minute)</c:v>
                  </c:pt>
                  <c:pt idx="303">
                    <c:v>Rolling Stdev (30 Minute)</c:v>
                  </c:pt>
                  <c:pt idx="304">
                    <c:v>Rolling Stdev (30 Minute)</c:v>
                  </c:pt>
                  <c:pt idx="305">
                    <c:v>Rolling Stdev (30 Minute)</c:v>
                  </c:pt>
                  <c:pt idx="306">
                    <c:v>Rolling Stdev (30 Minute)</c:v>
                  </c:pt>
                  <c:pt idx="307">
                    <c:v>Rolling Stdev (30 Minute)</c:v>
                  </c:pt>
                  <c:pt idx="308">
                    <c:v>Rolling Stdev (30 Minute)</c:v>
                  </c:pt>
                  <c:pt idx="309">
                    <c:v>Rolling Stdev (30 Minute)</c:v>
                  </c:pt>
                  <c:pt idx="310">
                    <c:v>Rolling Stdev (30 Minute)</c:v>
                  </c:pt>
                  <c:pt idx="311">
                    <c:v>Rolling Stdev (30 Minute)</c:v>
                  </c:pt>
                  <c:pt idx="312">
                    <c:v>Rolling Stdev (30 Minute)</c:v>
                  </c:pt>
                  <c:pt idx="313">
                    <c:v>Rolling Stdev (30 Minute)</c:v>
                  </c:pt>
                  <c:pt idx="314">
                    <c:v>Rolling Stdev (30 Minute)</c:v>
                  </c:pt>
                  <c:pt idx="315">
                    <c:v>Rolling Stdev (30 Minute)</c:v>
                  </c:pt>
                  <c:pt idx="316">
                    <c:v>Rolling Stdev (30 Minute)</c:v>
                  </c:pt>
                  <c:pt idx="317">
                    <c:v>Rolling Stdev (30 Minute)</c:v>
                  </c:pt>
                  <c:pt idx="318">
                    <c:v>Rolling Stdev (30 Minute)</c:v>
                  </c:pt>
                  <c:pt idx="319">
                    <c:v>Rolling Stdev (30 Minute)</c:v>
                  </c:pt>
                  <c:pt idx="320">
                    <c:v>Rolling Stdev (30 Minute)</c:v>
                  </c:pt>
                  <c:pt idx="321">
                    <c:v>Rolling Stdev (30 Minute)</c:v>
                  </c:pt>
                  <c:pt idx="322">
                    <c:v>Rolling Stdev (30 Minute)</c:v>
                  </c:pt>
                  <c:pt idx="323">
                    <c:v>Rolling Stdev (30 Minute)</c:v>
                  </c:pt>
                  <c:pt idx="324">
                    <c:v>Rolling Stdev (30 Minute)</c:v>
                  </c:pt>
                  <c:pt idx="325">
                    <c:v>Rolling Stdev (30 Minute)</c:v>
                  </c:pt>
                  <c:pt idx="326">
                    <c:v>Rolling Stdev (30 Minute)</c:v>
                  </c:pt>
                  <c:pt idx="327">
                    <c:v>Rolling Stdev (30 Minute)</c:v>
                  </c:pt>
                  <c:pt idx="328">
                    <c:v>Rolling Stdev (30 Minute)</c:v>
                  </c:pt>
                  <c:pt idx="329">
                    <c:v>Rolling Stdev (30 Minute)</c:v>
                  </c:pt>
                  <c:pt idx="330">
                    <c:v>Rolling Stdev (30 Minute)</c:v>
                  </c:pt>
                  <c:pt idx="331">
                    <c:v>Rolling Stdev (30 Minute)</c:v>
                  </c:pt>
                  <c:pt idx="332">
                    <c:v>Rolling Stdev (30 Minute)</c:v>
                  </c:pt>
                  <c:pt idx="333">
                    <c:v>Rolling Stdev (30 Minute)</c:v>
                  </c:pt>
                  <c:pt idx="334">
                    <c:v>Rolling Stdev (30 Minute)</c:v>
                  </c:pt>
                  <c:pt idx="335">
                    <c:v>Rolling Stdev (30 Minute)</c:v>
                  </c:pt>
                  <c:pt idx="336">
                    <c:v>Rolling Stdev (30 Minute)</c:v>
                  </c:pt>
                  <c:pt idx="337">
                    <c:v>Rolling Stdev (30 Minute)</c:v>
                  </c:pt>
                  <c:pt idx="338">
                    <c:v>Rolling Stdev (30 Minute)</c:v>
                  </c:pt>
                  <c:pt idx="339">
                    <c:v>Rolling Stdev (30 Minute)</c:v>
                  </c:pt>
                  <c:pt idx="340">
                    <c:v>Rolling Stdev (30 Minute)</c:v>
                  </c:pt>
                  <c:pt idx="341">
                    <c:v>Rolling Stdev (30 Minute)</c:v>
                  </c:pt>
                  <c:pt idx="342">
                    <c:v>Rolling Stdev (30 Minute)</c:v>
                  </c:pt>
                  <c:pt idx="343">
                    <c:v>Rolling Stdev (30 Minute)</c:v>
                  </c:pt>
                  <c:pt idx="344">
                    <c:v>Rolling Stdev (30 Minute)</c:v>
                  </c:pt>
                  <c:pt idx="345">
                    <c:v>Rolling Stdev (30 Minute)</c:v>
                  </c:pt>
                  <c:pt idx="346">
                    <c:v>Rolling Stdev (30 Minute)</c:v>
                  </c:pt>
                  <c:pt idx="347">
                    <c:v>Rolling Stdev (30 Minute)</c:v>
                  </c:pt>
                  <c:pt idx="348">
                    <c:v>Rolling Stdev (30 Minute)</c:v>
                  </c:pt>
                  <c:pt idx="349">
                    <c:v>Rolling Stdev (30 Minute)</c:v>
                  </c:pt>
                  <c:pt idx="350">
                    <c:v>Rolling Stdev (30 Minute)</c:v>
                  </c:pt>
                  <c:pt idx="351">
                    <c:v>Rolling Stdev (30 Minute)</c:v>
                  </c:pt>
                  <c:pt idx="352">
                    <c:v>Rolling Stdev (30 Minute)</c:v>
                  </c:pt>
                  <c:pt idx="353">
                    <c:v>Rolling Stdev (30 Minute)</c:v>
                  </c:pt>
                  <c:pt idx="354">
                    <c:v>Rolling Stdev (30 Minute)</c:v>
                  </c:pt>
                  <c:pt idx="355">
                    <c:v>Rolling Stdev (30 Minute)</c:v>
                  </c:pt>
                  <c:pt idx="356">
                    <c:v>Rolling Stdev (30 Minute)</c:v>
                  </c:pt>
                  <c:pt idx="357">
                    <c:v>Rolling Stdev (30 Minute)</c:v>
                  </c:pt>
                  <c:pt idx="358">
                    <c:v>Rolling Stdev (30 Minute)</c:v>
                  </c:pt>
                  <c:pt idx="359">
                    <c:v>Rolling Stdev (30 Minute)</c:v>
                  </c:pt>
                  <c:pt idx="360">
                    <c:v>Rolling Stdev (30 Minute)</c:v>
                  </c:pt>
                  <c:pt idx="361">
                    <c:v>Rolling Stdev (30 Minute)</c:v>
                  </c:pt>
                  <c:pt idx="362">
                    <c:v>Rolling Stdev (30 Minute)</c:v>
                  </c:pt>
                  <c:pt idx="363">
                    <c:v>Rolling Stdev (30 Minute)</c:v>
                  </c:pt>
                  <c:pt idx="364">
                    <c:v>Rolling Stdev (30 Minute)</c:v>
                  </c:pt>
                  <c:pt idx="365">
                    <c:v>Rolling Stdev (30 Minute)</c:v>
                  </c:pt>
                  <c:pt idx="366">
                    <c:v>Rolling Stdev (30 Minute)</c:v>
                  </c:pt>
                  <c:pt idx="367">
                    <c:v>Rolling Stdev (30 Minute)</c:v>
                  </c:pt>
                  <c:pt idx="368">
                    <c:v>Rolling Stdev (30 Minute)</c:v>
                  </c:pt>
                  <c:pt idx="369">
                    <c:v>Rolling Stdev (30 Minute)</c:v>
                  </c:pt>
                  <c:pt idx="370">
                    <c:v>Rolling Stdev (30 Minute)</c:v>
                  </c:pt>
                  <c:pt idx="371">
                    <c:v>Rolling Stdev (30 Minute)</c:v>
                  </c:pt>
                  <c:pt idx="372">
                    <c:v>Rolling Stdev (30 Minute)</c:v>
                  </c:pt>
                  <c:pt idx="373">
                    <c:v>Rolling Stdev (30 Minute)</c:v>
                  </c:pt>
                  <c:pt idx="374">
                    <c:v>Rolling Stdev (30 Minute)</c:v>
                  </c:pt>
                  <c:pt idx="375">
                    <c:v>Rolling Stdev (30 Minute)</c:v>
                  </c:pt>
                  <c:pt idx="376">
                    <c:v>Rolling Stdev (30 Minute)</c:v>
                  </c:pt>
                  <c:pt idx="377">
                    <c:v>Rolling Stdev (30 Minute)</c:v>
                  </c:pt>
                  <c:pt idx="378">
                    <c:v>Rolling Stdev (30 Minute)</c:v>
                  </c:pt>
                  <c:pt idx="379">
                    <c:v>Rolling Stdev (30 Minute)</c:v>
                  </c:pt>
                  <c:pt idx="380">
                    <c:v>Rolling Stdev (30 Minute)</c:v>
                  </c:pt>
                  <c:pt idx="381">
                    <c:v>Rolling Stdev (30 Minute)</c:v>
                  </c:pt>
                  <c:pt idx="382">
                    <c:v>Rolling Stdev (30 Minute)</c:v>
                  </c:pt>
                  <c:pt idx="383">
                    <c:v>Rolling Stdev (30 Minute)</c:v>
                  </c:pt>
                  <c:pt idx="384">
                    <c:v>Rolling Stdev (30 Minute)</c:v>
                  </c:pt>
                  <c:pt idx="385">
                    <c:v>Rolling Stdev (30 Minute)</c:v>
                  </c:pt>
                  <c:pt idx="386">
                    <c:v>Rolling Stdev (30 Minute)</c:v>
                  </c:pt>
                  <c:pt idx="387">
                    <c:v>Rolling Stdev (30 Minute)</c:v>
                  </c:pt>
                  <c:pt idx="388">
                    <c:v>Rolling Stdev (30 Minute)</c:v>
                  </c:pt>
                  <c:pt idx="389">
                    <c:v>Rolling Stdev (30 Minute)</c:v>
                  </c:pt>
                  <c:pt idx="390">
                    <c:v>Rolling Stdev (30 Minute)</c:v>
                  </c:pt>
                  <c:pt idx="391">
                    <c:v>Rolling Stdev (30 Minute)</c:v>
                  </c:pt>
                  <c:pt idx="392">
                    <c:v>Rolling Stdev (30 Minute)</c:v>
                  </c:pt>
                  <c:pt idx="393">
                    <c:v>Rolling Stdev (30 Minute)</c:v>
                  </c:pt>
                  <c:pt idx="394">
                    <c:v>Rolling Stdev (30 Minute)</c:v>
                  </c:pt>
                  <c:pt idx="395">
                    <c:v>Rolling Stdev (30 Minute)</c:v>
                  </c:pt>
                  <c:pt idx="396">
                    <c:v>Rolling Stdev (30 Minute)</c:v>
                  </c:pt>
                  <c:pt idx="397">
                    <c:v>Rolling Stdev (30 Minute)</c:v>
                  </c:pt>
                  <c:pt idx="398">
                    <c:v>Rolling Stdev (30 Minute)</c:v>
                  </c:pt>
                  <c:pt idx="399">
                    <c:v>Rolling Stdev (30 Minute)</c:v>
                  </c:pt>
                  <c:pt idx="400">
                    <c:v>Rolling Stdev (30 Minute)</c:v>
                  </c:pt>
                  <c:pt idx="401">
                    <c:v>Rolling Stdev (30 Minute)</c:v>
                  </c:pt>
                  <c:pt idx="402">
                    <c:v>Rolling Stdev (30 Minute)</c:v>
                  </c:pt>
                  <c:pt idx="403">
                    <c:v>Rolling Stdev (30 Minute)</c:v>
                  </c:pt>
                  <c:pt idx="404">
                    <c:v>Rolling Stdev (30 Minute)</c:v>
                  </c:pt>
                  <c:pt idx="405">
                    <c:v>Rolling Stdev (30 Minute)</c:v>
                  </c:pt>
                  <c:pt idx="406">
                    <c:v>Rolling Stdev (30 Minute)</c:v>
                  </c:pt>
                  <c:pt idx="407">
                    <c:v>Rolling Stdev (30 Minute)</c:v>
                  </c:pt>
                  <c:pt idx="408">
                    <c:v>Rolling Stdev (30 Minute)</c:v>
                  </c:pt>
                  <c:pt idx="409">
                    <c:v>Rolling Stdev (30 Minute)</c:v>
                  </c:pt>
                  <c:pt idx="410">
                    <c:v>Rolling Stdev (30 Minute)</c:v>
                  </c:pt>
                  <c:pt idx="411">
                    <c:v>Rolling Stdev (30 Minute)</c:v>
                  </c:pt>
                  <c:pt idx="412">
                    <c:v>Rolling Stdev (30 Minute)</c:v>
                  </c:pt>
                  <c:pt idx="413">
                    <c:v>Rolling Stdev (30 Minute)</c:v>
                  </c:pt>
                  <c:pt idx="414">
                    <c:v>Rolling Stdev (30 Minute)</c:v>
                  </c:pt>
                  <c:pt idx="415">
                    <c:v>Rolling Stdev (30 Minute)</c:v>
                  </c:pt>
                  <c:pt idx="416">
                    <c:v>Rolling Stdev (30 Minute)</c:v>
                  </c:pt>
                  <c:pt idx="417">
                    <c:v>Rolling Stdev (30 Minute)</c:v>
                  </c:pt>
                  <c:pt idx="418">
                    <c:v>Rolling Stdev (30 Minute)</c:v>
                  </c:pt>
                  <c:pt idx="419">
                    <c:v>Rolling Stdev (30 Minute)</c:v>
                  </c:pt>
                  <c:pt idx="420">
                    <c:v>Rolling Stdev (30 Minute)</c:v>
                  </c:pt>
                  <c:pt idx="421">
                    <c:v>Rolling Stdev (30 Minute)</c:v>
                  </c:pt>
                  <c:pt idx="422">
                    <c:v>Rolling Stdev (30 Minute)</c:v>
                  </c:pt>
                  <c:pt idx="423">
                    <c:v>Rolling Stdev (30 Minute)</c:v>
                  </c:pt>
                  <c:pt idx="424">
                    <c:v>Rolling Stdev (30 Minute)</c:v>
                  </c:pt>
                  <c:pt idx="425">
                    <c:v>Rolling Stdev (30 Minute)</c:v>
                  </c:pt>
                  <c:pt idx="426">
                    <c:v>Rolling Stdev (30 Minute)</c:v>
                  </c:pt>
                  <c:pt idx="427">
                    <c:v>Rolling Stdev (30 Minute)</c:v>
                  </c:pt>
                  <c:pt idx="428">
                    <c:v>Rolling Stdev (30 Minute)</c:v>
                  </c:pt>
                  <c:pt idx="429">
                    <c:v>Rolling Stdev (30 Minute)</c:v>
                  </c:pt>
                  <c:pt idx="430">
                    <c:v>Rolling Stdev (30 Minute)</c:v>
                  </c:pt>
                  <c:pt idx="431">
                    <c:v>Rolling Stdev (30 Minute)</c:v>
                  </c:pt>
                  <c:pt idx="432">
                    <c:v>Rolling Stdev (30 Minute)</c:v>
                  </c:pt>
                  <c:pt idx="433">
                    <c:v>Rolling Stdev (30 Minute)</c:v>
                  </c:pt>
                  <c:pt idx="434">
                    <c:v>Rolling Stdev (30 Minute)</c:v>
                  </c:pt>
                  <c:pt idx="435">
                    <c:v>Rolling Stdev (30 Minute)</c:v>
                  </c:pt>
                  <c:pt idx="436">
                    <c:v>Rolling Stdev (30 Minute)</c:v>
                  </c:pt>
                  <c:pt idx="437">
                    <c:v>Rolling Stdev (30 Minute)</c:v>
                  </c:pt>
                  <c:pt idx="438">
                    <c:v>Rolling Stdev (30 Minute)</c:v>
                  </c:pt>
                  <c:pt idx="439">
                    <c:v>Rolling Stdev (30 Minute)</c:v>
                  </c:pt>
                  <c:pt idx="440">
                    <c:v>Rolling Stdev (30 Minute)</c:v>
                  </c:pt>
                  <c:pt idx="441">
                    <c:v>Rolling Stdev (30 Minute)</c:v>
                  </c:pt>
                  <c:pt idx="442">
                    <c:v>Rolling Stdev (30 Minute)</c:v>
                  </c:pt>
                  <c:pt idx="443">
                    <c:v>Rolling Stdev (30 Minute)</c:v>
                  </c:pt>
                  <c:pt idx="444">
                    <c:v>Rolling Stdev (30 Minute)</c:v>
                  </c:pt>
                  <c:pt idx="445">
                    <c:v>Rolling Stdev (30 Minute)</c:v>
                  </c:pt>
                  <c:pt idx="446">
                    <c:v>Rolling Stdev (30 Minute)</c:v>
                  </c:pt>
                  <c:pt idx="447">
                    <c:v>Rolling Stdev (30 Minute)</c:v>
                  </c:pt>
                  <c:pt idx="448">
                    <c:v>Rolling Stdev (30 Minute)</c:v>
                  </c:pt>
                  <c:pt idx="449">
                    <c:v>Rolling Stdev (30 Minute)</c:v>
                  </c:pt>
                  <c:pt idx="450">
                    <c:v>Rolling Stdev (30 Minute)</c:v>
                  </c:pt>
                  <c:pt idx="451">
                    <c:v>Rolling Stdev (30 Minute)</c:v>
                  </c:pt>
                  <c:pt idx="452">
                    <c:v>Rolling Stdev (30 Minute)</c:v>
                  </c:pt>
                  <c:pt idx="453">
                    <c:v>Rolling Stdev (30 Minute)</c:v>
                  </c:pt>
                  <c:pt idx="454">
                    <c:v>Rolling Stdev (30 Minute)</c:v>
                  </c:pt>
                  <c:pt idx="455">
                    <c:v>Rolling Stdev (30 Minute)</c:v>
                  </c:pt>
                  <c:pt idx="456">
                    <c:v>Rolling Stdev (30 Minute)</c:v>
                  </c:pt>
                  <c:pt idx="457">
                    <c:v>Rolling Stdev (30 Minute)</c:v>
                  </c:pt>
                  <c:pt idx="458">
                    <c:v>Rolling Stdev (30 Minute)</c:v>
                  </c:pt>
                  <c:pt idx="459">
                    <c:v>Rolling Stdev (30 Minute)</c:v>
                  </c:pt>
                  <c:pt idx="460">
                    <c:v>Rolling Stdev (30 Minute)</c:v>
                  </c:pt>
                  <c:pt idx="461">
                    <c:v>Rolling Stdev (30 Minute)</c:v>
                  </c:pt>
                  <c:pt idx="462">
                    <c:v>Rolling Stdev (30 Minute)</c:v>
                  </c:pt>
                  <c:pt idx="463">
                    <c:v>Rolling Stdev (30 Minute)</c:v>
                  </c:pt>
                  <c:pt idx="464">
                    <c:v>Rolling Stdev (30 Minute)</c:v>
                  </c:pt>
                  <c:pt idx="465">
                    <c:v>Rolling Stdev (30 Minute)</c:v>
                  </c:pt>
                  <c:pt idx="466">
                    <c:v>Rolling Stdev (30 Minute)</c:v>
                  </c:pt>
                  <c:pt idx="467">
                    <c:v>Rolling Stdev (30 Minute)</c:v>
                  </c:pt>
                  <c:pt idx="468">
                    <c:v>Rolling Stdev (30 Minute)</c:v>
                  </c:pt>
                  <c:pt idx="469">
                    <c:v>Rolling Stdev (30 Minute)</c:v>
                  </c:pt>
                  <c:pt idx="470">
                    <c:v>Rolling Stdev (30 Minute)</c:v>
                  </c:pt>
                  <c:pt idx="471">
                    <c:v>Rolling Stdev (30 Minute)</c:v>
                  </c:pt>
                  <c:pt idx="472">
                    <c:v>Rolling Stdev (30 Minute)</c:v>
                  </c:pt>
                  <c:pt idx="473">
                    <c:v>Rolling Stdev (30 Minute)</c:v>
                  </c:pt>
                  <c:pt idx="474">
                    <c:v>Rolling Stdev (30 Minute)</c:v>
                  </c:pt>
                  <c:pt idx="475">
                    <c:v>Rolling Stdev (30 Minute)</c:v>
                  </c:pt>
                  <c:pt idx="476">
                    <c:v>Rolling Stdev (30 Minute)</c:v>
                  </c:pt>
                  <c:pt idx="477">
                    <c:v>Rolling Stdev (30 Minute)</c:v>
                  </c:pt>
                  <c:pt idx="478">
                    <c:v>Rolling Stdev (30 Minute)</c:v>
                  </c:pt>
                  <c:pt idx="479">
                    <c:v>Rolling Stdev (30 Minute)</c:v>
                  </c:pt>
                  <c:pt idx="480">
                    <c:v>Rolling Stdev (30 Minute)</c:v>
                  </c:pt>
                  <c:pt idx="481">
                    <c:v>Rolling Stdev (30 Minute)</c:v>
                  </c:pt>
                  <c:pt idx="482">
                    <c:v>Rolling Stdev (30 Minute)</c:v>
                  </c:pt>
                  <c:pt idx="483">
                    <c:v>Rolling Stdev (30 Minute)</c:v>
                  </c:pt>
                  <c:pt idx="484">
                    <c:v>Rolling Stdev (30 Minute)</c:v>
                  </c:pt>
                  <c:pt idx="485">
                    <c:v>Rolling Stdev (30 Minute)</c:v>
                  </c:pt>
                  <c:pt idx="486">
                    <c:v>Rolling Stdev (30 Minute)</c:v>
                  </c:pt>
                  <c:pt idx="487">
                    <c:v>Rolling Stdev (30 Minute)</c:v>
                  </c:pt>
                  <c:pt idx="488">
                    <c:v>Rolling Stdev (30 Minute)</c:v>
                  </c:pt>
                  <c:pt idx="489">
                    <c:v>Rolling Stdev (30 Minute)</c:v>
                  </c:pt>
                  <c:pt idx="490">
                    <c:v>Rolling Stdev (30 Minute)</c:v>
                  </c:pt>
                  <c:pt idx="491">
                    <c:v>Rolling Stdev (30 Minute)</c:v>
                  </c:pt>
                  <c:pt idx="492">
                    <c:v>Rolling Stdev (30 Minute)</c:v>
                  </c:pt>
                  <c:pt idx="493">
                    <c:v>Rolling Stdev (30 Minute)</c:v>
                  </c:pt>
                  <c:pt idx="494">
                    <c:v>Rolling Stdev (30 Minute)</c:v>
                  </c:pt>
                  <c:pt idx="495">
                    <c:v>Rolling Stdev (30 Minute)</c:v>
                  </c:pt>
                  <c:pt idx="496">
                    <c:v>Rolling Stdev (30 Minute)</c:v>
                  </c:pt>
                  <c:pt idx="497">
                    <c:v>Rolling Stdev (30 Minute)</c:v>
                  </c:pt>
                  <c:pt idx="498">
                    <c:v>Rolling Stdev (30 Minute)</c:v>
                  </c:pt>
                  <c:pt idx="499">
                    <c:v>Rolling Stdev (30 Minute)</c:v>
                  </c:pt>
                  <c:pt idx="500">
                    <c:v>Rolling Stdev (30 Minute)</c:v>
                  </c:pt>
                  <c:pt idx="501">
                    <c:v>Rolling Stdev (30 Minute)</c:v>
                  </c:pt>
                  <c:pt idx="502">
                    <c:v>Rolling Stdev (30 Minute)</c:v>
                  </c:pt>
                  <c:pt idx="503">
                    <c:v>Rolling Stdev (30 Minute)</c:v>
                  </c:pt>
                  <c:pt idx="504">
                    <c:v>Rolling Stdev (30 Minute)</c:v>
                  </c:pt>
                  <c:pt idx="505">
                    <c:v>Rolling Stdev (30 Minute)</c:v>
                  </c:pt>
                  <c:pt idx="506">
                    <c:v>Rolling Stdev (30 Minute)</c:v>
                  </c:pt>
                  <c:pt idx="507">
                    <c:v>Rolling Stdev (30 Minute)</c:v>
                  </c:pt>
                  <c:pt idx="508">
                    <c:v>Rolling Stdev (30 Minute)</c:v>
                  </c:pt>
                  <c:pt idx="509">
                    <c:v>Rolling Stdev (30 Minute)</c:v>
                  </c:pt>
                  <c:pt idx="510">
                    <c:v>Rolling Stdev (30 Minute)</c:v>
                  </c:pt>
                  <c:pt idx="511">
                    <c:v>Rolling Stdev (30 Minute)</c:v>
                  </c:pt>
                  <c:pt idx="512">
                    <c:v>Rolling Stdev (30 Minute)</c:v>
                  </c:pt>
                  <c:pt idx="513">
                    <c:v>Rolling Stdev (30 Minute)</c:v>
                  </c:pt>
                  <c:pt idx="514">
                    <c:v>Rolling Stdev (30 Minute)</c:v>
                  </c:pt>
                  <c:pt idx="515">
                    <c:v>Rolling Stdev (30 Minute)</c:v>
                  </c:pt>
                  <c:pt idx="516">
                    <c:v>Rolling Stdev (30 Minute)</c:v>
                  </c:pt>
                  <c:pt idx="517">
                    <c:v>Rolling Stdev (30 Minute)</c:v>
                  </c:pt>
                  <c:pt idx="518">
                    <c:v>Rolling Stdev (30 Minute)</c:v>
                  </c:pt>
                  <c:pt idx="519">
                    <c:v>Rolling Stdev (30 Minute)</c:v>
                  </c:pt>
                  <c:pt idx="520">
                    <c:v>Rolling Stdev (30 Minute)</c:v>
                  </c:pt>
                  <c:pt idx="521">
                    <c:v>Rolling Stdev (30 Minute)</c:v>
                  </c:pt>
                  <c:pt idx="522">
                    <c:v>Rolling Stdev (30 Minute)</c:v>
                  </c:pt>
                  <c:pt idx="523">
                    <c:v>Rolling Stdev (30 Minute)</c:v>
                  </c:pt>
                  <c:pt idx="524">
                    <c:v>Rolling Stdev (30 Minute)</c:v>
                  </c:pt>
                  <c:pt idx="525">
                    <c:v>Rolling Stdev (30 Minute)</c:v>
                  </c:pt>
                  <c:pt idx="526">
                    <c:v>Rolling Stdev (30 Minute)</c:v>
                  </c:pt>
                  <c:pt idx="527">
                    <c:v>Rolling Stdev (30 Minute)</c:v>
                  </c:pt>
                  <c:pt idx="528">
                    <c:v>Rolling Stdev (30 Minute)</c:v>
                  </c:pt>
                  <c:pt idx="529">
                    <c:v>Rolling Stdev (30 Minute)</c:v>
                  </c:pt>
                  <c:pt idx="530">
                    <c:v>Rolling Stdev (30 Minute)</c:v>
                  </c:pt>
                  <c:pt idx="531">
                    <c:v>Rolling Stdev (30 Minute)</c:v>
                  </c:pt>
                  <c:pt idx="532">
                    <c:v>Rolling Stdev (30 Minute)</c:v>
                  </c:pt>
                  <c:pt idx="533">
                    <c:v>Rolling Stdev (30 Minute)</c:v>
                  </c:pt>
                  <c:pt idx="534">
                    <c:v>Rolling Stdev (30 Minute)</c:v>
                  </c:pt>
                  <c:pt idx="535">
                    <c:v>Rolling Stdev (30 Minute)</c:v>
                  </c:pt>
                  <c:pt idx="536">
                    <c:v>Rolling Stdev (30 Minute)</c:v>
                  </c:pt>
                  <c:pt idx="537">
                    <c:v>Rolling Stdev (30 Minute)</c:v>
                  </c:pt>
                  <c:pt idx="538">
                    <c:v>Rolling Stdev (30 Minute)</c:v>
                  </c:pt>
                  <c:pt idx="539">
                    <c:v>Rolling Stdev (30 Minute)</c:v>
                  </c:pt>
                  <c:pt idx="540">
                    <c:v>Rolling Stdev (30 Minute)</c:v>
                  </c:pt>
                  <c:pt idx="541">
                    <c:v>Rolling Stdev (30 Minute)</c:v>
                  </c:pt>
                  <c:pt idx="542">
                    <c:v>Rolling Stdev (30 Minute)</c:v>
                  </c:pt>
                  <c:pt idx="543">
                    <c:v>Rolling Stdev (30 Minute)</c:v>
                  </c:pt>
                  <c:pt idx="544">
                    <c:v>Rolling Stdev (30 Minute)</c:v>
                  </c:pt>
                  <c:pt idx="545">
                    <c:v>Rolling Stdev (30 Minute)</c:v>
                  </c:pt>
                  <c:pt idx="546">
                    <c:v>Rolling Stdev (30 Minute)</c:v>
                  </c:pt>
                  <c:pt idx="547">
                    <c:v>Rolling Stdev (30 Minute)</c:v>
                  </c:pt>
                  <c:pt idx="548">
                    <c:v>Rolling Stdev (30 Minute)</c:v>
                  </c:pt>
                  <c:pt idx="549">
                    <c:v>Rolling Stdev (30 Minute)</c:v>
                  </c:pt>
                  <c:pt idx="550">
                    <c:v>Rolling Stdev (30 Minute)</c:v>
                  </c:pt>
                  <c:pt idx="551">
                    <c:v>Rolling Stdev (30 Minute)</c:v>
                  </c:pt>
                  <c:pt idx="552">
                    <c:v>Rolling Stdev (30 Minute)</c:v>
                  </c:pt>
                  <c:pt idx="553">
                    <c:v>Rolling Stdev (30 Minute)</c:v>
                  </c:pt>
                  <c:pt idx="554">
                    <c:v>Rolling Stdev (30 Minute)</c:v>
                  </c:pt>
                  <c:pt idx="555">
                    <c:v>Rolling Stdev (30 Minute)</c:v>
                  </c:pt>
                  <c:pt idx="556">
                    <c:v>Rolling Stdev (30 Minute)</c:v>
                  </c:pt>
                  <c:pt idx="557">
                    <c:v>Rolling Stdev (30 Minute)</c:v>
                  </c:pt>
                  <c:pt idx="558">
                    <c:v>Rolling Stdev (30 Minute)</c:v>
                  </c:pt>
                  <c:pt idx="559">
                    <c:v>Rolling Stdev (30 Minute)</c:v>
                  </c:pt>
                  <c:pt idx="560">
                    <c:v>Rolling Stdev (30 Minute)</c:v>
                  </c:pt>
                  <c:pt idx="561">
                    <c:v>Rolling Stdev (30 Minute)</c:v>
                  </c:pt>
                  <c:pt idx="562">
                    <c:v>Rolling Stdev (30 Minute)</c:v>
                  </c:pt>
                  <c:pt idx="563">
                    <c:v>Rolling Stdev (30 Minute)</c:v>
                  </c:pt>
                  <c:pt idx="564">
                    <c:v>Rolling Stdev (30 Minute)</c:v>
                  </c:pt>
                  <c:pt idx="565">
                    <c:v>Rolling Stdev (30 Minute)</c:v>
                  </c:pt>
                  <c:pt idx="566">
                    <c:v>Rolling Stdev (30 Minute)</c:v>
                  </c:pt>
                  <c:pt idx="567">
                    <c:v>Rolling Stdev (30 Minute)</c:v>
                  </c:pt>
                  <c:pt idx="568">
                    <c:v>Rolling Stdev (30 Minute)</c:v>
                  </c:pt>
                  <c:pt idx="569">
                    <c:v>Rolling Stdev (30 Minute)</c:v>
                  </c:pt>
                  <c:pt idx="570">
                    <c:v>Rolling Stdev (30 Minute)</c:v>
                  </c:pt>
                  <c:pt idx="571">
                    <c:v>Rolling Stdev (30 Minute)</c:v>
                  </c:pt>
                  <c:pt idx="572">
                    <c:v>Rolling Stdev (30 Minute)</c:v>
                  </c:pt>
                  <c:pt idx="573">
                    <c:v>Rolling Stdev (30 Minute)</c:v>
                  </c:pt>
                  <c:pt idx="574">
                    <c:v>Rolling Stdev (30 Minute)</c:v>
                  </c:pt>
                  <c:pt idx="575">
                    <c:v>Rolling Stdev (30 Minute)</c:v>
                  </c:pt>
                  <c:pt idx="576">
                    <c:v>Rolling Stdev (30 Minute)</c:v>
                  </c:pt>
                  <c:pt idx="577">
                    <c:v>Rolling Stdev (30 Minute)</c:v>
                  </c:pt>
                  <c:pt idx="578">
                    <c:v>Rolling Stdev (30 Minute)</c:v>
                  </c:pt>
                  <c:pt idx="579">
                    <c:v>Rolling Stdev (30 Minute)</c:v>
                  </c:pt>
                  <c:pt idx="580">
                    <c:v>Rolling Stdev (30 Minute)</c:v>
                  </c:pt>
                  <c:pt idx="581">
                    <c:v>Rolling Stdev (30 Minute)</c:v>
                  </c:pt>
                  <c:pt idx="582">
                    <c:v>Rolling Stdev (30 Minute)</c:v>
                  </c:pt>
                  <c:pt idx="583">
                    <c:v>Rolling Stdev (30 Minute)</c:v>
                  </c:pt>
                  <c:pt idx="584">
                    <c:v>Rolling Stdev (30 Minute)</c:v>
                  </c:pt>
                  <c:pt idx="585">
                    <c:v>Rolling Stdev (30 Minute)</c:v>
                  </c:pt>
                  <c:pt idx="586">
                    <c:v>Rolling Stdev (30 Minute)</c:v>
                  </c:pt>
                  <c:pt idx="587">
                    <c:v>Rolling Stdev (30 Minute)</c:v>
                  </c:pt>
                  <c:pt idx="588">
                    <c:v>Rolling Stdev (30 Minute)</c:v>
                  </c:pt>
                  <c:pt idx="589">
                    <c:v>Rolling Stdev (30 Minute)</c:v>
                  </c:pt>
                  <c:pt idx="590">
                    <c:v>Rolling Stdev (30 Minute)</c:v>
                  </c:pt>
                  <c:pt idx="591">
                    <c:v>Rolling Stdev (30 Minute)</c:v>
                  </c:pt>
                  <c:pt idx="592">
                    <c:v>Rolling Stdev (30 Minute)</c:v>
                  </c:pt>
                  <c:pt idx="593">
                    <c:v>Rolling Stdev (30 Minute)</c:v>
                  </c:pt>
                  <c:pt idx="594">
                    <c:v>Rolling Stdev (30 Minute)</c:v>
                  </c:pt>
                  <c:pt idx="595">
                    <c:v>Rolling Stdev (30 Minute)</c:v>
                  </c:pt>
                  <c:pt idx="596">
                    <c:v>Rolling Stdev (30 Minute)</c:v>
                  </c:pt>
                  <c:pt idx="597">
                    <c:v>Rolling Stdev (30 Minute)</c:v>
                  </c:pt>
                  <c:pt idx="598">
                    <c:v>Rolling Stdev (30 Minute)</c:v>
                  </c:pt>
                  <c:pt idx="599">
                    <c:v>Rolling Stdev (30 Minute)</c:v>
                  </c:pt>
                  <c:pt idx="600">
                    <c:v>Rolling Stdev (30 Minute)</c:v>
                  </c:pt>
                  <c:pt idx="601">
                    <c:v>Rolling Stdev (30 Minute)</c:v>
                  </c:pt>
                  <c:pt idx="602">
                    <c:v>Rolling Stdev (30 Minute)</c:v>
                  </c:pt>
                  <c:pt idx="603">
                    <c:v>Rolling Stdev (30 Minute)</c:v>
                  </c:pt>
                  <c:pt idx="604">
                    <c:v>Rolling Stdev (30 Minute)</c:v>
                  </c:pt>
                  <c:pt idx="605">
                    <c:v>Rolling Stdev (30 Minute)</c:v>
                  </c:pt>
                  <c:pt idx="606">
                    <c:v>Rolling Stdev (30 Minute)</c:v>
                  </c:pt>
                  <c:pt idx="607">
                    <c:v>Rolling Stdev (30 Minute)</c:v>
                  </c:pt>
                  <c:pt idx="608">
                    <c:v>Rolling Stdev (30 Minute)</c:v>
                  </c:pt>
                  <c:pt idx="609">
                    <c:v>Rolling Stdev (30 Minute)</c:v>
                  </c:pt>
                  <c:pt idx="610">
                    <c:v>Rolling Stdev (30 Minute)</c:v>
                  </c:pt>
                  <c:pt idx="611">
                    <c:v>Rolling Stdev (30 Minute)</c:v>
                  </c:pt>
                  <c:pt idx="612">
                    <c:v>Rolling Stdev (30 Minute)</c:v>
                  </c:pt>
                  <c:pt idx="613">
                    <c:v>Rolling Stdev (30 Minute)</c:v>
                  </c:pt>
                  <c:pt idx="614">
                    <c:v>Rolling Stdev (30 Minute)</c:v>
                  </c:pt>
                  <c:pt idx="615">
                    <c:v>Rolling Stdev (30 Minute)</c:v>
                  </c:pt>
                  <c:pt idx="616">
                    <c:v>Rolling Stdev (30 Minute)</c:v>
                  </c:pt>
                  <c:pt idx="617">
                    <c:v>Rolling Stdev (30 Minute)</c:v>
                  </c:pt>
                  <c:pt idx="618">
                    <c:v>Rolling Stdev (30 Minute)</c:v>
                  </c:pt>
                  <c:pt idx="619">
                    <c:v>Rolling Stdev (30 Minute)</c:v>
                  </c:pt>
                  <c:pt idx="620">
                    <c:v>Rolling Stdev (30 Minute)</c:v>
                  </c:pt>
                  <c:pt idx="621">
                    <c:v>Rolling Stdev (30 Minute)</c:v>
                  </c:pt>
                  <c:pt idx="622">
                    <c:v>Rolling Stdev (30 Minute)</c:v>
                  </c:pt>
                  <c:pt idx="623">
                    <c:v>Rolling Stdev (30 Minute)</c:v>
                  </c:pt>
                  <c:pt idx="624">
                    <c:v>Rolling Stdev (30 Minute)</c:v>
                  </c:pt>
                  <c:pt idx="625">
                    <c:v>Rolling Stdev (30 Minute)</c:v>
                  </c:pt>
                  <c:pt idx="626">
                    <c:v>Rolling Stdev (30 Minute)</c:v>
                  </c:pt>
                  <c:pt idx="627">
                    <c:v>Rolling Stdev (30 Minute)</c:v>
                  </c:pt>
                  <c:pt idx="628">
                    <c:v>Rolling Stdev (30 Minute)</c:v>
                  </c:pt>
                  <c:pt idx="629">
                    <c:v>Rolling Stdev (30 Minute)</c:v>
                  </c:pt>
                  <c:pt idx="630">
                    <c:v>Rolling Stdev (30 Minute)</c:v>
                  </c:pt>
                  <c:pt idx="631">
                    <c:v>Rolling Stdev (30 Minute)</c:v>
                  </c:pt>
                  <c:pt idx="632">
                    <c:v>Rolling Stdev (30 Minute)</c:v>
                  </c:pt>
                  <c:pt idx="633">
                    <c:v>Rolling Stdev (30 Minute)</c:v>
                  </c:pt>
                  <c:pt idx="634">
                    <c:v>Rolling Stdev (30 Minute)</c:v>
                  </c:pt>
                  <c:pt idx="635">
                    <c:v>Rolling Stdev (30 Minute)</c:v>
                  </c:pt>
                  <c:pt idx="636">
                    <c:v>Rolling Stdev (30 Minute)</c:v>
                  </c:pt>
                  <c:pt idx="637">
                    <c:v>Rolling Stdev (30 Minute)</c:v>
                  </c:pt>
                  <c:pt idx="638">
                    <c:v>Rolling Stdev (30 Minute)</c:v>
                  </c:pt>
                  <c:pt idx="639">
                    <c:v>Rolling Stdev (30 Minute)</c:v>
                  </c:pt>
                  <c:pt idx="640">
                    <c:v>Rolling Stdev (30 Minute)</c:v>
                  </c:pt>
                  <c:pt idx="641">
                    <c:v>Rolling Stdev (30 Minute)</c:v>
                  </c:pt>
                  <c:pt idx="642">
                    <c:v>Rolling Stdev (30 Minute)</c:v>
                  </c:pt>
                  <c:pt idx="643">
                    <c:v>Rolling Stdev (30 Minute)</c:v>
                  </c:pt>
                  <c:pt idx="644">
                    <c:v>Rolling Stdev (30 Minute)</c:v>
                  </c:pt>
                  <c:pt idx="645">
                    <c:v>Rolling Stdev (30 Minute)</c:v>
                  </c:pt>
                  <c:pt idx="646">
                    <c:v>Rolling Stdev (30 Minute)</c:v>
                  </c:pt>
                  <c:pt idx="647">
                    <c:v>Rolling Stdev (30 Minute)</c:v>
                  </c:pt>
                  <c:pt idx="648">
                    <c:v>Rolling Stdev (30 Minute)</c:v>
                  </c:pt>
                  <c:pt idx="649">
                    <c:v>Rolling Stdev (30 Minute)</c:v>
                  </c:pt>
                  <c:pt idx="650">
                    <c:v>Rolling Stdev (30 Minute)</c:v>
                  </c:pt>
                  <c:pt idx="651">
                    <c:v>Rolling Stdev (30 Minute)</c:v>
                  </c:pt>
                  <c:pt idx="652">
                    <c:v>Rolling Stdev (30 Minute)</c:v>
                  </c:pt>
                  <c:pt idx="653">
                    <c:v>Rolling Stdev (30 Minute)</c:v>
                  </c:pt>
                  <c:pt idx="654">
                    <c:v>Rolling Stdev (30 Minute)</c:v>
                  </c:pt>
                  <c:pt idx="655">
                    <c:v>Rolling Stdev (30 Minute)</c:v>
                  </c:pt>
                  <c:pt idx="656">
                    <c:v>Rolling Stdev (30 Minute)</c:v>
                  </c:pt>
                  <c:pt idx="657">
                    <c:v>Rolling Stdev (30 Minute)</c:v>
                  </c:pt>
                  <c:pt idx="658">
                    <c:v>Rolling Stdev (30 Minute)</c:v>
                  </c:pt>
                  <c:pt idx="659">
                    <c:v>Rolling Stdev (30 Minute)</c:v>
                  </c:pt>
                  <c:pt idx="660">
                    <c:v>Rolling Stdev (30 Minute)</c:v>
                  </c:pt>
                  <c:pt idx="661">
                    <c:v>Rolling Stdev (30 Minute)</c:v>
                  </c:pt>
                  <c:pt idx="662">
                    <c:v>Rolling Stdev (30 Minute)</c:v>
                  </c:pt>
                  <c:pt idx="663">
                    <c:v>Rolling Stdev (30 Minute)</c:v>
                  </c:pt>
                  <c:pt idx="664">
                    <c:v>Rolling Stdev (30 Minute)</c:v>
                  </c:pt>
                  <c:pt idx="665">
                    <c:v>Rolling Stdev (30 Minute)</c:v>
                  </c:pt>
                  <c:pt idx="666">
                    <c:v>Rolling Stdev (30 Minute)</c:v>
                  </c:pt>
                  <c:pt idx="667">
                    <c:v>Rolling Stdev (30 Minute)</c:v>
                  </c:pt>
                  <c:pt idx="668">
                    <c:v>Rolling Stdev (30 Minute)</c:v>
                  </c:pt>
                  <c:pt idx="669">
                    <c:v>Rolling Stdev (30 Minute)</c:v>
                  </c:pt>
                  <c:pt idx="670">
                    <c:v>Rolling Stdev (30 Minute)</c:v>
                  </c:pt>
                  <c:pt idx="671">
                    <c:v>Rolling Stdev (30 Minute)</c:v>
                  </c:pt>
                  <c:pt idx="672">
                    <c:v>Rolling Stdev (30 Minute)</c:v>
                  </c:pt>
                  <c:pt idx="673">
                    <c:v>Rolling Stdev (30 Minute)</c:v>
                  </c:pt>
                  <c:pt idx="674">
                    <c:v>Rolling Stdev (30 Minute)</c:v>
                  </c:pt>
                  <c:pt idx="675">
                    <c:v>Rolling Stdev (30 Minute)</c:v>
                  </c:pt>
                  <c:pt idx="676">
                    <c:v>Rolling Stdev (30 Minute)</c:v>
                  </c:pt>
                  <c:pt idx="677">
                    <c:v>Rolling Stdev (30 Minute)</c:v>
                  </c:pt>
                  <c:pt idx="678">
                    <c:v>Rolling Stdev (30 Minute)</c:v>
                  </c:pt>
                  <c:pt idx="679">
                    <c:v>Rolling Stdev (30 Minute)</c:v>
                  </c:pt>
                  <c:pt idx="680">
                    <c:v>Rolling Stdev (30 Minute)</c:v>
                  </c:pt>
                  <c:pt idx="681">
                    <c:v>Rolling Stdev (30 Minute)</c:v>
                  </c:pt>
                  <c:pt idx="682">
                    <c:v>Rolling Stdev (30 Minute)</c:v>
                  </c:pt>
                  <c:pt idx="683">
                    <c:v>Rolling Stdev (30 Minute)</c:v>
                  </c:pt>
                  <c:pt idx="684">
                    <c:v>Rolling Stdev (30 Minute)</c:v>
                  </c:pt>
                  <c:pt idx="685">
                    <c:v>Rolling Stdev (30 Minute)</c:v>
                  </c:pt>
                  <c:pt idx="686">
                    <c:v>Rolling Stdev (30 Minute)</c:v>
                  </c:pt>
                  <c:pt idx="687">
                    <c:v>Rolling Stdev (30 Minute)</c:v>
                  </c:pt>
                  <c:pt idx="688">
                    <c:v>Rolling Stdev (30 Minute)</c:v>
                  </c:pt>
                  <c:pt idx="689">
                    <c:v>Rolling Stdev (30 Minute)</c:v>
                  </c:pt>
                  <c:pt idx="690">
                    <c:v>Rolling Stdev (30 Minute)</c:v>
                  </c:pt>
                  <c:pt idx="691">
                    <c:v>Rolling Stdev (30 Minute)</c:v>
                  </c:pt>
                  <c:pt idx="692">
                    <c:v>Rolling Stdev (30 Minute)</c:v>
                  </c:pt>
                  <c:pt idx="693">
                    <c:v>Rolling Stdev (30 Minute)</c:v>
                  </c:pt>
                  <c:pt idx="694">
                    <c:v>Rolling Stdev (30 Minute)</c:v>
                  </c:pt>
                  <c:pt idx="695">
                    <c:v>Rolling Stdev (30 Minute)</c:v>
                  </c:pt>
                  <c:pt idx="696">
                    <c:v>Rolling Stdev (30 Minute)</c:v>
                  </c:pt>
                  <c:pt idx="697">
                    <c:v>Rolling Stdev (30 Minute)</c:v>
                  </c:pt>
                  <c:pt idx="698">
                    <c:v>Rolling Stdev (30 Minute)</c:v>
                  </c:pt>
                  <c:pt idx="699">
                    <c:v>Rolling Stdev (30 Minute)</c:v>
                  </c:pt>
                  <c:pt idx="700">
                    <c:v>Rolling Stdev (30 Minute)</c:v>
                  </c:pt>
                  <c:pt idx="701">
                    <c:v>Rolling Stdev (30 Minute)</c:v>
                  </c:pt>
                  <c:pt idx="702">
                    <c:v>Rolling Stdev (30 Minute)</c:v>
                  </c:pt>
                  <c:pt idx="703">
                    <c:v>Rolling Stdev (30 Minute)</c:v>
                  </c:pt>
                  <c:pt idx="704">
                    <c:v>Rolling Stdev (30 Minute)</c:v>
                  </c:pt>
                  <c:pt idx="705">
                    <c:v>Rolling Stdev (30 Minute)</c:v>
                  </c:pt>
                  <c:pt idx="706">
                    <c:v>Rolling Stdev (30 Minute)</c:v>
                  </c:pt>
                  <c:pt idx="707">
                    <c:v>Rolling Stdev (30 Minute)</c:v>
                  </c:pt>
                  <c:pt idx="708">
                    <c:v>Rolling Stdev (30 Minute)</c:v>
                  </c:pt>
                  <c:pt idx="709">
                    <c:v>Rolling Stdev (30 Minute)</c:v>
                  </c:pt>
                  <c:pt idx="710">
                    <c:v>Rolling Stdev (30 Minute)</c:v>
                  </c:pt>
                  <c:pt idx="711">
                    <c:v>Rolling Stdev (30 Minute)</c:v>
                  </c:pt>
                  <c:pt idx="712">
                    <c:v>Rolling Stdev (30 Minute)</c:v>
                  </c:pt>
                  <c:pt idx="713">
                    <c:v>Rolling Stdev (30 Minute)</c:v>
                  </c:pt>
                  <c:pt idx="714">
                    <c:v>Rolling Stdev (30 Minute)</c:v>
                  </c:pt>
                  <c:pt idx="715">
                    <c:v>Rolling Stdev (30 Minute)</c:v>
                  </c:pt>
                  <c:pt idx="716">
                    <c:v>Rolling Stdev (30 Minute)</c:v>
                  </c:pt>
                  <c:pt idx="717">
                    <c:v>Rolling Stdev (30 Minute)</c:v>
                  </c:pt>
                  <c:pt idx="718">
                    <c:v>Rolling Stdev (30 Minute)</c:v>
                  </c:pt>
                  <c:pt idx="719">
                    <c:v>Rolling Stdev (30 Minute)</c:v>
                  </c:pt>
                  <c:pt idx="720">
                    <c:v>Rolling Stdev (30 Minute)</c:v>
                  </c:pt>
                  <c:pt idx="721">
                    <c:v>Rolling Stdev (30 Minute)</c:v>
                  </c:pt>
                  <c:pt idx="722">
                    <c:v>Rolling Stdev (30 Minute)</c:v>
                  </c:pt>
                  <c:pt idx="723">
                    <c:v>Rolling Stdev (30 Minute)</c:v>
                  </c:pt>
                  <c:pt idx="724">
                    <c:v>Rolling Stdev (30 Minute)</c:v>
                  </c:pt>
                  <c:pt idx="725">
                    <c:v>Rolling Stdev (30 Minute)</c:v>
                  </c:pt>
                  <c:pt idx="726">
                    <c:v>Rolling Stdev (30 Minute)</c:v>
                  </c:pt>
                  <c:pt idx="727">
                    <c:v>Rolling Stdev (30 Minute)</c:v>
                  </c:pt>
                  <c:pt idx="728">
                    <c:v>Rolling Stdev (30 Minute)</c:v>
                  </c:pt>
                  <c:pt idx="729">
                    <c:v>Rolling Stdev (30 Minute)</c:v>
                  </c:pt>
                  <c:pt idx="730">
                    <c:v>Rolling Stdev (30 Minute)</c:v>
                  </c:pt>
                  <c:pt idx="731">
                    <c:v>Rolling Stdev (30 Minute)</c:v>
                  </c:pt>
                  <c:pt idx="732">
                    <c:v>Rolling Stdev (30 Minute)</c:v>
                  </c:pt>
                  <c:pt idx="733">
                    <c:v>Rolling Stdev (30 Minute)</c:v>
                  </c:pt>
                  <c:pt idx="734">
                    <c:v>Rolling Stdev (30 Minute)</c:v>
                  </c:pt>
                  <c:pt idx="735">
                    <c:v>Rolling Stdev (30 Minute)</c:v>
                  </c:pt>
                  <c:pt idx="736">
                    <c:v>Rolling Stdev (30 Minute)</c:v>
                  </c:pt>
                  <c:pt idx="737">
                    <c:v>Rolling Stdev (30 Minute)</c:v>
                  </c:pt>
                  <c:pt idx="738">
                    <c:v>Rolling Stdev (30 Minute)</c:v>
                  </c:pt>
                  <c:pt idx="739">
                    <c:v>Rolling Stdev (30 Minute)</c:v>
                  </c:pt>
                  <c:pt idx="740">
                    <c:v>Rolling Stdev (30 Minute)</c:v>
                  </c:pt>
                  <c:pt idx="741">
                    <c:v>Rolling Stdev (30 Minute)</c:v>
                  </c:pt>
                  <c:pt idx="742">
                    <c:v>Rolling Stdev (30 Minute)</c:v>
                  </c:pt>
                  <c:pt idx="743">
                    <c:v>Rolling Stdev (30 Minute)</c:v>
                  </c:pt>
                  <c:pt idx="744">
                    <c:v>Rolling Stdev (30 Minute)</c:v>
                  </c:pt>
                  <c:pt idx="745">
                    <c:v>Rolling Stdev (30 Minute)</c:v>
                  </c:pt>
                  <c:pt idx="746">
                    <c:v>Rolling Stdev (30 Minute)</c:v>
                  </c:pt>
                  <c:pt idx="747">
                    <c:v>Rolling Stdev (30 Minute)</c:v>
                  </c:pt>
                  <c:pt idx="748">
                    <c:v>Rolling Stdev (30 Minute)</c:v>
                  </c:pt>
                  <c:pt idx="749">
                    <c:v>Rolling Stdev (30 Minute)</c:v>
                  </c:pt>
                  <c:pt idx="750">
                    <c:v>Rolling Stdev (30 Minute)</c:v>
                  </c:pt>
                  <c:pt idx="751">
                    <c:v>Rolling Stdev (30 Minute)</c:v>
                  </c:pt>
                  <c:pt idx="752">
                    <c:v>Rolling Stdev (30 Minute)</c:v>
                  </c:pt>
                  <c:pt idx="753">
                    <c:v>Rolling Stdev (30 Minute)</c:v>
                  </c:pt>
                  <c:pt idx="754">
                    <c:v>Rolling Stdev (30 Minute)</c:v>
                  </c:pt>
                  <c:pt idx="755">
                    <c:v>Rolling Stdev (30 Minute)</c:v>
                  </c:pt>
                  <c:pt idx="756">
                    <c:v>Rolling Stdev (30 Minute)</c:v>
                  </c:pt>
                  <c:pt idx="757">
                    <c:v>Rolling Stdev (30 Minute)</c:v>
                  </c:pt>
                  <c:pt idx="758">
                    <c:v>Rolling Stdev (30 Minute)</c:v>
                  </c:pt>
                  <c:pt idx="759">
                    <c:v>Rolling Stdev (30 Minute)</c:v>
                  </c:pt>
                  <c:pt idx="760">
                    <c:v>Rolling Stdev (30 Minute)</c:v>
                  </c:pt>
                  <c:pt idx="761">
                    <c:v>Rolling Stdev (30 Minute)</c:v>
                  </c:pt>
                  <c:pt idx="762">
                    <c:v>Rolling Stdev (30 Minute)</c:v>
                  </c:pt>
                  <c:pt idx="763">
                    <c:v>Rolling Stdev (30 Minute)</c:v>
                  </c:pt>
                  <c:pt idx="764">
                    <c:v>Rolling Stdev (30 Minute)</c:v>
                  </c:pt>
                  <c:pt idx="765">
                    <c:v>Rolling Stdev (30 Minute)</c:v>
                  </c:pt>
                  <c:pt idx="766">
                    <c:v>Rolling Stdev (30 Minute)</c:v>
                  </c:pt>
                  <c:pt idx="767">
                    <c:v>Rolling Stdev (30 Minute)</c:v>
                  </c:pt>
                  <c:pt idx="768">
                    <c:v>Rolling Stdev (30 Minute)</c:v>
                  </c:pt>
                  <c:pt idx="769">
                    <c:v>Rolling Stdev (30 Minute)</c:v>
                  </c:pt>
                  <c:pt idx="770">
                    <c:v>Rolling Stdev (30 Minute)</c:v>
                  </c:pt>
                  <c:pt idx="771">
                    <c:v>Rolling Stdev (30 Minute)</c:v>
                  </c:pt>
                  <c:pt idx="772">
                    <c:v>Rolling Stdev (30 Minute)</c:v>
                  </c:pt>
                  <c:pt idx="773">
                    <c:v>Rolling Stdev (30 Minute)</c:v>
                  </c:pt>
                  <c:pt idx="774">
                    <c:v>Rolling Stdev (30 Minute)</c:v>
                  </c:pt>
                  <c:pt idx="775">
                    <c:v>Rolling Stdev (30 Minute)</c:v>
                  </c:pt>
                  <c:pt idx="776">
                    <c:v>Rolling Stdev (30 Minute)</c:v>
                  </c:pt>
                  <c:pt idx="777">
                    <c:v>Rolling Stdev (30 Minute)</c:v>
                  </c:pt>
                  <c:pt idx="778">
                    <c:v>Rolling Stdev (30 Minute)</c:v>
                  </c:pt>
                  <c:pt idx="779">
                    <c:v>Rolling Stdev (30 Minute)</c:v>
                  </c:pt>
                  <c:pt idx="780">
                    <c:v>Rolling Stdev (30 Minute)</c:v>
                  </c:pt>
                  <c:pt idx="781">
                    <c:v>Rolling Stdev (30 Minute)</c:v>
                  </c:pt>
                  <c:pt idx="782">
                    <c:v>Rolling Stdev (30 Minute)</c:v>
                  </c:pt>
                  <c:pt idx="783">
                    <c:v>Rolling Stdev (30 Minute)</c:v>
                  </c:pt>
                  <c:pt idx="784">
                    <c:v>Rolling Stdev (30 Minute)</c:v>
                  </c:pt>
                  <c:pt idx="785">
                    <c:v>Rolling Stdev (30 Minute)</c:v>
                  </c:pt>
                  <c:pt idx="786">
                    <c:v>Rolling Stdev (30 Minute)</c:v>
                  </c:pt>
                  <c:pt idx="787">
                    <c:v>Rolling Stdev (30 Minute)</c:v>
                  </c:pt>
                  <c:pt idx="788">
                    <c:v>Rolling Stdev (30 Minute)</c:v>
                  </c:pt>
                  <c:pt idx="789">
                    <c:v>Rolling Stdev (30 Minute)</c:v>
                  </c:pt>
                  <c:pt idx="790">
                    <c:v>Rolling Stdev (30 Minute)</c:v>
                  </c:pt>
                  <c:pt idx="791">
                    <c:v>Rolling Stdev (30 Minute)</c:v>
                  </c:pt>
                  <c:pt idx="792">
                    <c:v>Rolling Stdev (30 Minute)</c:v>
                  </c:pt>
                  <c:pt idx="793">
                    <c:v>Rolling Stdev (30 Minute)</c:v>
                  </c:pt>
                  <c:pt idx="794">
                    <c:v>Rolling Stdev (30 Minute)</c:v>
                  </c:pt>
                  <c:pt idx="795">
                    <c:v>Rolling Stdev (30 Minute)</c:v>
                  </c:pt>
                  <c:pt idx="796">
                    <c:v>Rolling Stdev (30 Minute)</c:v>
                  </c:pt>
                  <c:pt idx="797">
                    <c:v>Rolling Stdev (30 Minute)</c:v>
                  </c:pt>
                  <c:pt idx="798">
                    <c:v>Rolling Stdev (30 Minute)</c:v>
                  </c:pt>
                  <c:pt idx="799">
                    <c:v>Rolling Stdev (30 Minute)</c:v>
                  </c:pt>
                  <c:pt idx="800">
                    <c:v>Rolling Stdev (30 Minute)</c:v>
                  </c:pt>
                  <c:pt idx="801">
                    <c:v>Rolling Stdev (30 Minute)</c:v>
                  </c:pt>
                  <c:pt idx="802">
                    <c:v>Rolling Stdev (30 Minute)</c:v>
                  </c:pt>
                  <c:pt idx="803">
                    <c:v>Rolling Stdev (30 Minute)</c:v>
                  </c:pt>
                  <c:pt idx="804">
                    <c:v>Rolling Stdev (30 Minute)</c:v>
                  </c:pt>
                  <c:pt idx="805">
                    <c:v>Rolling Stdev (30 Minute)</c:v>
                  </c:pt>
                  <c:pt idx="806">
                    <c:v>Rolling Stdev (30 Minute)</c:v>
                  </c:pt>
                  <c:pt idx="807">
                    <c:v>Rolling Stdev (30 Minute)</c:v>
                  </c:pt>
                  <c:pt idx="808">
                    <c:v>Rolling Stdev (30 Minute)</c:v>
                  </c:pt>
                  <c:pt idx="809">
                    <c:v>Rolling Stdev (30 Minute)</c:v>
                  </c:pt>
                  <c:pt idx="810">
                    <c:v>Rolling Stdev (30 Minute)</c:v>
                  </c:pt>
                  <c:pt idx="811">
                    <c:v>Rolling Stdev (30 Minute)</c:v>
                  </c:pt>
                  <c:pt idx="812">
                    <c:v>Rolling Stdev (30 Minute)</c:v>
                  </c:pt>
                  <c:pt idx="813">
                    <c:v>Rolling Stdev (30 Minute)</c:v>
                  </c:pt>
                  <c:pt idx="814">
                    <c:v>Rolling Stdev (30 Minute)</c:v>
                  </c:pt>
                  <c:pt idx="815">
                    <c:v>Rolling Stdev (30 Minute)</c:v>
                  </c:pt>
                  <c:pt idx="816">
                    <c:v>Rolling Stdev (30 Minute)</c:v>
                  </c:pt>
                  <c:pt idx="817">
                    <c:v>Rolling Stdev (30 Minute)</c:v>
                  </c:pt>
                  <c:pt idx="818">
                    <c:v>Rolling Stdev (30 Minute)</c:v>
                  </c:pt>
                  <c:pt idx="819">
                    <c:v>Rolling Stdev (30 Minute)</c:v>
                  </c:pt>
                  <c:pt idx="820">
                    <c:v>Rolling Stdev (30 Minute)</c:v>
                  </c:pt>
                  <c:pt idx="821">
                    <c:v>Rolling Stdev (30 Minute)</c:v>
                  </c:pt>
                  <c:pt idx="822">
                    <c:v>Rolling Stdev (30 Minute)</c:v>
                  </c:pt>
                  <c:pt idx="823">
                    <c:v>Rolling Stdev (30 Minute)</c:v>
                  </c:pt>
                  <c:pt idx="824">
                    <c:v>Rolling Stdev (30 Minute)</c:v>
                  </c:pt>
                  <c:pt idx="825">
                    <c:v>Rolling Stdev (30 Minute)</c:v>
                  </c:pt>
                  <c:pt idx="826">
                    <c:v>Rolling Stdev (30 Minute)</c:v>
                  </c:pt>
                  <c:pt idx="827">
                    <c:v>Rolling Stdev (30 Minute)</c:v>
                  </c:pt>
                  <c:pt idx="828">
                    <c:v>Rolling Stdev (30 Minute)</c:v>
                  </c:pt>
                  <c:pt idx="829">
                    <c:v>Rolling Stdev (30 Minute)</c:v>
                  </c:pt>
                  <c:pt idx="830">
                    <c:v>Rolling Stdev (30 Minute)</c:v>
                  </c:pt>
                  <c:pt idx="831">
                    <c:v>Rolling Stdev (30 Minute)</c:v>
                  </c:pt>
                  <c:pt idx="832">
                    <c:v>Rolling Stdev (30 Minute)</c:v>
                  </c:pt>
                  <c:pt idx="833">
                    <c:v>Rolling Stdev (30 Minute)</c:v>
                  </c:pt>
                  <c:pt idx="834">
                    <c:v>Rolling Stdev (30 Minute)</c:v>
                  </c:pt>
                  <c:pt idx="835">
                    <c:v>Rolling Stdev (30 Minute)</c:v>
                  </c:pt>
                  <c:pt idx="836">
                    <c:v>Rolling Stdev (30 Minute)</c:v>
                  </c:pt>
                  <c:pt idx="837">
                    <c:v>Rolling Stdev (30 Minute)</c:v>
                  </c:pt>
                  <c:pt idx="838">
                    <c:v>Rolling Stdev (30 Minute)</c:v>
                  </c:pt>
                  <c:pt idx="839">
                    <c:v>Rolling Stdev (30 Minute)</c:v>
                  </c:pt>
                  <c:pt idx="840">
                    <c:v>Rolling Stdev (30 Minute)</c:v>
                  </c:pt>
                  <c:pt idx="841">
                    <c:v>Rolling Stdev (30 Minute)</c:v>
                  </c:pt>
                  <c:pt idx="842">
                    <c:v>Rolling Stdev (30 Minute)</c:v>
                  </c:pt>
                  <c:pt idx="843">
                    <c:v>Rolling Stdev (30 Minute)</c:v>
                  </c:pt>
                  <c:pt idx="844">
                    <c:v>Rolling Stdev (30 Minute)</c:v>
                  </c:pt>
                  <c:pt idx="845">
                    <c:v>Rolling Stdev (30 Minute)</c:v>
                  </c:pt>
                  <c:pt idx="846">
                    <c:v>Rolling Stdev (30 Minute)</c:v>
                  </c:pt>
                  <c:pt idx="847">
                    <c:v>Rolling Stdev (30 Minute)</c:v>
                  </c:pt>
                  <c:pt idx="848">
                    <c:v>Rolling Stdev (30 Minute)</c:v>
                  </c:pt>
                  <c:pt idx="849">
                    <c:v>Rolling Stdev (30 Minute)</c:v>
                  </c:pt>
                  <c:pt idx="850">
                    <c:v>Rolling Stdev (30 Minute)</c:v>
                  </c:pt>
                  <c:pt idx="851">
                    <c:v>Rolling Stdev (30 Minute)</c:v>
                  </c:pt>
                  <c:pt idx="852">
                    <c:v>Rolling Stdev (30 Minute)</c:v>
                  </c:pt>
                  <c:pt idx="853">
                    <c:v>Rolling Stdev (30 Minute)</c:v>
                  </c:pt>
                  <c:pt idx="854">
                    <c:v>Rolling Stdev (30 Minute)</c:v>
                  </c:pt>
                  <c:pt idx="855">
                    <c:v>Rolling Stdev (30 Minute)</c:v>
                  </c:pt>
                  <c:pt idx="856">
                    <c:v>Rolling Stdev (30 Minute)</c:v>
                  </c:pt>
                  <c:pt idx="857">
                    <c:v>Rolling Stdev (30 Minute)</c:v>
                  </c:pt>
                  <c:pt idx="858">
                    <c:v>Rolling Stdev (30 Minute)</c:v>
                  </c:pt>
                  <c:pt idx="859">
                    <c:v>Rolling Stdev (30 Minute)</c:v>
                  </c:pt>
                  <c:pt idx="860">
                    <c:v>Rolling Stdev (30 Minute)</c:v>
                  </c:pt>
                  <c:pt idx="861">
                    <c:v>Rolling Stdev (30 Minute)</c:v>
                  </c:pt>
                  <c:pt idx="862">
                    <c:v>Rolling Stdev (30 Minute)</c:v>
                  </c:pt>
                  <c:pt idx="863">
                    <c:v>Rolling Stdev (30 Minute)</c:v>
                  </c:pt>
                  <c:pt idx="864">
                    <c:v>Rolling Stdev (30 Minute)</c:v>
                  </c:pt>
                  <c:pt idx="865">
                    <c:v>Rolling Stdev (30 Minute)</c:v>
                  </c:pt>
                  <c:pt idx="866">
                    <c:v>Rolling Stdev (30 Minute)</c:v>
                  </c:pt>
                  <c:pt idx="867">
                    <c:v>Rolling Stdev (30 Minute)</c:v>
                  </c:pt>
                  <c:pt idx="868">
                    <c:v>Rolling Stdev (30 Minute)</c:v>
                  </c:pt>
                  <c:pt idx="869">
                    <c:v>Rolling Stdev (30 Minute)</c:v>
                  </c:pt>
                  <c:pt idx="870">
                    <c:v>Rolling Stdev (30 Minute)</c:v>
                  </c:pt>
                  <c:pt idx="871">
                    <c:v>Rolling Stdev (30 Minute)</c:v>
                  </c:pt>
                  <c:pt idx="872">
                    <c:v>Rolling Stdev (30 Minute)</c:v>
                  </c:pt>
                  <c:pt idx="873">
                    <c:v>Rolling Stdev (30 Minute)</c:v>
                  </c:pt>
                  <c:pt idx="874">
                    <c:v>Rolling Stdev (30 Minute)</c:v>
                  </c:pt>
                  <c:pt idx="875">
                    <c:v>Rolling Stdev (30 Minute)</c:v>
                  </c:pt>
                  <c:pt idx="876">
                    <c:v>Rolling Stdev (30 Minute)</c:v>
                  </c:pt>
                  <c:pt idx="877">
                    <c:v>Rolling Stdev (30 Minute)</c:v>
                  </c:pt>
                  <c:pt idx="878">
                    <c:v>Rolling Stdev (30 Minute)</c:v>
                  </c:pt>
                  <c:pt idx="879">
                    <c:v>Rolling Stdev (30 Minute)</c:v>
                  </c:pt>
                  <c:pt idx="880">
                    <c:v>Rolling Stdev (30 Minute)</c:v>
                  </c:pt>
                  <c:pt idx="881">
                    <c:v>Rolling Stdev (30 Minute)</c:v>
                  </c:pt>
                  <c:pt idx="882">
                    <c:v>Rolling Stdev (30 Minute)</c:v>
                  </c:pt>
                  <c:pt idx="883">
                    <c:v>Rolling Stdev (30 Minute)</c:v>
                  </c:pt>
                  <c:pt idx="884">
                    <c:v>Rolling Stdev (30 Minute)</c:v>
                  </c:pt>
                  <c:pt idx="885">
                    <c:v>Rolling Stdev (30 Minute)</c:v>
                  </c:pt>
                  <c:pt idx="886">
                    <c:v>Rolling Stdev (30 Minute)</c:v>
                  </c:pt>
                  <c:pt idx="887">
                    <c:v>Rolling Stdev (30 Minute)</c:v>
                  </c:pt>
                  <c:pt idx="888">
                    <c:v>Rolling Stdev (30 Minute)</c:v>
                  </c:pt>
                  <c:pt idx="889">
                    <c:v>Rolling Stdev (30 Minute)</c:v>
                  </c:pt>
                  <c:pt idx="890">
                    <c:v>Rolling Stdev (30 Minute)</c:v>
                  </c:pt>
                  <c:pt idx="891">
                    <c:v>Rolling Stdev (30 Minute)</c:v>
                  </c:pt>
                  <c:pt idx="892">
                    <c:v>Rolling Stdev (30 Minute)</c:v>
                  </c:pt>
                  <c:pt idx="893">
                    <c:v>Rolling Stdev (30 Minute)</c:v>
                  </c:pt>
                  <c:pt idx="894">
                    <c:v>Rolling Stdev (30 Minute)</c:v>
                  </c:pt>
                  <c:pt idx="895">
                    <c:v>Rolling Stdev (30 Minute)</c:v>
                  </c:pt>
                  <c:pt idx="896">
                    <c:v>Rolling Stdev (30 Minute)</c:v>
                  </c:pt>
                  <c:pt idx="897">
                    <c:v>Rolling Stdev (30 Minute)</c:v>
                  </c:pt>
                  <c:pt idx="898">
                    <c:v>Rolling Stdev (30 Minute)</c:v>
                  </c:pt>
                  <c:pt idx="899">
                    <c:v>Rolling Stdev (30 Minute)</c:v>
                  </c:pt>
                  <c:pt idx="900">
                    <c:v>Rolling Stdev (30 Minute)</c:v>
                  </c:pt>
                  <c:pt idx="901">
                    <c:v>Rolling Stdev (30 Minute)</c:v>
                  </c:pt>
                  <c:pt idx="902">
                    <c:v>Rolling Stdev (30 Minute)</c:v>
                  </c:pt>
                  <c:pt idx="903">
                    <c:v>Rolling Stdev (30 Minute)</c:v>
                  </c:pt>
                  <c:pt idx="904">
                    <c:v>Rolling Stdev (30 Minute)</c:v>
                  </c:pt>
                  <c:pt idx="905">
                    <c:v>Rolling Stdev (30 Minute)</c:v>
                  </c:pt>
                  <c:pt idx="906">
                    <c:v>Rolling Stdev (30 Minute)</c:v>
                  </c:pt>
                  <c:pt idx="907">
                    <c:v>Rolling Stdev (30 Minute)</c:v>
                  </c:pt>
                  <c:pt idx="908">
                    <c:v>Rolling Stdev (30 Minute)</c:v>
                  </c:pt>
                  <c:pt idx="909">
                    <c:v>Rolling Stdev (30 Minute)</c:v>
                  </c:pt>
                  <c:pt idx="910">
                    <c:v>Rolling Stdev (30 Minute)</c:v>
                  </c:pt>
                  <c:pt idx="911">
                    <c:v>Rolling Stdev (30 Minute)</c:v>
                  </c:pt>
                  <c:pt idx="912">
                    <c:v>Rolling Stdev (30 Minute)</c:v>
                  </c:pt>
                  <c:pt idx="913">
                    <c:v>Rolling Stdev (30 Minute)</c:v>
                  </c:pt>
                  <c:pt idx="914">
                    <c:v>Rolling Stdev (30 Minute)</c:v>
                  </c:pt>
                  <c:pt idx="915">
                    <c:v>Rolling Stdev (30 Minute)</c:v>
                  </c:pt>
                  <c:pt idx="916">
                    <c:v>Rolling Stdev (30 Minute)</c:v>
                  </c:pt>
                  <c:pt idx="917">
                    <c:v>Rolling Stdev (30 Minute)</c:v>
                  </c:pt>
                  <c:pt idx="918">
                    <c:v>Rolling Stdev (30 Minute)</c:v>
                  </c:pt>
                  <c:pt idx="919">
                    <c:v>Rolling Stdev (30 Minute)</c:v>
                  </c:pt>
                  <c:pt idx="920">
                    <c:v>Rolling Stdev (30 Minute)</c:v>
                  </c:pt>
                  <c:pt idx="921">
                    <c:v>Rolling Stdev (30 Minute)</c:v>
                  </c:pt>
                  <c:pt idx="922">
                    <c:v>Rolling Stdev (30 Minute)</c:v>
                  </c:pt>
                  <c:pt idx="923">
                    <c:v>Rolling Stdev (30 Minute)</c:v>
                  </c:pt>
                  <c:pt idx="924">
                    <c:v>Rolling Stdev (30 Minute)</c:v>
                  </c:pt>
                  <c:pt idx="925">
                    <c:v>Rolling Stdev (30 Minute)</c:v>
                  </c:pt>
                  <c:pt idx="926">
                    <c:v>Rolling Stdev (30 Minute)</c:v>
                  </c:pt>
                  <c:pt idx="927">
                    <c:v>Rolling Stdev (30 Minute)</c:v>
                  </c:pt>
                  <c:pt idx="928">
                    <c:v>Rolling Stdev (30 Minute)</c:v>
                  </c:pt>
                  <c:pt idx="929">
                    <c:v>Rolling Stdev (30 Minute)</c:v>
                  </c:pt>
                  <c:pt idx="930">
                    <c:v>Rolling Stdev (30 Minute)</c:v>
                  </c:pt>
                  <c:pt idx="931">
                    <c:v>Rolling Stdev (30 Minute)</c:v>
                  </c:pt>
                  <c:pt idx="932">
                    <c:v>Rolling Stdev (30 Minute)</c:v>
                  </c:pt>
                  <c:pt idx="933">
                    <c:v>Rolling Stdev (30 Minute)</c:v>
                  </c:pt>
                  <c:pt idx="934">
                    <c:v>Rolling Stdev (30 Minute)</c:v>
                  </c:pt>
                  <c:pt idx="935">
                    <c:v>Rolling Stdev (30 Minute)</c:v>
                  </c:pt>
                  <c:pt idx="936">
                    <c:v>Rolling Stdev (30 Minute)</c:v>
                  </c:pt>
                  <c:pt idx="937">
                    <c:v>Rolling Stdev (30 Minute)</c:v>
                  </c:pt>
                  <c:pt idx="938">
                    <c:v>Rolling Stdev (30 Minute)</c:v>
                  </c:pt>
                  <c:pt idx="939">
                    <c:v>Rolling Stdev (30 Minute)</c:v>
                  </c:pt>
                  <c:pt idx="940">
                    <c:v>Rolling Stdev (30 Minute)</c:v>
                  </c:pt>
                  <c:pt idx="941">
                    <c:v>Rolling Stdev (30 Minute)</c:v>
                  </c:pt>
                  <c:pt idx="942">
                    <c:v>Rolling Stdev (30 Minute)</c:v>
                  </c:pt>
                  <c:pt idx="943">
                    <c:v>Rolling Stdev (30 Minute)</c:v>
                  </c:pt>
                  <c:pt idx="944">
                    <c:v>Rolling Stdev (30 Minute)</c:v>
                  </c:pt>
                  <c:pt idx="945">
                    <c:v>Rolling Stdev (30 Minute)</c:v>
                  </c:pt>
                  <c:pt idx="946">
                    <c:v>Rolling Stdev (30 Minute)</c:v>
                  </c:pt>
                  <c:pt idx="947">
                    <c:v>Rolling Stdev (30 Minute)</c:v>
                  </c:pt>
                  <c:pt idx="948">
                    <c:v>Rolling Stdev (30 Minute)</c:v>
                  </c:pt>
                  <c:pt idx="949">
                    <c:v>Rolling Stdev (30 Minute)</c:v>
                  </c:pt>
                  <c:pt idx="950">
                    <c:v>Rolling Stdev (30 Minute)</c:v>
                  </c:pt>
                  <c:pt idx="951">
                    <c:v>Rolling Stdev (30 Minute)</c:v>
                  </c:pt>
                  <c:pt idx="952">
                    <c:v>Rolling Stdev (30 Minute)</c:v>
                  </c:pt>
                  <c:pt idx="953">
                    <c:v>Rolling Stdev (30 Minute)</c:v>
                  </c:pt>
                  <c:pt idx="954">
                    <c:v>Rolling Stdev (30 Minute)</c:v>
                  </c:pt>
                  <c:pt idx="955">
                    <c:v>Rolling Stdev (30 Minute)</c:v>
                  </c:pt>
                  <c:pt idx="956">
                    <c:v>Rolling Stdev (30 Minute)</c:v>
                  </c:pt>
                  <c:pt idx="957">
                    <c:v>Rolling Stdev (30 Minute)</c:v>
                  </c:pt>
                  <c:pt idx="958">
                    <c:v>Rolling Stdev (30 Minute)</c:v>
                  </c:pt>
                  <c:pt idx="959">
                    <c:v>Rolling Stdev (30 Minute)</c:v>
                  </c:pt>
                  <c:pt idx="960">
                    <c:v>Rolling Stdev (30 Minute)</c:v>
                  </c:pt>
                  <c:pt idx="961">
                    <c:v>Rolling Stdev (30 Minute)</c:v>
                  </c:pt>
                  <c:pt idx="962">
                    <c:v>Rolling Stdev (30 Minute)</c:v>
                  </c:pt>
                  <c:pt idx="963">
                    <c:v>Rolling Stdev (30 Minute)</c:v>
                  </c:pt>
                  <c:pt idx="964">
                    <c:v>Rolling Stdev (30 Minute)</c:v>
                  </c:pt>
                  <c:pt idx="965">
                    <c:v>Rolling Stdev (30 Minute)</c:v>
                  </c:pt>
                  <c:pt idx="966">
                    <c:v>Rolling Stdev (30 Minute)</c:v>
                  </c:pt>
                  <c:pt idx="967">
                    <c:v>Rolling Stdev (30 Minute)</c:v>
                  </c:pt>
                  <c:pt idx="968">
                    <c:v>Rolling Stdev (30 Minute)</c:v>
                  </c:pt>
                  <c:pt idx="969">
                    <c:v>Rolling Stdev (30 Minute)</c:v>
                  </c:pt>
                  <c:pt idx="970">
                    <c:v>Rolling Stdev (30 Minute)</c:v>
                  </c:pt>
                  <c:pt idx="971">
                    <c:v>Rolling Stdev (30 Minute)</c:v>
                  </c:pt>
                  <c:pt idx="972">
                    <c:v>Rolling Stdev (30 Minute)</c:v>
                  </c:pt>
                  <c:pt idx="973">
                    <c:v>Rolling Stdev (30 Minute)</c:v>
                  </c:pt>
                  <c:pt idx="974">
                    <c:v>Rolling Stdev (30 Minute)</c:v>
                  </c:pt>
                  <c:pt idx="975">
                    <c:v>Rolling Stdev (30 Minute)</c:v>
                  </c:pt>
                  <c:pt idx="976">
                    <c:v>Rolling Stdev (30 Minute)</c:v>
                  </c:pt>
                  <c:pt idx="977">
                    <c:v>Rolling Stdev (30 Minute)</c:v>
                  </c:pt>
                  <c:pt idx="978">
                    <c:v>Rolling Stdev (30 Minute)</c:v>
                  </c:pt>
                  <c:pt idx="979">
                    <c:v>Rolling Stdev (30 Minute)</c:v>
                  </c:pt>
                  <c:pt idx="980">
                    <c:v>Rolling Stdev (30 Minute)</c:v>
                  </c:pt>
                  <c:pt idx="981">
                    <c:v>Rolling Stdev (30 Minute)</c:v>
                  </c:pt>
                  <c:pt idx="982">
                    <c:v>Rolling Stdev (30 Minute)</c:v>
                  </c:pt>
                  <c:pt idx="983">
                    <c:v>Rolling Stdev (30 Minute)</c:v>
                  </c:pt>
                  <c:pt idx="984">
                    <c:v>Rolling Stdev (30 Minute)</c:v>
                  </c:pt>
                  <c:pt idx="985">
                    <c:v>Rolling Stdev (30 Minute)</c:v>
                  </c:pt>
                  <c:pt idx="986">
                    <c:v>Rolling Stdev (30 Minute)</c:v>
                  </c:pt>
                  <c:pt idx="987">
                    <c:v>Rolling Stdev (30 Minute)</c:v>
                  </c:pt>
                  <c:pt idx="988">
                    <c:v>Rolling Stdev (30 Minute)</c:v>
                  </c:pt>
                  <c:pt idx="989">
                    <c:v>Rolling Stdev (30 Minute)</c:v>
                  </c:pt>
                  <c:pt idx="990">
                    <c:v>Rolling Stdev (30 Minute)</c:v>
                  </c:pt>
                  <c:pt idx="991">
                    <c:v>Rolling Stdev (30 Minute)</c:v>
                  </c:pt>
                  <c:pt idx="992">
                    <c:v>Rolling Stdev (30 Minute)</c:v>
                  </c:pt>
                  <c:pt idx="993">
                    <c:v>Rolling Stdev (30 Minute)</c:v>
                  </c:pt>
                  <c:pt idx="994">
                    <c:v>Rolling Stdev (30 Minute)</c:v>
                  </c:pt>
                  <c:pt idx="995">
                    <c:v>Rolling Stdev (30 Minute)</c:v>
                  </c:pt>
                  <c:pt idx="996">
                    <c:v>Rolling Stdev (30 Minute)</c:v>
                  </c:pt>
                  <c:pt idx="997">
                    <c:v>Rolling Stdev (30 Minute)</c:v>
                  </c:pt>
                  <c:pt idx="998">
                    <c:v>Rolling Stdev (30 Minute)</c:v>
                  </c:pt>
                  <c:pt idx="999">
                    <c:v>Rolling Stdev (30 Minute)</c:v>
                  </c:pt>
                  <c:pt idx="1000">
                    <c:v>Rolling Stdev (30 Minute)</c:v>
                  </c:pt>
                  <c:pt idx="1001">
                    <c:v>Rolling Stdev (30 Minute)</c:v>
                  </c:pt>
                  <c:pt idx="1002">
                    <c:v>Rolling Stdev (30 Minute)</c:v>
                  </c:pt>
                  <c:pt idx="1003">
                    <c:v>Rolling Stdev (30 Minute)</c:v>
                  </c:pt>
                  <c:pt idx="1004">
                    <c:v>Rolling Stdev (30 Minute)</c:v>
                  </c:pt>
                  <c:pt idx="1005">
                    <c:v>Rolling Stdev (30 Minute)</c:v>
                  </c:pt>
                  <c:pt idx="1006">
                    <c:v>Rolling Stdev (30 Minute)</c:v>
                  </c:pt>
                  <c:pt idx="1007">
                    <c:v>Rolling Stdev (30 Minute)</c:v>
                  </c:pt>
                  <c:pt idx="1008">
                    <c:v>Rolling Stdev (30 Minute)</c:v>
                  </c:pt>
                  <c:pt idx="1009">
                    <c:v>Rolling Stdev (30 Minute)</c:v>
                  </c:pt>
                  <c:pt idx="1010">
                    <c:v>Rolling Stdev (30 Minute)</c:v>
                  </c:pt>
                  <c:pt idx="1011">
                    <c:v>Rolling Stdev (30 Minute)</c:v>
                  </c:pt>
                  <c:pt idx="1012">
                    <c:v>Rolling Stdev (30 Minute)</c:v>
                  </c:pt>
                  <c:pt idx="1013">
                    <c:v>Rolling Stdev (30 Minute)</c:v>
                  </c:pt>
                  <c:pt idx="1014">
                    <c:v>Rolling Stdev (30 Minute)</c:v>
                  </c:pt>
                  <c:pt idx="1015">
                    <c:v>Rolling Stdev (30 Minute)</c:v>
                  </c:pt>
                  <c:pt idx="1016">
                    <c:v>Rolling Stdev (30 Minute)</c:v>
                  </c:pt>
                  <c:pt idx="1017">
                    <c:v>Rolling Stdev (30 Minute)</c:v>
                  </c:pt>
                  <c:pt idx="1018">
                    <c:v>Rolling Stdev (30 Minute)</c:v>
                  </c:pt>
                  <c:pt idx="1019">
                    <c:v>Rolling Stdev (30 Minute)</c:v>
                  </c:pt>
                  <c:pt idx="1020">
                    <c:v>Rolling Stdev (30 Minute)</c:v>
                  </c:pt>
                  <c:pt idx="1021">
                    <c:v>Rolling Stdev (30 Minute)</c:v>
                  </c:pt>
                  <c:pt idx="1022">
                    <c:v>Rolling Stdev (30 Minute)</c:v>
                  </c:pt>
                  <c:pt idx="1023">
                    <c:v>Rolling Stdev (30 Minute)</c:v>
                  </c:pt>
                  <c:pt idx="1024">
                    <c:v>Rolling Stdev (30 Minute)</c:v>
                  </c:pt>
                  <c:pt idx="1025">
                    <c:v>Rolling Stdev (30 Minute)</c:v>
                  </c:pt>
                  <c:pt idx="1026">
                    <c:v>Rolling Stdev (30 Minute)</c:v>
                  </c:pt>
                  <c:pt idx="1027">
                    <c:v>Rolling Stdev (30 Minute)</c:v>
                  </c:pt>
                  <c:pt idx="1028">
                    <c:v>Rolling Stdev (30 Minute)</c:v>
                  </c:pt>
                  <c:pt idx="1029">
                    <c:v>Rolling Stdev (30 Minute)</c:v>
                  </c:pt>
                  <c:pt idx="1030">
                    <c:v>Rolling Stdev (30 Minute)</c:v>
                  </c:pt>
                  <c:pt idx="1031">
                    <c:v>Rolling Stdev (30 Minute)</c:v>
                  </c:pt>
                  <c:pt idx="1032">
                    <c:v>Rolling Stdev (30 Minute)</c:v>
                  </c:pt>
                  <c:pt idx="1033">
                    <c:v>Rolling Stdev (30 Minute)</c:v>
                  </c:pt>
                  <c:pt idx="1034">
                    <c:v>Rolling Stdev (30 Minute)</c:v>
                  </c:pt>
                  <c:pt idx="1035">
                    <c:v>Rolling Stdev (30 Minute)</c:v>
                  </c:pt>
                  <c:pt idx="1036">
                    <c:v>Rolling Stdev (30 Minute)</c:v>
                  </c:pt>
                  <c:pt idx="1037">
                    <c:v>Rolling Stdev (30 Minute)</c:v>
                  </c:pt>
                  <c:pt idx="1038">
                    <c:v>Rolling Stdev (30 Minute)</c:v>
                  </c:pt>
                  <c:pt idx="1039">
                    <c:v>Rolling Stdev (30 Minute)</c:v>
                  </c:pt>
                  <c:pt idx="1040">
                    <c:v>Rolling Stdev (30 Minute)</c:v>
                  </c:pt>
                  <c:pt idx="1041">
                    <c:v>Rolling Stdev (30 Minute)</c:v>
                  </c:pt>
                  <c:pt idx="1042">
                    <c:v>Rolling Stdev (30 Minute)</c:v>
                  </c:pt>
                  <c:pt idx="1043">
                    <c:v>Rolling Stdev (30 Minute)</c:v>
                  </c:pt>
                  <c:pt idx="1044">
                    <c:v>Rolling Stdev (30 Minute)</c:v>
                  </c:pt>
                  <c:pt idx="1045">
                    <c:v>Rolling Stdev (30 Minute)</c:v>
                  </c:pt>
                  <c:pt idx="1046">
                    <c:v>Rolling Stdev (30 Minute)</c:v>
                  </c:pt>
                  <c:pt idx="1047">
                    <c:v>Rolling Stdev (30 Minute)</c:v>
                  </c:pt>
                  <c:pt idx="1048">
                    <c:v>Rolling Stdev (30 Minute)</c:v>
                  </c:pt>
                  <c:pt idx="1049">
                    <c:v>Rolling Stdev (30 Minute)</c:v>
                  </c:pt>
                  <c:pt idx="1050">
                    <c:v>Rolling Stdev (30 Minute)</c:v>
                  </c:pt>
                  <c:pt idx="1051">
                    <c:v>Rolling Stdev (30 Minute)</c:v>
                  </c:pt>
                  <c:pt idx="1052">
                    <c:v>Rolling Stdev (30 Minute)</c:v>
                  </c:pt>
                  <c:pt idx="1053">
                    <c:v>Rolling Stdev (30 Minute)</c:v>
                  </c:pt>
                  <c:pt idx="1054">
                    <c:v>Rolling Stdev (30 Minute)</c:v>
                  </c:pt>
                  <c:pt idx="1055">
                    <c:v>Rolling Stdev (30 Minute)</c:v>
                  </c:pt>
                  <c:pt idx="1056">
                    <c:v>Rolling Stdev (30 Minute)</c:v>
                  </c:pt>
                  <c:pt idx="1057">
                    <c:v>Rolling Stdev (30 Minute)</c:v>
                  </c:pt>
                  <c:pt idx="1058">
                    <c:v>Rolling Stdev (30 Minute)</c:v>
                  </c:pt>
                  <c:pt idx="1059">
                    <c:v>Rolling Stdev (30 Minute)</c:v>
                  </c:pt>
                  <c:pt idx="1060">
                    <c:v>Rolling Stdev (30 Minute)</c:v>
                  </c:pt>
                  <c:pt idx="1061">
                    <c:v>Rolling Stdev (30 Minute)</c:v>
                  </c:pt>
                  <c:pt idx="1062">
                    <c:v>Rolling Stdev (30 Minute)</c:v>
                  </c:pt>
                  <c:pt idx="1063">
                    <c:v>Rolling Stdev (30 Minute)</c:v>
                  </c:pt>
                  <c:pt idx="1064">
                    <c:v>Rolling Stdev (30 Minute)</c:v>
                  </c:pt>
                  <c:pt idx="1065">
                    <c:v>Rolling Stdev (30 Minute)</c:v>
                  </c:pt>
                  <c:pt idx="1066">
                    <c:v>Rolling Stdev (30 Minute)</c:v>
                  </c:pt>
                  <c:pt idx="1067">
                    <c:v>Rolling Stdev (30 Minute)</c:v>
                  </c:pt>
                  <c:pt idx="1068">
                    <c:v>Rolling Stdev (30 Minute)</c:v>
                  </c:pt>
                  <c:pt idx="1069">
                    <c:v>Rolling Stdev (30 Minute)</c:v>
                  </c:pt>
                  <c:pt idx="1070">
                    <c:v>Rolling Stdev (30 Minute)</c:v>
                  </c:pt>
                  <c:pt idx="1071">
                    <c:v>Rolling Stdev (30 Minute)</c:v>
                  </c:pt>
                  <c:pt idx="1072">
                    <c:v>Rolling Stdev (30 Minute)</c:v>
                  </c:pt>
                  <c:pt idx="1073">
                    <c:v>Rolling Stdev (30 Minute)</c:v>
                  </c:pt>
                  <c:pt idx="1074">
                    <c:v>Rolling Stdev (30 Minute)</c:v>
                  </c:pt>
                  <c:pt idx="1075">
                    <c:v>Rolling Stdev (30 Minute)</c:v>
                  </c:pt>
                  <c:pt idx="1076">
                    <c:v>Rolling Stdev (30 Minute)</c:v>
                  </c:pt>
                  <c:pt idx="1077">
                    <c:v>Rolling Stdev (30 Minute)</c:v>
                  </c:pt>
                  <c:pt idx="1078">
                    <c:v>Rolling Stdev (30 Minute)</c:v>
                  </c:pt>
                  <c:pt idx="1079">
                    <c:v>Rolling Stdev (30 Minute)</c:v>
                  </c:pt>
                  <c:pt idx="1080">
                    <c:v>Rolling Stdev (30 Minute)</c:v>
                  </c:pt>
                  <c:pt idx="1081">
                    <c:v>Rolling Stdev (30 Minute)</c:v>
                  </c:pt>
                  <c:pt idx="1082">
                    <c:v>Rolling Stdev (30 Minute)</c:v>
                  </c:pt>
                  <c:pt idx="1083">
                    <c:v>Rolling Stdev (30 Minute)</c:v>
                  </c:pt>
                  <c:pt idx="1084">
                    <c:v>Rolling Stdev (30 Minute)</c:v>
                  </c:pt>
                  <c:pt idx="1085">
                    <c:v>Rolling Stdev (30 Minute)</c:v>
                  </c:pt>
                  <c:pt idx="1086">
                    <c:v>Rolling Stdev (30 Minute)</c:v>
                  </c:pt>
                  <c:pt idx="1087">
                    <c:v>Rolling Stdev (30 Minute)</c:v>
                  </c:pt>
                  <c:pt idx="1088">
                    <c:v>Rolling Stdev (30 Minute)</c:v>
                  </c:pt>
                  <c:pt idx="1089">
                    <c:v>Rolling Stdev (30 Minute)</c:v>
                  </c:pt>
                  <c:pt idx="1090">
                    <c:v>Rolling Stdev (30 Minute)</c:v>
                  </c:pt>
                  <c:pt idx="1091">
                    <c:v>Rolling Stdev (30 Minute)</c:v>
                  </c:pt>
                  <c:pt idx="1092">
                    <c:v>Rolling Stdev (30 Minute)</c:v>
                  </c:pt>
                  <c:pt idx="1093">
                    <c:v>Rolling Stdev (30 Minute)</c:v>
                  </c:pt>
                  <c:pt idx="1094">
                    <c:v>Rolling Stdev (30 Minute)</c:v>
                  </c:pt>
                  <c:pt idx="1095">
                    <c:v>Rolling Stdev (30 Minute)</c:v>
                  </c:pt>
                  <c:pt idx="1096">
                    <c:v>Rolling Stdev (30 Minute)</c:v>
                  </c:pt>
                  <c:pt idx="1097">
                    <c:v>Rolling Stdev (30 Minute)</c:v>
                  </c:pt>
                  <c:pt idx="1098">
                    <c:v>Rolling Stdev (30 Minute)</c:v>
                  </c:pt>
                  <c:pt idx="1099">
                    <c:v>Rolling Stdev (30 Minute)</c:v>
                  </c:pt>
                  <c:pt idx="1100">
                    <c:v>Rolling Stdev (30 Minute)</c:v>
                  </c:pt>
                  <c:pt idx="1101">
                    <c:v>Rolling Stdev (30 Minute)</c:v>
                  </c:pt>
                  <c:pt idx="1102">
                    <c:v>Rolling Stdev (30 Minute)</c:v>
                  </c:pt>
                  <c:pt idx="1103">
                    <c:v>Rolling Stdev (30 Minute)</c:v>
                  </c:pt>
                  <c:pt idx="1104">
                    <c:v>Rolling Stdev (30 Minute)</c:v>
                  </c:pt>
                  <c:pt idx="1105">
                    <c:v>Rolling Stdev (30 Minute)</c:v>
                  </c:pt>
                  <c:pt idx="1106">
                    <c:v>Rolling Stdev (30 Minute)</c:v>
                  </c:pt>
                  <c:pt idx="1107">
                    <c:v>Rolling Stdev (30 Minute)</c:v>
                  </c:pt>
                  <c:pt idx="1108">
                    <c:v>Rolling Stdev (30 Minute)</c:v>
                  </c:pt>
                  <c:pt idx="1109">
                    <c:v>Rolling Stdev (30 Minute)</c:v>
                  </c:pt>
                  <c:pt idx="1110">
                    <c:v>Rolling Stdev (30 Minute)</c:v>
                  </c:pt>
                  <c:pt idx="1111">
                    <c:v>Rolling Stdev (30 Minute)</c:v>
                  </c:pt>
                  <c:pt idx="1112">
                    <c:v>Rolling Stdev (30 Minute)</c:v>
                  </c:pt>
                  <c:pt idx="1113">
                    <c:v>Rolling Stdev (30 Minute)</c:v>
                  </c:pt>
                  <c:pt idx="1114">
                    <c:v>Rolling Stdev (30 Minute)</c:v>
                  </c:pt>
                  <c:pt idx="1115">
                    <c:v>Rolling Stdev (30 Minute)</c:v>
                  </c:pt>
                  <c:pt idx="1116">
                    <c:v>Rolling Stdev (30 Minute)</c:v>
                  </c:pt>
                  <c:pt idx="1117">
                    <c:v>Rolling Stdev (30 Minute)</c:v>
                  </c:pt>
                  <c:pt idx="1118">
                    <c:v>Rolling Stdev (30 Minute)</c:v>
                  </c:pt>
                  <c:pt idx="1119">
                    <c:v>Rolling Stdev (30 Minute)</c:v>
                  </c:pt>
                  <c:pt idx="1120">
                    <c:v>Rolling Stdev (30 Minute)</c:v>
                  </c:pt>
                  <c:pt idx="1121">
                    <c:v>Rolling Stdev (30 Minute)</c:v>
                  </c:pt>
                  <c:pt idx="1122">
                    <c:v>Rolling Stdev (30 Minute)</c:v>
                  </c:pt>
                  <c:pt idx="1123">
                    <c:v>Rolling Stdev (30 Minute)</c:v>
                  </c:pt>
                  <c:pt idx="1124">
                    <c:v>Rolling Stdev (30 Minute)</c:v>
                  </c:pt>
                  <c:pt idx="1125">
                    <c:v>Rolling Stdev (30 Minute)</c:v>
                  </c:pt>
                  <c:pt idx="1126">
                    <c:v>Rolling Stdev (30 Minute)</c:v>
                  </c:pt>
                  <c:pt idx="1127">
                    <c:v>Rolling Stdev (30 Minute)</c:v>
                  </c:pt>
                  <c:pt idx="1128">
                    <c:v>Rolling Stdev (30 Minute)</c:v>
                  </c:pt>
                  <c:pt idx="1129">
                    <c:v>Rolling Stdev (30 Minute)</c:v>
                  </c:pt>
                  <c:pt idx="1130">
                    <c:v>Rolling Stdev (30 Minute)</c:v>
                  </c:pt>
                  <c:pt idx="1131">
                    <c:v>Rolling Stdev (30 Minute)</c:v>
                  </c:pt>
                  <c:pt idx="1132">
                    <c:v>Rolling Stdev (30 Minute)</c:v>
                  </c:pt>
                  <c:pt idx="1133">
                    <c:v>Rolling Stdev (30 Minute)</c:v>
                  </c:pt>
                  <c:pt idx="1134">
                    <c:v>Rolling Stdev (30 Minute)</c:v>
                  </c:pt>
                  <c:pt idx="1135">
                    <c:v>Rolling Stdev (30 Minute)</c:v>
                  </c:pt>
                  <c:pt idx="1136">
                    <c:v>Rolling Stdev (30 Minute)</c:v>
                  </c:pt>
                  <c:pt idx="1137">
                    <c:v>Rolling Stdev (30 Minute)</c:v>
                  </c:pt>
                  <c:pt idx="1138">
                    <c:v>Rolling Stdev (30 Minute)</c:v>
                  </c:pt>
                  <c:pt idx="1139">
                    <c:v>Rolling Stdev (30 Minute)</c:v>
                  </c:pt>
                  <c:pt idx="1140">
                    <c:v>Rolling Stdev (30 Minute)</c:v>
                  </c:pt>
                  <c:pt idx="1141">
                    <c:v>Rolling Stdev (30 Minute)</c:v>
                  </c:pt>
                  <c:pt idx="1142">
                    <c:v>Rolling Stdev (30 Minute)</c:v>
                  </c:pt>
                  <c:pt idx="1143">
                    <c:v>Rolling Stdev (30 Minute)</c:v>
                  </c:pt>
                  <c:pt idx="1144">
                    <c:v>Rolling Stdev (30 Minute)</c:v>
                  </c:pt>
                  <c:pt idx="1145">
                    <c:v>Rolling Stdev (30 Minute)</c:v>
                  </c:pt>
                  <c:pt idx="1146">
                    <c:v>Rolling Stdev (30 Minute)</c:v>
                  </c:pt>
                  <c:pt idx="1147">
                    <c:v>Rolling Stdev (30 Minute)</c:v>
                  </c:pt>
                  <c:pt idx="1148">
                    <c:v>Rolling Stdev (30 Minute)</c:v>
                  </c:pt>
                  <c:pt idx="1149">
                    <c:v>Rolling Stdev (30 Minute)</c:v>
                  </c:pt>
                  <c:pt idx="1150">
                    <c:v>Rolling Stdev (30 Minute)</c:v>
                  </c:pt>
                  <c:pt idx="1151">
                    <c:v>Rolling Stdev (30 Minute)</c:v>
                  </c:pt>
                  <c:pt idx="1152">
                    <c:v>Rolling Stdev (30 Minute)</c:v>
                  </c:pt>
                  <c:pt idx="1153">
                    <c:v>Rolling Stdev (30 Minute)</c:v>
                  </c:pt>
                  <c:pt idx="1154">
                    <c:v>Rolling Stdev (30 Minute)</c:v>
                  </c:pt>
                  <c:pt idx="1155">
                    <c:v>Rolling Stdev (30 Minute)</c:v>
                  </c:pt>
                  <c:pt idx="1156">
                    <c:v>Rolling Stdev (30 Minute)</c:v>
                  </c:pt>
                  <c:pt idx="1157">
                    <c:v>Rolling Stdev (30 Minute)</c:v>
                  </c:pt>
                  <c:pt idx="1158">
                    <c:v>Rolling Stdev (30 Minute)</c:v>
                  </c:pt>
                  <c:pt idx="1159">
                    <c:v>Rolling Stdev (30 Minute)</c:v>
                  </c:pt>
                  <c:pt idx="1160">
                    <c:v>Rolling Stdev (30 Minute)</c:v>
                  </c:pt>
                  <c:pt idx="1161">
                    <c:v>Rolling Stdev (30 Minute)</c:v>
                  </c:pt>
                  <c:pt idx="1162">
                    <c:v>Rolling Stdev (30 Minute)</c:v>
                  </c:pt>
                  <c:pt idx="1163">
                    <c:v>Rolling Stdev (30 Minute)</c:v>
                  </c:pt>
                  <c:pt idx="1164">
                    <c:v>Rolling Stdev (30 Minute)</c:v>
                  </c:pt>
                  <c:pt idx="1165">
                    <c:v>Rolling Stdev (30 Minute)</c:v>
                  </c:pt>
                  <c:pt idx="1166">
                    <c:v>Rolling Stdev (30 Minute)</c:v>
                  </c:pt>
                  <c:pt idx="1167">
                    <c:v>Rolling Stdev (30 Minute)</c:v>
                  </c:pt>
                  <c:pt idx="1168">
                    <c:v>Rolling Stdev (30 Minute)</c:v>
                  </c:pt>
                  <c:pt idx="1169">
                    <c:v>Rolling Stdev (30 Minute)</c:v>
                  </c:pt>
                  <c:pt idx="1170">
                    <c:v>Rolling Stdev (30 Minute)</c:v>
                  </c:pt>
                  <c:pt idx="1171">
                    <c:v>Rolling Stdev (30 Minute)</c:v>
                  </c:pt>
                  <c:pt idx="1172">
                    <c:v>Rolling Stdev (30 Minute)</c:v>
                  </c:pt>
                  <c:pt idx="1173">
                    <c:v>Rolling Stdev (30 Minute)</c:v>
                  </c:pt>
                  <c:pt idx="1174">
                    <c:v>Rolling Stdev (30 Minute)</c:v>
                  </c:pt>
                  <c:pt idx="1175">
                    <c:v>Rolling Stdev (30 Minute)</c:v>
                  </c:pt>
                  <c:pt idx="1176">
                    <c:v>Rolling Stdev (30 Minute)</c:v>
                  </c:pt>
                  <c:pt idx="1177">
                    <c:v>Rolling Stdev (30 Minute)</c:v>
                  </c:pt>
                  <c:pt idx="1178">
                    <c:v>Rolling Stdev (30 Minute)</c:v>
                  </c:pt>
                  <c:pt idx="1179">
                    <c:v>Rolling Stdev (30 Minute)</c:v>
                  </c:pt>
                  <c:pt idx="1180">
                    <c:v>Rolling Stdev (30 Minute)</c:v>
                  </c:pt>
                  <c:pt idx="1181">
                    <c:v>Rolling Stdev (30 Minute)</c:v>
                  </c:pt>
                  <c:pt idx="1182">
                    <c:v>Rolling Stdev (30 Minute)</c:v>
                  </c:pt>
                  <c:pt idx="1183">
                    <c:v>Rolling Stdev (30 Minute)</c:v>
                  </c:pt>
                  <c:pt idx="1184">
                    <c:v>Rolling Stdev (30 Minute)</c:v>
                  </c:pt>
                  <c:pt idx="1185">
                    <c:v>Rolling Stdev (30 Minute)</c:v>
                  </c:pt>
                  <c:pt idx="1186">
                    <c:v>Rolling Stdev (30 Minute)</c:v>
                  </c:pt>
                  <c:pt idx="1187">
                    <c:v>Rolling Stdev (30 Minute)</c:v>
                  </c:pt>
                  <c:pt idx="1188">
                    <c:v>Rolling Stdev (30 Minute)</c:v>
                  </c:pt>
                  <c:pt idx="1189">
                    <c:v>Rolling Stdev (30 Minute)</c:v>
                  </c:pt>
                  <c:pt idx="1190">
                    <c:v>Rolling Stdev (30 Minute)</c:v>
                  </c:pt>
                  <c:pt idx="1191">
                    <c:v>Rolling Stdev (30 Minute)</c:v>
                  </c:pt>
                  <c:pt idx="1192">
                    <c:v>Rolling Stdev (30 Minute)</c:v>
                  </c:pt>
                  <c:pt idx="1193">
                    <c:v>Rolling Stdev (30 Minute)</c:v>
                  </c:pt>
                  <c:pt idx="1194">
                    <c:v>Rolling Stdev (30 Minute)</c:v>
                  </c:pt>
                  <c:pt idx="1195">
                    <c:v>Rolling Stdev (30 Minute)</c:v>
                  </c:pt>
                  <c:pt idx="1196">
                    <c:v>Rolling Stdev (30 Minute)</c:v>
                  </c:pt>
                  <c:pt idx="1197">
                    <c:v>Rolling Stdev (30 Minute)</c:v>
                  </c:pt>
                  <c:pt idx="1198">
                    <c:v>Rolling Stdev (30 Minute)</c:v>
                  </c:pt>
                  <c:pt idx="1199">
                    <c:v>Rolling Stdev (30 Minute)</c:v>
                  </c:pt>
                  <c:pt idx="1200">
                    <c:v>Rolling Stdev (30 Minute)</c:v>
                  </c:pt>
                  <c:pt idx="1201">
                    <c:v>Rolling Stdev (30 Minute)</c:v>
                  </c:pt>
                  <c:pt idx="1202">
                    <c:v>Rolling Stdev (30 Minute)</c:v>
                  </c:pt>
                  <c:pt idx="1203">
                    <c:v>Rolling Stdev (30 Minute)</c:v>
                  </c:pt>
                  <c:pt idx="1204">
                    <c:v>Rolling Stdev (30 Minute)</c:v>
                  </c:pt>
                  <c:pt idx="1205">
                    <c:v>Rolling Stdev (30 Minute)</c:v>
                  </c:pt>
                  <c:pt idx="1206">
                    <c:v>Rolling Stdev (30 Minute)</c:v>
                  </c:pt>
                  <c:pt idx="1207">
                    <c:v>Rolling Stdev (30 Minute)</c:v>
                  </c:pt>
                  <c:pt idx="1208">
                    <c:v>Rolling Stdev (30 Minute)</c:v>
                  </c:pt>
                  <c:pt idx="1209">
                    <c:v>Rolling Stdev (30 Minute)</c:v>
                  </c:pt>
                  <c:pt idx="1210">
                    <c:v>Rolling Stdev (30 Minute)</c:v>
                  </c:pt>
                  <c:pt idx="1211">
                    <c:v>Rolling Stdev (30 Minute)</c:v>
                  </c:pt>
                  <c:pt idx="1212">
                    <c:v>Rolling Stdev (30 Minute)</c:v>
                  </c:pt>
                  <c:pt idx="1213">
                    <c:v>Rolling Stdev (30 Minute)</c:v>
                  </c:pt>
                  <c:pt idx="1214">
                    <c:v>Rolling Stdev (30 Minute)</c:v>
                  </c:pt>
                  <c:pt idx="1215">
                    <c:v>Rolling Stdev (30 Minute)</c:v>
                  </c:pt>
                  <c:pt idx="1216">
                    <c:v>Rolling Stdev (30 Minute)</c:v>
                  </c:pt>
                  <c:pt idx="1217">
                    <c:v>Rolling Stdev (30 Minute)</c:v>
                  </c:pt>
                  <c:pt idx="1218">
                    <c:v>Rolling Stdev (30 Minute)</c:v>
                  </c:pt>
                  <c:pt idx="1219">
                    <c:v>Rolling Stdev (30 Minute)</c:v>
                  </c:pt>
                  <c:pt idx="1220">
                    <c:v>Rolling Stdev (30 Minute)</c:v>
                  </c:pt>
                  <c:pt idx="1221">
                    <c:v>Rolling Stdev (30 Minute)</c:v>
                  </c:pt>
                  <c:pt idx="1222">
                    <c:v>Rolling Stdev (30 Minute)</c:v>
                  </c:pt>
                  <c:pt idx="1223">
                    <c:v>Rolling Stdev (30 Minute)</c:v>
                  </c:pt>
                  <c:pt idx="1224">
                    <c:v>Rolling Stdev (30 Minute)</c:v>
                  </c:pt>
                  <c:pt idx="1225">
                    <c:v>Rolling Stdev (30 Minute)</c:v>
                  </c:pt>
                  <c:pt idx="1226">
                    <c:v>Rolling Stdev (30 Minute)</c:v>
                  </c:pt>
                  <c:pt idx="1227">
                    <c:v>Rolling Stdev (30 Minute)</c:v>
                  </c:pt>
                  <c:pt idx="1228">
                    <c:v>Rolling Stdev (30 Minute)</c:v>
                  </c:pt>
                  <c:pt idx="1229">
                    <c:v>Rolling Stdev (30 Minute)</c:v>
                  </c:pt>
                  <c:pt idx="1230">
                    <c:v>Rolling Stdev (30 Minute)</c:v>
                  </c:pt>
                  <c:pt idx="1231">
                    <c:v>Rolling Stdev (30 Minute)</c:v>
                  </c:pt>
                  <c:pt idx="1232">
                    <c:v>Rolling Stdev (30 Minute)</c:v>
                  </c:pt>
                  <c:pt idx="1233">
                    <c:v>Rolling Stdev (30 Minute)</c:v>
                  </c:pt>
                  <c:pt idx="1234">
                    <c:v>Rolling Stdev (30 Minute)</c:v>
                  </c:pt>
                  <c:pt idx="1235">
                    <c:v>Rolling Stdev (30 Minute)</c:v>
                  </c:pt>
                  <c:pt idx="1236">
                    <c:v>Rolling Stdev (30 Minute)</c:v>
                  </c:pt>
                  <c:pt idx="1237">
                    <c:v>Rolling Stdev (30 Minute)</c:v>
                  </c:pt>
                  <c:pt idx="1238">
                    <c:v>Rolling Stdev (30 Minute)</c:v>
                  </c:pt>
                  <c:pt idx="1239">
                    <c:v>Rolling Stdev (30 Minute)</c:v>
                  </c:pt>
                  <c:pt idx="1240">
                    <c:v>Rolling Stdev (30 Minute)</c:v>
                  </c:pt>
                  <c:pt idx="1241">
                    <c:v>Rolling Stdev (30 Minute)</c:v>
                  </c:pt>
                  <c:pt idx="1242">
                    <c:v>Rolling Stdev (30 Minute)</c:v>
                  </c:pt>
                  <c:pt idx="1243">
                    <c:v>Rolling Stdev (30 Minute)</c:v>
                  </c:pt>
                  <c:pt idx="1244">
                    <c:v>Rolling Stdev (30 Minute)</c:v>
                  </c:pt>
                  <c:pt idx="1245">
                    <c:v>Rolling Stdev (30 Minute)</c:v>
                  </c:pt>
                  <c:pt idx="1246">
                    <c:v>Rolling Stdev (30 Minute)</c:v>
                  </c:pt>
                  <c:pt idx="1247">
                    <c:v>Rolling Stdev (30 Minute)</c:v>
                  </c:pt>
                  <c:pt idx="1248">
                    <c:v>Rolling Stdev (30 Minute)</c:v>
                  </c:pt>
                  <c:pt idx="1249">
                    <c:v>Rolling Stdev (30 Minute)</c:v>
                  </c:pt>
                  <c:pt idx="1250">
                    <c:v>Rolling Stdev (30 Minute)</c:v>
                  </c:pt>
                  <c:pt idx="1251">
                    <c:v>Rolling Stdev (30 Minute)</c:v>
                  </c:pt>
                  <c:pt idx="1252">
                    <c:v>Rolling Stdev (30 Minute)</c:v>
                  </c:pt>
                  <c:pt idx="1253">
                    <c:v>Rolling Stdev (30 Minute)</c:v>
                  </c:pt>
                  <c:pt idx="1254">
                    <c:v>Rolling Stdev (30 Minute)</c:v>
                  </c:pt>
                  <c:pt idx="1255">
                    <c:v>Rolling Stdev (30 Minute)</c:v>
                  </c:pt>
                  <c:pt idx="1256">
                    <c:v>Rolling Stdev (30 Minute)</c:v>
                  </c:pt>
                  <c:pt idx="1257">
                    <c:v>Rolling Stdev (30 Minute)</c:v>
                  </c:pt>
                  <c:pt idx="1258">
                    <c:v>Rolling Stdev (30 Minute)</c:v>
                  </c:pt>
                  <c:pt idx="1259">
                    <c:v>Rolling Stdev (30 Minute)</c:v>
                  </c:pt>
                  <c:pt idx="1260">
                    <c:v>Rolling Stdev (30 Minute)</c:v>
                  </c:pt>
                  <c:pt idx="1261">
                    <c:v>Rolling Stdev (30 Minute)</c:v>
                  </c:pt>
                  <c:pt idx="1262">
                    <c:v>Rolling Stdev (30 Minute)</c:v>
                  </c:pt>
                  <c:pt idx="1263">
                    <c:v>Rolling Stdev (30 Minute)</c:v>
                  </c:pt>
                  <c:pt idx="1264">
                    <c:v>Rolling Stdev (30 Minute)</c:v>
                  </c:pt>
                  <c:pt idx="1265">
                    <c:v>Rolling Stdev (30 Minute)</c:v>
                  </c:pt>
                  <c:pt idx="1266">
                    <c:v>Rolling Stdev (30 Minute)</c:v>
                  </c:pt>
                  <c:pt idx="1267">
                    <c:v>Rolling Stdev (30 Minute)</c:v>
                  </c:pt>
                  <c:pt idx="1268">
                    <c:v>Rolling Stdev (30 Minute)</c:v>
                  </c:pt>
                  <c:pt idx="1269">
                    <c:v>Rolling Stdev (30 Minute)</c:v>
                  </c:pt>
                  <c:pt idx="1270">
                    <c:v>Rolling Stdev (30 Minute)</c:v>
                  </c:pt>
                  <c:pt idx="1271">
                    <c:v>Rolling Stdev (30 Minute)</c:v>
                  </c:pt>
                  <c:pt idx="1272">
                    <c:v>Rolling Stdev (30 Minute)</c:v>
                  </c:pt>
                  <c:pt idx="1273">
                    <c:v>Rolling Stdev (30 Minute)</c:v>
                  </c:pt>
                  <c:pt idx="1274">
                    <c:v>Rolling Stdev (30 Minute)</c:v>
                  </c:pt>
                  <c:pt idx="1275">
                    <c:v>Rolling Stdev (30 Minute)</c:v>
                  </c:pt>
                  <c:pt idx="1276">
                    <c:v>Rolling Stdev (30 Minute)</c:v>
                  </c:pt>
                  <c:pt idx="1277">
                    <c:v>Rolling Stdev (30 Minute)</c:v>
                  </c:pt>
                  <c:pt idx="1278">
                    <c:v>Rolling Stdev (30 Minute)</c:v>
                  </c:pt>
                  <c:pt idx="1279">
                    <c:v>Rolling Stdev (30 Minute)</c:v>
                  </c:pt>
                  <c:pt idx="1280">
                    <c:v>Rolling Stdev (30 Minute)</c:v>
                  </c:pt>
                  <c:pt idx="1281">
                    <c:v>Rolling Stdev (30 Minute)</c:v>
                  </c:pt>
                  <c:pt idx="1282">
                    <c:v>Rolling Stdev (30 Minute)</c:v>
                  </c:pt>
                  <c:pt idx="1283">
                    <c:v>Rolling Stdev (30 Minute)</c:v>
                  </c:pt>
                  <c:pt idx="1284">
                    <c:v>Rolling Stdev (30 Minute)</c:v>
                  </c:pt>
                  <c:pt idx="1285">
                    <c:v>Rolling Stdev (30 Minute)</c:v>
                  </c:pt>
                  <c:pt idx="1286">
                    <c:v>Rolling Stdev (30 Minute)</c:v>
                  </c:pt>
                  <c:pt idx="1287">
                    <c:v>Rolling Stdev (30 Minute)</c:v>
                  </c:pt>
                  <c:pt idx="1288">
                    <c:v>Rolling Stdev (30 Minute)</c:v>
                  </c:pt>
                  <c:pt idx="1289">
                    <c:v>Rolling Stdev (30 Minute)</c:v>
                  </c:pt>
                  <c:pt idx="1290">
                    <c:v>Rolling Stdev (30 Minute)</c:v>
                  </c:pt>
                  <c:pt idx="1291">
                    <c:v>Rolling Stdev (30 Minute)</c:v>
                  </c:pt>
                  <c:pt idx="1292">
                    <c:v>Rolling Stdev (30 Minute)</c:v>
                  </c:pt>
                  <c:pt idx="1293">
                    <c:v>Rolling Stdev (30 Minute)</c:v>
                  </c:pt>
                  <c:pt idx="1294">
                    <c:v>Rolling Stdev (30 Minute)</c:v>
                  </c:pt>
                  <c:pt idx="1295">
                    <c:v>Rolling Stdev (30 Minute)</c:v>
                  </c:pt>
                  <c:pt idx="1296">
                    <c:v>Rolling Stdev (30 Minute)</c:v>
                  </c:pt>
                  <c:pt idx="1297">
                    <c:v>Rolling Stdev (30 Minute)</c:v>
                  </c:pt>
                  <c:pt idx="1298">
                    <c:v>Rolling Stdev (30 Minute)</c:v>
                  </c:pt>
                  <c:pt idx="1299">
                    <c:v>Rolling Stdev (30 Minute)</c:v>
                  </c:pt>
                  <c:pt idx="1300">
                    <c:v>Rolling Stdev (30 Minute)</c:v>
                  </c:pt>
                  <c:pt idx="1301">
                    <c:v>Rolling Stdev (30 Minute)</c:v>
                  </c:pt>
                  <c:pt idx="1302">
                    <c:v>Rolling Stdev (30 Minute)</c:v>
                  </c:pt>
                  <c:pt idx="1303">
                    <c:v>Rolling Stdev (30 Minute)</c:v>
                  </c:pt>
                  <c:pt idx="1304">
                    <c:v>Rolling Stdev (30 Minute)</c:v>
                  </c:pt>
                  <c:pt idx="1305">
                    <c:v>Rolling Stdev (30 Minute)</c:v>
                  </c:pt>
                  <c:pt idx="1306">
                    <c:v>Rolling Stdev (30 Minute)</c:v>
                  </c:pt>
                  <c:pt idx="1307">
                    <c:v>Rolling Stdev (30 Minute)</c:v>
                  </c:pt>
                  <c:pt idx="1308">
                    <c:v>Rolling Stdev (30 Minute)</c:v>
                  </c:pt>
                  <c:pt idx="1309">
                    <c:v>Rolling Stdev (30 Minute)</c:v>
                  </c:pt>
                  <c:pt idx="1310">
                    <c:v>Rolling Stdev (30 Minute)</c:v>
                  </c:pt>
                  <c:pt idx="1311">
                    <c:v>Rolling Stdev (30 Minute)</c:v>
                  </c:pt>
                  <c:pt idx="1312">
                    <c:v>Rolling Stdev (30 Minute)</c:v>
                  </c:pt>
                  <c:pt idx="1313">
                    <c:v>Rolling Stdev (30 Minute)</c:v>
                  </c:pt>
                  <c:pt idx="1314">
                    <c:v>Rolling Stdev (30 Minute)</c:v>
                  </c:pt>
                  <c:pt idx="1315">
                    <c:v>Rolling Stdev (30 Minute)</c:v>
                  </c:pt>
                  <c:pt idx="1316">
                    <c:v>Rolling Stdev (30 Minute)</c:v>
                  </c:pt>
                  <c:pt idx="1317">
                    <c:v>Rolling Stdev (30 Minute)</c:v>
                  </c:pt>
                  <c:pt idx="1318">
                    <c:v>Rolling Stdev (30 Minute)</c:v>
                  </c:pt>
                  <c:pt idx="1319">
                    <c:v>Rolling Stdev (30 Minute)</c:v>
                  </c:pt>
                  <c:pt idx="1320">
                    <c:v>Rolling Stdev (30 Minute)</c:v>
                  </c:pt>
                  <c:pt idx="1321">
                    <c:v>Rolling Stdev (30 Minute)</c:v>
                  </c:pt>
                  <c:pt idx="1322">
                    <c:v>Rolling Stdev (30 Minute)</c:v>
                  </c:pt>
                  <c:pt idx="1323">
                    <c:v>Rolling Stdev (30 Minute)</c:v>
                  </c:pt>
                  <c:pt idx="1324">
                    <c:v>Rolling Stdev (30 Minute)</c:v>
                  </c:pt>
                  <c:pt idx="1325">
                    <c:v>Rolling Stdev (30 Minute)</c:v>
                  </c:pt>
                  <c:pt idx="1326">
                    <c:v>Rolling Stdev (30 Minute)</c:v>
                  </c:pt>
                  <c:pt idx="1327">
                    <c:v>Rolling Stdev (30 Minute)</c:v>
                  </c:pt>
                  <c:pt idx="1328">
                    <c:v>Rolling Stdev (30 Minute)</c:v>
                  </c:pt>
                  <c:pt idx="1329">
                    <c:v>Rolling Stdev (30 Minute)</c:v>
                  </c:pt>
                  <c:pt idx="1330">
                    <c:v>Rolling Stdev (30 Minute)</c:v>
                  </c:pt>
                  <c:pt idx="1331">
                    <c:v>Rolling Stdev (30 Minute)</c:v>
                  </c:pt>
                  <c:pt idx="1332">
                    <c:v>Rolling Stdev (30 Minute)</c:v>
                  </c:pt>
                  <c:pt idx="1333">
                    <c:v>Rolling Stdev (30 Minute)</c:v>
                  </c:pt>
                  <c:pt idx="1334">
                    <c:v>Rolling Stdev (30 Minute)</c:v>
                  </c:pt>
                  <c:pt idx="1335">
                    <c:v>Rolling Stdev (30 Minute)</c:v>
                  </c:pt>
                  <c:pt idx="1336">
                    <c:v>Rolling Stdev (30 Minute)</c:v>
                  </c:pt>
                  <c:pt idx="1337">
                    <c:v>Rolling Stdev (30 Minute)</c:v>
                  </c:pt>
                  <c:pt idx="1338">
                    <c:v>Rolling Stdev (30 Minute)</c:v>
                  </c:pt>
                  <c:pt idx="1339">
                    <c:v>Rolling Stdev (30 Minute)</c:v>
                  </c:pt>
                  <c:pt idx="1340">
                    <c:v>Rolling Stdev (30 Minute)</c:v>
                  </c:pt>
                  <c:pt idx="1341">
                    <c:v>Rolling Stdev (30 Minute)</c:v>
                  </c:pt>
                  <c:pt idx="1342">
                    <c:v>Rolling Stdev (30 Minute)</c:v>
                  </c:pt>
                  <c:pt idx="1343">
                    <c:v>Rolling Stdev (30 Minute)</c:v>
                  </c:pt>
                  <c:pt idx="1344">
                    <c:v>Rolling Stdev (30 Minute)</c:v>
                  </c:pt>
                  <c:pt idx="1345">
                    <c:v>Rolling Stdev (30 Minute)</c:v>
                  </c:pt>
                  <c:pt idx="1346">
                    <c:v>Rolling Stdev (30 Minute)</c:v>
                  </c:pt>
                  <c:pt idx="1347">
                    <c:v>Rolling Stdev (30 Minute)</c:v>
                  </c:pt>
                  <c:pt idx="1348">
                    <c:v>Rolling Stdev (30 Minute)</c:v>
                  </c:pt>
                  <c:pt idx="1349">
                    <c:v>Rolling Stdev (30 Minute)</c:v>
                  </c:pt>
                  <c:pt idx="1350">
                    <c:v>Rolling Stdev (30 Minute)</c:v>
                  </c:pt>
                  <c:pt idx="1351">
                    <c:v>Rolling Stdev (30 Minute)</c:v>
                  </c:pt>
                  <c:pt idx="1352">
                    <c:v>Rolling Stdev (30 Minute)</c:v>
                  </c:pt>
                  <c:pt idx="1353">
                    <c:v>Rolling Stdev (30 Minute)</c:v>
                  </c:pt>
                  <c:pt idx="1354">
                    <c:v>Rolling Stdev (30 Minute)</c:v>
                  </c:pt>
                  <c:pt idx="1355">
                    <c:v>Rolling Stdev (30 Minute)</c:v>
                  </c:pt>
                  <c:pt idx="1356">
                    <c:v>Rolling Stdev (30 Minute)</c:v>
                  </c:pt>
                  <c:pt idx="1357">
                    <c:v>Rolling Stdev (30 Minute)</c:v>
                  </c:pt>
                  <c:pt idx="1358">
                    <c:v>Rolling Stdev (30 Minute)</c:v>
                  </c:pt>
                  <c:pt idx="1359">
                    <c:v>Rolling Stdev (30 Minute)</c:v>
                  </c:pt>
                  <c:pt idx="1360">
                    <c:v>Rolling Stdev (30 Minute)</c:v>
                  </c:pt>
                  <c:pt idx="1361">
                    <c:v>Rolling Stdev (30 Minute)</c:v>
                  </c:pt>
                  <c:pt idx="1362">
                    <c:v>Rolling Stdev (30 Minute)</c:v>
                  </c:pt>
                  <c:pt idx="1363">
                    <c:v>Rolling Stdev (30 Minute)</c:v>
                  </c:pt>
                  <c:pt idx="1364">
                    <c:v>Rolling Stdev (30 Minute)</c:v>
                  </c:pt>
                  <c:pt idx="1365">
                    <c:v>Rolling Stdev (30 Minute)</c:v>
                  </c:pt>
                  <c:pt idx="1366">
                    <c:v>Rolling Stdev (30 Minute)</c:v>
                  </c:pt>
                  <c:pt idx="1367">
                    <c:v>Rolling Stdev (30 Minute)</c:v>
                  </c:pt>
                  <c:pt idx="1368">
                    <c:v>Rolling Stdev (30 Minute)</c:v>
                  </c:pt>
                  <c:pt idx="1369">
                    <c:v>Rolling Stdev (30 Minute)</c:v>
                  </c:pt>
                  <c:pt idx="1370">
                    <c:v>Rolling Stdev (30 Minute)</c:v>
                  </c:pt>
                  <c:pt idx="1371">
                    <c:v>Rolling Stdev (30 Minute)</c:v>
                  </c:pt>
                  <c:pt idx="1372">
                    <c:v>Rolling Stdev (30 Minute)</c:v>
                  </c:pt>
                  <c:pt idx="1373">
                    <c:v>Rolling Stdev (30 Minute)</c:v>
                  </c:pt>
                  <c:pt idx="1374">
                    <c:v>Rolling Stdev (30 Minute)</c:v>
                  </c:pt>
                  <c:pt idx="1375">
                    <c:v>Rolling Stdev (30 Minute)</c:v>
                  </c:pt>
                  <c:pt idx="1376">
                    <c:v>Rolling Stdev (30 Minute)</c:v>
                  </c:pt>
                  <c:pt idx="1377">
                    <c:v>Rolling Stdev (30 Minute)</c:v>
                  </c:pt>
                  <c:pt idx="1378">
                    <c:v>Rolling Stdev (30 Minute)</c:v>
                  </c:pt>
                  <c:pt idx="1379">
                    <c:v>Rolling Stdev (30 Minute)</c:v>
                  </c:pt>
                  <c:pt idx="1380">
                    <c:v>Rolling Stdev (30 Minute)</c:v>
                  </c:pt>
                  <c:pt idx="1381">
                    <c:v>Rolling Stdev (30 Minute)</c:v>
                  </c:pt>
                  <c:pt idx="1382">
                    <c:v>Rolling Stdev (30 Minute)</c:v>
                  </c:pt>
                  <c:pt idx="1383">
                    <c:v>Rolling Stdev (30 Minute)</c:v>
                  </c:pt>
                  <c:pt idx="1384">
                    <c:v>Rolling Stdev (30 Minute)</c:v>
                  </c:pt>
                  <c:pt idx="1385">
                    <c:v>Rolling Stdev (30 Minute)</c:v>
                  </c:pt>
                  <c:pt idx="1386">
                    <c:v>Rolling Stdev (30 Minute)</c:v>
                  </c:pt>
                  <c:pt idx="1387">
                    <c:v>Rolling Stdev (30 Minute)</c:v>
                  </c:pt>
                  <c:pt idx="1388">
                    <c:v>Rolling Stdev (30 Minute)</c:v>
                  </c:pt>
                  <c:pt idx="1389">
                    <c:v>Rolling Stdev (30 Minute)</c:v>
                  </c:pt>
                  <c:pt idx="1390">
                    <c:v>Rolling Stdev (30 Minute)</c:v>
                  </c:pt>
                  <c:pt idx="1391">
                    <c:v>Rolling Stdev (30 Minute)</c:v>
                  </c:pt>
                  <c:pt idx="1392">
                    <c:v>Rolling Stdev (30 Minute)</c:v>
                  </c:pt>
                  <c:pt idx="1393">
                    <c:v>Rolling Stdev (30 Minute)</c:v>
                  </c:pt>
                  <c:pt idx="1394">
                    <c:v>Rolling Stdev (30 Minute)</c:v>
                  </c:pt>
                  <c:pt idx="1395">
                    <c:v>Rolling Stdev (30 Minute)</c:v>
                  </c:pt>
                  <c:pt idx="1396">
                    <c:v>Rolling Stdev (30 Minute)</c:v>
                  </c:pt>
                  <c:pt idx="1397">
                    <c:v>Rolling Stdev (30 Minute)</c:v>
                  </c:pt>
                  <c:pt idx="1398">
                    <c:v>Rolling Stdev (30 Minute)</c:v>
                  </c:pt>
                  <c:pt idx="1399">
                    <c:v>Rolling Stdev (30 Minute)</c:v>
                  </c:pt>
                  <c:pt idx="1400">
                    <c:v>Rolling Stdev (30 Minute)</c:v>
                  </c:pt>
                  <c:pt idx="1401">
                    <c:v>Rolling Stdev (30 Minute)</c:v>
                  </c:pt>
                  <c:pt idx="1402">
                    <c:v>Rolling Stdev (30 Minute)</c:v>
                  </c:pt>
                  <c:pt idx="1403">
                    <c:v>Rolling Stdev (30 Minute)</c:v>
                  </c:pt>
                  <c:pt idx="1404">
                    <c:v>Rolling Stdev (30 Minute)</c:v>
                  </c:pt>
                  <c:pt idx="1405">
                    <c:v>Rolling Stdev (30 Minute)</c:v>
                  </c:pt>
                  <c:pt idx="1406">
                    <c:v>Rolling Stdev (30 Minute)</c:v>
                  </c:pt>
                  <c:pt idx="1407">
                    <c:v>Rolling Stdev (30 Minute)</c:v>
                  </c:pt>
                  <c:pt idx="1408">
                    <c:v>Rolling Stdev (30 Minute)</c:v>
                  </c:pt>
                  <c:pt idx="1409">
                    <c:v>Rolling Stdev (30 Minute)</c:v>
                  </c:pt>
                  <c:pt idx="1410">
                    <c:v>Rolling Stdev (30 Minute)</c:v>
                  </c:pt>
                  <c:pt idx="1411">
                    <c:v>Rolling Stdev (30 Minute)</c:v>
                  </c:pt>
                  <c:pt idx="1412">
                    <c:v>Rolling Stdev (30 Minute)</c:v>
                  </c:pt>
                  <c:pt idx="1413">
                    <c:v>Rolling Stdev (30 Minute)</c:v>
                  </c:pt>
                  <c:pt idx="1414">
                    <c:v>Rolling Stdev (30 Minute)</c:v>
                  </c:pt>
                  <c:pt idx="1415">
                    <c:v>Rolling Stdev (30 Minute)</c:v>
                  </c:pt>
                  <c:pt idx="1416">
                    <c:v>Rolling Stdev (30 Minute)</c:v>
                  </c:pt>
                  <c:pt idx="1417">
                    <c:v>Rolling Stdev (30 Minute)</c:v>
                  </c:pt>
                  <c:pt idx="1418">
                    <c:v>Rolling Stdev (30 Minute)</c:v>
                  </c:pt>
                  <c:pt idx="1419">
                    <c:v>Rolling Stdev (30 Minute)</c:v>
                  </c:pt>
                  <c:pt idx="1420">
                    <c:v>Rolling Stdev (30 Minute)</c:v>
                  </c:pt>
                  <c:pt idx="1421">
                    <c:v>Rolling Stdev (30 Minute)</c:v>
                  </c:pt>
                  <c:pt idx="1422">
                    <c:v>Rolling Stdev (30 Minute)</c:v>
                  </c:pt>
                  <c:pt idx="1423">
                    <c:v>Rolling Stdev (30 Minute)</c:v>
                  </c:pt>
                  <c:pt idx="1424">
                    <c:v>Rolling Stdev (30 Minute)</c:v>
                  </c:pt>
                  <c:pt idx="1425">
                    <c:v>Rolling Stdev (30 Minute)</c:v>
                  </c:pt>
                  <c:pt idx="1426">
                    <c:v>Rolling Stdev (30 Minute)</c:v>
                  </c:pt>
                  <c:pt idx="1427">
                    <c:v>Rolling Stdev (30 Minute)</c:v>
                  </c:pt>
                  <c:pt idx="1428">
                    <c:v>Rolling Stdev (30 Minute)</c:v>
                  </c:pt>
                  <c:pt idx="1429">
                    <c:v>Rolling Stdev (30 Minute)</c:v>
                  </c:pt>
                  <c:pt idx="1430">
                    <c:v>Rolling Stdev (30 Minute)</c:v>
                  </c:pt>
                  <c:pt idx="1431">
                    <c:v>Rolling Stdev (30 Minute)</c:v>
                  </c:pt>
                  <c:pt idx="1432">
                    <c:v>Rolling Stdev (30 Minute)</c:v>
                  </c:pt>
                  <c:pt idx="1433">
                    <c:v>Rolling Stdev (30 Minute)</c:v>
                  </c:pt>
                  <c:pt idx="1434">
                    <c:v>Rolling Stdev (30 Minute)</c:v>
                  </c:pt>
                  <c:pt idx="1435">
                    <c:v>Rolling Stdev (30 Minute)</c:v>
                  </c:pt>
                  <c:pt idx="1436">
                    <c:v>Rolling Stdev (30 Minute)</c:v>
                  </c:pt>
                  <c:pt idx="1437">
                    <c:v>Rolling Stdev (30 Minute)</c:v>
                  </c:pt>
                  <c:pt idx="1438">
                    <c:v>Rolling Stdev (30 Minute)</c:v>
                  </c:pt>
                  <c:pt idx="1439">
                    <c:v>Rolling Stdev (30 Minute)</c:v>
                  </c:pt>
                  <c:pt idx="1440">
                    <c:v>Rolling Stdev (30 Minute)</c:v>
                  </c:pt>
                  <c:pt idx="1441">
                    <c:v>Rolling Stdev (30 Minute)</c:v>
                  </c:pt>
                  <c:pt idx="1442">
                    <c:v>Rolling Stdev (30 Minute)</c:v>
                  </c:pt>
                  <c:pt idx="1443">
                    <c:v>Rolling Stdev (30 Minute)</c:v>
                  </c:pt>
                  <c:pt idx="1444">
                    <c:v>Rolling Stdev (30 Minute)</c:v>
                  </c:pt>
                  <c:pt idx="1445">
                    <c:v>Rolling Stdev (30 Minute)</c:v>
                  </c:pt>
                  <c:pt idx="1446">
                    <c:v>Rolling Stdev (30 Minute)</c:v>
                  </c:pt>
                  <c:pt idx="1447">
                    <c:v>Rolling Stdev (30 Minute)</c:v>
                  </c:pt>
                  <c:pt idx="1448">
                    <c:v>Rolling Stdev (30 Minute)</c:v>
                  </c:pt>
                  <c:pt idx="1449">
                    <c:v>Rolling Stdev (30 Minute)</c:v>
                  </c:pt>
                  <c:pt idx="1450">
                    <c:v>Rolling Stdev (30 Minute)</c:v>
                  </c:pt>
                  <c:pt idx="1451">
                    <c:v>Rolling Stdev (30 Minute)</c:v>
                  </c:pt>
                  <c:pt idx="1452">
                    <c:v>Rolling Stdev (30 Minute)</c:v>
                  </c:pt>
                  <c:pt idx="1453">
                    <c:v>Rolling Stdev (30 Minute)</c:v>
                  </c:pt>
                  <c:pt idx="1454">
                    <c:v>Rolling Stdev (30 Minute)</c:v>
                  </c:pt>
                  <c:pt idx="1455">
                    <c:v>Rolling Stdev (30 Minute)</c:v>
                  </c:pt>
                  <c:pt idx="1456">
                    <c:v>Rolling Stdev (30 Minute)</c:v>
                  </c:pt>
                  <c:pt idx="1457">
                    <c:v>Rolling Stdev (30 Minute)</c:v>
                  </c:pt>
                  <c:pt idx="1458">
                    <c:v>Rolling Stdev (30 Minute)</c:v>
                  </c:pt>
                  <c:pt idx="1459">
                    <c:v>Rolling Stdev (30 Minute)</c:v>
                  </c:pt>
                  <c:pt idx="1460">
                    <c:v>Rolling Stdev (30 Minute)</c:v>
                  </c:pt>
                  <c:pt idx="1461">
                    <c:v>Rolling Stdev (30 Minute)</c:v>
                  </c:pt>
                  <c:pt idx="1462">
                    <c:v>Rolling Stdev (30 Minute)</c:v>
                  </c:pt>
                  <c:pt idx="1463">
                    <c:v>Rolling Stdev (30 Minute)</c:v>
                  </c:pt>
                  <c:pt idx="1464">
                    <c:v>Rolling Stdev (30 Minute)</c:v>
                  </c:pt>
                  <c:pt idx="1465">
                    <c:v>Rolling Stdev (30 Minute)</c:v>
                  </c:pt>
                  <c:pt idx="1466">
                    <c:v>Rolling Stdev (30 Minute)</c:v>
                  </c:pt>
                  <c:pt idx="1467">
                    <c:v>Rolling Stdev (30 Minute)</c:v>
                  </c:pt>
                  <c:pt idx="1468">
                    <c:v>Rolling Stdev (30 Minute)</c:v>
                  </c:pt>
                  <c:pt idx="1469">
                    <c:v>Rolling Stdev (30 Minute)</c:v>
                  </c:pt>
                  <c:pt idx="1470">
                    <c:v>Rolling Stdev (30 Minute)</c:v>
                  </c:pt>
                  <c:pt idx="1471">
                    <c:v>Rolling Stdev (30 Minute)</c:v>
                  </c:pt>
                  <c:pt idx="1472">
                    <c:v>Rolling Stdev (30 Minute)</c:v>
                  </c:pt>
                  <c:pt idx="1473">
                    <c:v>Rolling Stdev (30 Minute)</c:v>
                  </c:pt>
                  <c:pt idx="1474">
                    <c:v>Rolling Stdev (30 Minute)</c:v>
                  </c:pt>
                  <c:pt idx="1475">
                    <c:v>Rolling Stdev (30 Minute)</c:v>
                  </c:pt>
                  <c:pt idx="1476">
                    <c:v>Rolling Stdev (30 Minute)</c:v>
                  </c:pt>
                  <c:pt idx="1477">
                    <c:v>Rolling Stdev (30 Minute)</c:v>
                  </c:pt>
                  <c:pt idx="1478">
                    <c:v>Rolling Stdev (30 Minute)</c:v>
                  </c:pt>
                  <c:pt idx="1479">
                    <c:v>Rolling Stdev (30 Minute)</c:v>
                  </c:pt>
                  <c:pt idx="1480">
                    <c:v>Rolling Stdev (30 Minute)</c:v>
                  </c:pt>
                  <c:pt idx="1481">
                    <c:v>Rolling Stdev (30 Minute)</c:v>
                  </c:pt>
                  <c:pt idx="1482">
                    <c:v>Rolling Stdev (30 Minute)</c:v>
                  </c:pt>
                  <c:pt idx="1483">
                    <c:v>Rolling Stdev (30 Minute)</c:v>
                  </c:pt>
                  <c:pt idx="1484">
                    <c:v>Rolling Stdev (30 Minute)</c:v>
                  </c:pt>
                  <c:pt idx="1485">
                    <c:v>Rolling Stdev (30 Minute)</c:v>
                  </c:pt>
                  <c:pt idx="1486">
                    <c:v>Rolling Stdev (30 Minute)</c:v>
                  </c:pt>
                  <c:pt idx="1487">
                    <c:v>Rolling Stdev (30 Minute)</c:v>
                  </c:pt>
                  <c:pt idx="1488">
                    <c:v>Rolling Stdev (30 Minute)</c:v>
                  </c:pt>
                  <c:pt idx="1489">
                    <c:v>Rolling Stdev (30 Minute)</c:v>
                  </c:pt>
                  <c:pt idx="1490">
                    <c:v>Rolling Stdev (30 Minute)</c:v>
                  </c:pt>
                  <c:pt idx="1491">
                    <c:v>Rolling Stdev (30 Minute)</c:v>
                  </c:pt>
                  <c:pt idx="1492">
                    <c:v>Rolling Stdev (30 Minute)</c:v>
                  </c:pt>
                  <c:pt idx="1493">
                    <c:v>Rolling Stdev (30 Minute)</c:v>
                  </c:pt>
                  <c:pt idx="1494">
                    <c:v>Rolling Stdev (30 Minute)</c:v>
                  </c:pt>
                  <c:pt idx="1495">
                    <c:v>Rolling Stdev (30 Minute)</c:v>
                  </c:pt>
                  <c:pt idx="1496">
                    <c:v>Rolling Stdev (30 Minute)</c:v>
                  </c:pt>
                  <c:pt idx="1497">
                    <c:v>Rolling Stdev (30 Minute)</c:v>
                  </c:pt>
                  <c:pt idx="1498">
                    <c:v>Rolling Stdev (30 Minute)</c:v>
                  </c:pt>
                  <c:pt idx="1499">
                    <c:v>Rolling Stdev (30 Minute)</c:v>
                  </c:pt>
                  <c:pt idx="1500">
                    <c:v>Rolling Stdev (30 Minute)</c:v>
                  </c:pt>
                  <c:pt idx="1501">
                    <c:v>Rolling Stdev (30 Minute)</c:v>
                  </c:pt>
                  <c:pt idx="1502">
                    <c:v>Rolling Stdev (30 Minute)</c:v>
                  </c:pt>
                  <c:pt idx="1503">
                    <c:v>Rolling Stdev (30 Minute)</c:v>
                  </c:pt>
                  <c:pt idx="1504">
                    <c:v>Rolling Stdev (30 Minute)</c:v>
                  </c:pt>
                  <c:pt idx="1505">
                    <c:v>Rolling Stdev (30 Minute)</c:v>
                  </c:pt>
                  <c:pt idx="1506">
                    <c:v>Rolling Stdev (30 Minute)</c:v>
                  </c:pt>
                  <c:pt idx="1507">
                    <c:v>Rolling Stdev (30 Minute)</c:v>
                  </c:pt>
                  <c:pt idx="1508">
                    <c:v>Rolling Stdev (30 Minute)</c:v>
                  </c:pt>
                  <c:pt idx="1509">
                    <c:v>Rolling Stdev (30 Minute)</c:v>
                  </c:pt>
                  <c:pt idx="1510">
                    <c:v>Rolling Stdev (30 Minute)</c:v>
                  </c:pt>
                  <c:pt idx="1511">
                    <c:v>Rolling Stdev (30 Minute)</c:v>
                  </c:pt>
                  <c:pt idx="1512">
                    <c:v>Rolling Stdev (30 Minute)</c:v>
                  </c:pt>
                  <c:pt idx="1513">
                    <c:v>Rolling Stdev (30 Minute)</c:v>
                  </c:pt>
                  <c:pt idx="1514">
                    <c:v>Rolling Stdev (30 Minute)</c:v>
                  </c:pt>
                  <c:pt idx="1515">
                    <c:v>Rolling Stdev (30 Minute)</c:v>
                  </c:pt>
                  <c:pt idx="1516">
                    <c:v>Rolling Stdev (30 Minute)</c:v>
                  </c:pt>
                  <c:pt idx="1517">
                    <c:v>Rolling Stdev (30 Minute)</c:v>
                  </c:pt>
                  <c:pt idx="1518">
                    <c:v>Rolling Stdev (30 Minute)</c:v>
                  </c:pt>
                  <c:pt idx="1519">
                    <c:v>Rolling Stdev (30 Minute)</c:v>
                  </c:pt>
                  <c:pt idx="1520">
                    <c:v>Rolling Stdev (30 Minute)</c:v>
                  </c:pt>
                  <c:pt idx="1521">
                    <c:v>Rolling Stdev (30 Minute)</c:v>
                  </c:pt>
                  <c:pt idx="1522">
                    <c:v>Rolling Stdev (30 Minute)</c:v>
                  </c:pt>
                  <c:pt idx="1523">
                    <c:v>Rolling Stdev (30 Minute)</c:v>
                  </c:pt>
                  <c:pt idx="1524">
                    <c:v>Rolling Stdev (30 Minute)</c:v>
                  </c:pt>
                  <c:pt idx="1525">
                    <c:v>Rolling Stdev (30 Minute)</c:v>
                  </c:pt>
                  <c:pt idx="1526">
                    <c:v>Rolling Stdev (30 Minute)</c:v>
                  </c:pt>
                  <c:pt idx="1527">
                    <c:v>Rolling Stdev (30 Minute)</c:v>
                  </c:pt>
                  <c:pt idx="1528">
                    <c:v>Rolling Stdev (30 Minute)</c:v>
                  </c:pt>
                  <c:pt idx="1529">
                    <c:v>Rolling Stdev (30 Minute)</c:v>
                  </c:pt>
                  <c:pt idx="1530">
                    <c:v>Rolling Stdev (30 Minute)</c:v>
                  </c:pt>
                  <c:pt idx="1531">
                    <c:v>Rolling Stdev (30 Minute)</c:v>
                  </c:pt>
                  <c:pt idx="1532">
                    <c:v>Rolling Stdev (30 Minute)</c:v>
                  </c:pt>
                  <c:pt idx="1533">
                    <c:v>Rolling Stdev (30 Minute)</c:v>
                  </c:pt>
                  <c:pt idx="1534">
                    <c:v>Rolling Stdev (30 Minute)</c:v>
                  </c:pt>
                  <c:pt idx="1535">
                    <c:v>Rolling Stdev (30 Minute)</c:v>
                  </c:pt>
                  <c:pt idx="1536">
                    <c:v>Rolling Stdev (30 Minute)</c:v>
                  </c:pt>
                  <c:pt idx="1537">
                    <c:v>Rolling Stdev (30 Minute)</c:v>
                  </c:pt>
                  <c:pt idx="1538">
                    <c:v>Rolling Stdev (30 Minute)</c:v>
                  </c:pt>
                  <c:pt idx="1539">
                    <c:v>Rolling Stdev (30 Minute)</c:v>
                  </c:pt>
                  <c:pt idx="1540">
                    <c:v>Rolling Stdev (30 Minute)</c:v>
                  </c:pt>
                  <c:pt idx="1541">
                    <c:v>Rolling Stdev (30 Minute)</c:v>
                  </c:pt>
                  <c:pt idx="1542">
                    <c:v>Rolling Stdev (30 Minute)</c:v>
                  </c:pt>
                  <c:pt idx="1543">
                    <c:v>Rolling Stdev (30 Minute)</c:v>
                  </c:pt>
                  <c:pt idx="1544">
                    <c:v>Rolling Stdev (30 Minute)</c:v>
                  </c:pt>
                  <c:pt idx="1545">
                    <c:v>Rolling Stdev (30 Minute)</c:v>
                  </c:pt>
                  <c:pt idx="1546">
                    <c:v>Rolling Stdev (30 Minute)</c:v>
                  </c:pt>
                  <c:pt idx="1547">
                    <c:v>Rolling Stdev (30 Minute)</c:v>
                  </c:pt>
                  <c:pt idx="1548">
                    <c:v>Rolling Stdev (30 Minute)</c:v>
                  </c:pt>
                  <c:pt idx="1549">
                    <c:v>Rolling Stdev (30 Minute)</c:v>
                  </c:pt>
                  <c:pt idx="1550">
                    <c:v>Rolling Stdev (30 Minute)</c:v>
                  </c:pt>
                  <c:pt idx="1551">
                    <c:v>Rolling Stdev (30 Minute)</c:v>
                  </c:pt>
                  <c:pt idx="1552">
                    <c:v>Rolling Stdev (30 Minute)</c:v>
                  </c:pt>
                  <c:pt idx="1553">
                    <c:v>Rolling Stdev (30 Minute)</c:v>
                  </c:pt>
                  <c:pt idx="1554">
                    <c:v>Rolling Stdev (30 Minute)</c:v>
                  </c:pt>
                  <c:pt idx="1555">
                    <c:v>Rolling Stdev (30 Minute)</c:v>
                  </c:pt>
                  <c:pt idx="1556">
                    <c:v>Rolling Stdev (30 Minute)</c:v>
                  </c:pt>
                  <c:pt idx="1557">
                    <c:v>Rolling Stdev (30 Minute)</c:v>
                  </c:pt>
                  <c:pt idx="1558">
                    <c:v>Rolling Stdev (30 Minute)</c:v>
                  </c:pt>
                  <c:pt idx="1559">
                    <c:v>Rolling Stdev (30 Minute)</c:v>
                  </c:pt>
                  <c:pt idx="1560">
                    <c:v>Rolling Stdev (30 Minute)</c:v>
                  </c:pt>
                  <c:pt idx="1561">
                    <c:v>Rolling Stdev (30 Minute)</c:v>
                  </c:pt>
                  <c:pt idx="1562">
                    <c:v>Rolling Stdev (30 Minute)</c:v>
                  </c:pt>
                  <c:pt idx="1563">
                    <c:v>Rolling Stdev (30 Minute)</c:v>
                  </c:pt>
                  <c:pt idx="1564">
                    <c:v>Rolling Stdev (30 Minute)</c:v>
                  </c:pt>
                  <c:pt idx="1565">
                    <c:v>Rolling Stdev (30 Minute)</c:v>
                  </c:pt>
                  <c:pt idx="1566">
                    <c:v>Rolling Stdev (30 Minute)</c:v>
                  </c:pt>
                  <c:pt idx="1567">
                    <c:v>Rolling Stdev (30 Minute)</c:v>
                  </c:pt>
                  <c:pt idx="1568">
                    <c:v>Rolling Stdev (30 Minute)</c:v>
                  </c:pt>
                  <c:pt idx="1569">
                    <c:v>Rolling Stdev (30 Minute)</c:v>
                  </c:pt>
                  <c:pt idx="1570">
                    <c:v>Rolling Stdev (30 Minute)</c:v>
                  </c:pt>
                  <c:pt idx="1571">
                    <c:v>Rolling Stdev (30 Minute)</c:v>
                  </c:pt>
                  <c:pt idx="1572">
                    <c:v>Rolling Stdev (30 Minute)</c:v>
                  </c:pt>
                  <c:pt idx="1573">
                    <c:v>Rolling Stdev (30 Minute)</c:v>
                  </c:pt>
                  <c:pt idx="1574">
                    <c:v>Rolling Stdev (30 Minute)</c:v>
                  </c:pt>
                  <c:pt idx="1575">
                    <c:v>Rolling Stdev (30 Minute)</c:v>
                  </c:pt>
                  <c:pt idx="1576">
                    <c:v>Rolling Stdev (30 Minute)</c:v>
                  </c:pt>
                  <c:pt idx="1577">
                    <c:v>Rolling Stdev (30 Minute)</c:v>
                  </c:pt>
                  <c:pt idx="1578">
                    <c:v>Rolling Stdev (30 Minute)</c:v>
                  </c:pt>
                  <c:pt idx="1579">
                    <c:v>Rolling Stdev (30 Minute)</c:v>
                  </c:pt>
                  <c:pt idx="1580">
                    <c:v>Rolling Stdev (30 Minute)</c:v>
                  </c:pt>
                  <c:pt idx="1581">
                    <c:v>Rolling Stdev (30 Minute)</c:v>
                  </c:pt>
                  <c:pt idx="1582">
                    <c:v>Rolling Stdev (30 Minute)</c:v>
                  </c:pt>
                  <c:pt idx="1583">
                    <c:v>Rolling Stdev (30 Minute)</c:v>
                  </c:pt>
                  <c:pt idx="1584">
                    <c:v>Rolling Stdev (30 Minute)</c:v>
                  </c:pt>
                  <c:pt idx="1585">
                    <c:v>Rolling Stdev (30 Minute)</c:v>
                  </c:pt>
                  <c:pt idx="1586">
                    <c:v>Rolling Stdev (30 Minute)</c:v>
                  </c:pt>
                  <c:pt idx="1587">
                    <c:v>Rolling Stdev (30 Minute)</c:v>
                  </c:pt>
                  <c:pt idx="1588">
                    <c:v>Rolling Stdev (30 Minute)</c:v>
                  </c:pt>
                  <c:pt idx="1589">
                    <c:v>Rolling Stdev (30 Minute)</c:v>
                  </c:pt>
                  <c:pt idx="1590">
                    <c:v>Rolling Stdev (30 Minute)</c:v>
                  </c:pt>
                  <c:pt idx="1591">
                    <c:v>Rolling Stdev (30 Minute)</c:v>
                  </c:pt>
                  <c:pt idx="1592">
                    <c:v>Rolling Stdev (30 Minute)</c:v>
                  </c:pt>
                  <c:pt idx="1593">
                    <c:v>Rolling Stdev (30 Minute)</c:v>
                  </c:pt>
                  <c:pt idx="1594">
                    <c:v>Rolling Stdev (30 Minute)</c:v>
                  </c:pt>
                  <c:pt idx="1595">
                    <c:v>Rolling Stdev (30 Minute)</c:v>
                  </c:pt>
                  <c:pt idx="1596">
                    <c:v>Rolling Stdev (30 Minute)</c:v>
                  </c:pt>
                  <c:pt idx="1597">
                    <c:v>Rolling Stdev (30 Minute)</c:v>
                  </c:pt>
                  <c:pt idx="1598">
                    <c:v>Rolling Stdev (30 Minute)</c:v>
                  </c:pt>
                  <c:pt idx="1599">
                    <c:v>Rolling Stdev (30 Minute)</c:v>
                  </c:pt>
                  <c:pt idx="1600">
                    <c:v>Rolling Stdev (30 Minute)</c:v>
                  </c:pt>
                  <c:pt idx="1601">
                    <c:v>Rolling Stdev (30 Minute)</c:v>
                  </c:pt>
                  <c:pt idx="1602">
                    <c:v>Rolling Stdev (30 Minute)</c:v>
                  </c:pt>
                  <c:pt idx="1603">
                    <c:v>Rolling Stdev (30 Minute)</c:v>
                  </c:pt>
                  <c:pt idx="1604">
                    <c:v>Rolling Stdev (30 Minute)</c:v>
                  </c:pt>
                  <c:pt idx="1605">
                    <c:v>Rolling Stdev (30 Minute)</c:v>
                  </c:pt>
                  <c:pt idx="1606">
                    <c:v>Rolling Stdev (30 Minute)</c:v>
                  </c:pt>
                  <c:pt idx="1607">
                    <c:v>Rolling Stdev (30 Minute)</c:v>
                  </c:pt>
                  <c:pt idx="1608">
                    <c:v>Rolling Stdev (30 Minute)</c:v>
                  </c:pt>
                  <c:pt idx="1609">
                    <c:v>Rolling Stdev (30 Minute)</c:v>
                  </c:pt>
                  <c:pt idx="1610">
                    <c:v>Rolling Stdev (30 Minute)</c:v>
                  </c:pt>
                  <c:pt idx="1611">
                    <c:v>Rolling Stdev (30 Minute)</c:v>
                  </c:pt>
                  <c:pt idx="1612">
                    <c:v>Rolling Stdev (30 Minute)</c:v>
                  </c:pt>
                  <c:pt idx="1613">
                    <c:v>Rolling Stdev (30 Minute)</c:v>
                  </c:pt>
                  <c:pt idx="1614">
                    <c:v>Rolling Stdev (30 Minute)</c:v>
                  </c:pt>
                  <c:pt idx="1615">
                    <c:v>Rolling Stdev (30 Minute)</c:v>
                  </c:pt>
                  <c:pt idx="1616">
                    <c:v>Rolling Stdev (30 Minute)</c:v>
                  </c:pt>
                  <c:pt idx="1617">
                    <c:v>Rolling Stdev (30 Minute)</c:v>
                  </c:pt>
                  <c:pt idx="1618">
                    <c:v>Rolling Stdev (30 Minute)</c:v>
                  </c:pt>
                  <c:pt idx="1619">
                    <c:v>Rolling Stdev (30 Minute)</c:v>
                  </c:pt>
                  <c:pt idx="1620">
                    <c:v>Rolling Stdev (30 Minute)</c:v>
                  </c:pt>
                  <c:pt idx="1621">
                    <c:v>Rolling Stdev (30 Minute)</c:v>
                  </c:pt>
                  <c:pt idx="1622">
                    <c:v>Rolling Stdev (30 Minute)</c:v>
                  </c:pt>
                  <c:pt idx="1623">
                    <c:v>Rolling Stdev (30 Minute)</c:v>
                  </c:pt>
                  <c:pt idx="1624">
                    <c:v>Rolling Stdev (30 Minute)</c:v>
                  </c:pt>
                  <c:pt idx="1625">
                    <c:v>Rolling Stdev (30 Minute)</c:v>
                  </c:pt>
                  <c:pt idx="1626">
                    <c:v>Rolling Stdev (30 Minute)</c:v>
                  </c:pt>
                  <c:pt idx="1627">
                    <c:v>Rolling Stdev (30 Minute)</c:v>
                  </c:pt>
                  <c:pt idx="1628">
                    <c:v>Rolling Stdev (30 Minute)</c:v>
                  </c:pt>
                  <c:pt idx="1629">
                    <c:v>Rolling Stdev (30 Minute)</c:v>
                  </c:pt>
                  <c:pt idx="1630">
                    <c:v>Rolling Stdev (30 Minute)</c:v>
                  </c:pt>
                  <c:pt idx="1631">
                    <c:v>Rolling Stdev (30 Minute)</c:v>
                  </c:pt>
                  <c:pt idx="1632">
                    <c:v>Rolling Stdev (30 Minute)</c:v>
                  </c:pt>
                  <c:pt idx="1633">
                    <c:v>Rolling Stdev (30 Minute)</c:v>
                  </c:pt>
                  <c:pt idx="1634">
                    <c:v>Rolling Stdev (30 Minute)</c:v>
                  </c:pt>
                  <c:pt idx="1635">
                    <c:v>Rolling Stdev (30 Minute)</c:v>
                  </c:pt>
                  <c:pt idx="1636">
                    <c:v>Rolling Stdev (30 Minute)</c:v>
                  </c:pt>
                  <c:pt idx="1637">
                    <c:v>Rolling Stdev (30 Minute)</c:v>
                  </c:pt>
                  <c:pt idx="1638">
                    <c:v>Rolling Stdev (30 Minute)</c:v>
                  </c:pt>
                  <c:pt idx="1639">
                    <c:v>Rolling Stdev (30 Minute)</c:v>
                  </c:pt>
                  <c:pt idx="1640">
                    <c:v>Rolling Stdev (30 Minute)</c:v>
                  </c:pt>
                  <c:pt idx="1641">
                    <c:v>Rolling Stdev (30 Minute)</c:v>
                  </c:pt>
                  <c:pt idx="1642">
                    <c:v>Rolling Stdev (30 Minute)</c:v>
                  </c:pt>
                  <c:pt idx="1643">
                    <c:v>Rolling Stdev (30 Minute)</c:v>
                  </c:pt>
                  <c:pt idx="1644">
                    <c:v>Rolling Stdev (30 Minute)</c:v>
                  </c:pt>
                  <c:pt idx="1645">
                    <c:v>Rolling Stdev (30 Minute)</c:v>
                  </c:pt>
                  <c:pt idx="1646">
                    <c:v>Rolling Stdev (30 Minute)</c:v>
                  </c:pt>
                  <c:pt idx="1647">
                    <c:v>Rolling Stdev (30 Minute)</c:v>
                  </c:pt>
                  <c:pt idx="1648">
                    <c:v>Rolling Stdev (30 Minute)</c:v>
                  </c:pt>
                  <c:pt idx="1649">
                    <c:v>Rolling Stdev (30 Minute)</c:v>
                  </c:pt>
                  <c:pt idx="1650">
                    <c:v>Rolling Stdev (30 Minute)</c:v>
                  </c:pt>
                  <c:pt idx="1651">
                    <c:v>Rolling Stdev (30 Minute)</c:v>
                  </c:pt>
                  <c:pt idx="1652">
                    <c:v>Rolling Stdev (30 Minute)</c:v>
                  </c:pt>
                  <c:pt idx="1653">
                    <c:v>Rolling Stdev (30 Minute)</c:v>
                  </c:pt>
                  <c:pt idx="1654">
                    <c:v>Rolling Stdev (30 Minute)</c:v>
                  </c:pt>
                  <c:pt idx="1655">
                    <c:v>Rolling Stdev (30 Minute)</c:v>
                  </c:pt>
                  <c:pt idx="1656">
                    <c:v>Rolling Stdev (30 Minute)</c:v>
                  </c:pt>
                  <c:pt idx="1657">
                    <c:v>Rolling Stdev (30 Minute)</c:v>
                  </c:pt>
                  <c:pt idx="1658">
                    <c:v>Rolling Stdev (30 Minute)</c:v>
                  </c:pt>
                  <c:pt idx="1659">
                    <c:v>Rolling Stdev (30 Minute)</c:v>
                  </c:pt>
                  <c:pt idx="1660">
                    <c:v>Rolling Stdev (30 Minute)</c:v>
                  </c:pt>
                  <c:pt idx="1661">
                    <c:v>Rolling Stdev (30 Minute)</c:v>
                  </c:pt>
                  <c:pt idx="1662">
                    <c:v>Rolling Stdev (30 Minute)</c:v>
                  </c:pt>
                  <c:pt idx="1663">
                    <c:v>Rolling Stdev (30 Minute)</c:v>
                  </c:pt>
                  <c:pt idx="1664">
                    <c:v>Rolling Stdev (30 Minute)</c:v>
                  </c:pt>
                  <c:pt idx="1665">
                    <c:v>Rolling Stdev (30 Minute)</c:v>
                  </c:pt>
                  <c:pt idx="1666">
                    <c:v>Rolling Stdev (30 Minute)</c:v>
                  </c:pt>
                  <c:pt idx="1667">
                    <c:v>Rolling Stdev (30 Minute)</c:v>
                  </c:pt>
                  <c:pt idx="1668">
                    <c:v>Rolling Stdev (30 Minute)</c:v>
                  </c:pt>
                  <c:pt idx="1669">
                    <c:v>Rolling Stdev (30 Minute)</c:v>
                  </c:pt>
                  <c:pt idx="1670">
                    <c:v>Rolling Stdev (30 Minute)</c:v>
                  </c:pt>
                  <c:pt idx="1671">
                    <c:v>Rolling Stdev (30 Minute)</c:v>
                  </c:pt>
                  <c:pt idx="1672">
                    <c:v>Rolling Stdev (30 Minute)</c:v>
                  </c:pt>
                  <c:pt idx="1673">
                    <c:v>Rolling Stdev (30 Minute)</c:v>
                  </c:pt>
                  <c:pt idx="1674">
                    <c:v>Rolling Stdev (30 Minute)</c:v>
                  </c:pt>
                  <c:pt idx="1675">
                    <c:v>Rolling Stdev (30 Minute)</c:v>
                  </c:pt>
                  <c:pt idx="1676">
                    <c:v>Rolling Stdev (30 Minute)</c:v>
                  </c:pt>
                  <c:pt idx="1677">
                    <c:v>Rolling Stdev (30 Minute)</c:v>
                  </c:pt>
                  <c:pt idx="1678">
                    <c:v>Rolling Stdev (30 Minute)</c:v>
                  </c:pt>
                  <c:pt idx="1679">
                    <c:v>Rolling Stdev (30 Minute)</c:v>
                  </c:pt>
                  <c:pt idx="1680">
                    <c:v>Rolling Stdev (30 Minute)</c:v>
                  </c:pt>
                  <c:pt idx="1681">
                    <c:v>Rolling Stdev (30 Minute)</c:v>
                  </c:pt>
                  <c:pt idx="1682">
                    <c:v>Rolling Stdev (30 Minute)</c:v>
                  </c:pt>
                  <c:pt idx="1683">
                    <c:v>Rolling Stdev (30 Minute)</c:v>
                  </c:pt>
                  <c:pt idx="1684">
                    <c:v>Rolling Stdev (30 Minute)</c:v>
                  </c:pt>
                  <c:pt idx="1685">
                    <c:v>Rolling Stdev (30 Minute)</c:v>
                  </c:pt>
                  <c:pt idx="1686">
                    <c:v>Rolling Stdev (30 Minute)</c:v>
                  </c:pt>
                  <c:pt idx="1687">
                    <c:v>Rolling Stdev (30 Minute)</c:v>
                  </c:pt>
                  <c:pt idx="1688">
                    <c:v>Rolling Stdev (30 Minute)</c:v>
                  </c:pt>
                  <c:pt idx="1689">
                    <c:v>Rolling Stdev (30 Minute)</c:v>
                  </c:pt>
                  <c:pt idx="1690">
                    <c:v>Rolling Stdev (30 Minute)</c:v>
                  </c:pt>
                  <c:pt idx="1691">
                    <c:v>Rolling Stdev (30 Minute)</c:v>
                  </c:pt>
                  <c:pt idx="1692">
                    <c:v>Rolling Stdev (30 Minute)</c:v>
                  </c:pt>
                  <c:pt idx="1693">
                    <c:v>Rolling Stdev (30 Minute)</c:v>
                  </c:pt>
                  <c:pt idx="1694">
                    <c:v>Rolling Stdev (30 Minute)</c:v>
                  </c:pt>
                  <c:pt idx="1695">
                    <c:v>Rolling Stdev (30 Minute)</c:v>
                  </c:pt>
                  <c:pt idx="1696">
                    <c:v>Rolling Stdev (30 Minute)</c:v>
                  </c:pt>
                  <c:pt idx="1697">
                    <c:v>Rolling Stdev (30 Minute)</c:v>
                  </c:pt>
                  <c:pt idx="1698">
                    <c:v>Rolling Stdev (30 Minute)</c:v>
                  </c:pt>
                  <c:pt idx="1699">
                    <c:v>Rolling Stdev (30 Minute)</c:v>
                  </c:pt>
                  <c:pt idx="1700">
                    <c:v>Rolling Stdev (30 Minute)</c:v>
                  </c:pt>
                  <c:pt idx="1701">
                    <c:v>Rolling Stdev (30 Minute)</c:v>
                  </c:pt>
                  <c:pt idx="1702">
                    <c:v>Rolling Stdev (30 Minute)</c:v>
                  </c:pt>
                  <c:pt idx="1703">
                    <c:v>Rolling Stdev (30 Minute)</c:v>
                  </c:pt>
                  <c:pt idx="1704">
                    <c:v>Rolling Stdev (30 Minute)</c:v>
                  </c:pt>
                  <c:pt idx="1705">
                    <c:v>Rolling Stdev (30 Minute)</c:v>
                  </c:pt>
                  <c:pt idx="1706">
                    <c:v>Rolling Stdev (30 Minute)</c:v>
                  </c:pt>
                  <c:pt idx="1707">
                    <c:v>Rolling Stdev (30 Minute)</c:v>
                  </c:pt>
                  <c:pt idx="1708">
                    <c:v>Rolling Stdev (30 Minute)</c:v>
                  </c:pt>
                  <c:pt idx="1709">
                    <c:v>Rolling Stdev (30 Minute)</c:v>
                  </c:pt>
                  <c:pt idx="1710">
                    <c:v>Rolling Stdev (30 Minute)</c:v>
                  </c:pt>
                  <c:pt idx="1711">
                    <c:v>Rolling Stdev (30 Minute)</c:v>
                  </c:pt>
                  <c:pt idx="1712">
                    <c:v>Rolling Stdev (30 Minute)</c:v>
                  </c:pt>
                  <c:pt idx="1713">
                    <c:v>Rolling Stdev (30 Minute)</c:v>
                  </c:pt>
                  <c:pt idx="1714">
                    <c:v>Rolling Stdev (30 Minute)</c:v>
                  </c:pt>
                  <c:pt idx="1715">
                    <c:v>Rolling Stdev (30 Minute)</c:v>
                  </c:pt>
                  <c:pt idx="1716">
                    <c:v>Rolling Stdev (30 Minute)</c:v>
                  </c:pt>
                  <c:pt idx="1717">
                    <c:v>Rolling Stdev (30 Minute)</c:v>
                  </c:pt>
                  <c:pt idx="1718">
                    <c:v>Rolling Stdev (30 Minute)</c:v>
                  </c:pt>
                  <c:pt idx="1719">
                    <c:v>Rolling Stdev (30 Minute)</c:v>
                  </c:pt>
                  <c:pt idx="1720">
                    <c:v>Rolling Stdev (30 Minute)</c:v>
                  </c:pt>
                  <c:pt idx="1721">
                    <c:v>Rolling Stdev (30 Minute)</c:v>
                  </c:pt>
                  <c:pt idx="1722">
                    <c:v>Rolling Stdev (30 Minute)</c:v>
                  </c:pt>
                  <c:pt idx="1723">
                    <c:v>Rolling Stdev (30 Minute)</c:v>
                  </c:pt>
                  <c:pt idx="1724">
                    <c:v>Rolling Stdev (30 Minute)</c:v>
                  </c:pt>
                  <c:pt idx="1725">
                    <c:v>Rolling Stdev (30 Minute)</c:v>
                  </c:pt>
                  <c:pt idx="1726">
                    <c:v>Rolling Stdev (30 Minute)</c:v>
                  </c:pt>
                  <c:pt idx="1727">
                    <c:v>Rolling Stdev (30 Minute)</c:v>
                  </c:pt>
                  <c:pt idx="1728">
                    <c:v>Rolling Stdev (30 Minute)</c:v>
                  </c:pt>
                  <c:pt idx="1729">
                    <c:v>Rolling Stdev (30 Minute)</c:v>
                  </c:pt>
                  <c:pt idx="1730">
                    <c:v>Rolling Stdev (30 Minute)</c:v>
                  </c:pt>
                  <c:pt idx="1731">
                    <c:v>Rolling Stdev (30 Minute)</c:v>
                  </c:pt>
                  <c:pt idx="1732">
                    <c:v>Rolling Stdev (30 Minute)</c:v>
                  </c:pt>
                  <c:pt idx="1733">
                    <c:v>Rolling Stdev (30 Minute)</c:v>
                  </c:pt>
                  <c:pt idx="1734">
                    <c:v>Rolling Stdev (30 Minute)</c:v>
                  </c:pt>
                  <c:pt idx="1735">
                    <c:v>Rolling Stdev (30 Minute)</c:v>
                  </c:pt>
                  <c:pt idx="1736">
                    <c:v>Rolling Stdev (30 Minute)</c:v>
                  </c:pt>
                  <c:pt idx="1737">
                    <c:v>Rolling Stdev (30 Minute)</c:v>
                  </c:pt>
                  <c:pt idx="1738">
                    <c:v>Rolling Stdev (30 Minute)</c:v>
                  </c:pt>
                  <c:pt idx="1739">
                    <c:v>Rolling Stdev (30 Minute)</c:v>
                  </c:pt>
                  <c:pt idx="1740">
                    <c:v>Rolling Stdev (30 Minute)</c:v>
                  </c:pt>
                  <c:pt idx="1741">
                    <c:v>Rolling Stdev (30 Minute)</c:v>
                  </c:pt>
                  <c:pt idx="1742">
                    <c:v>Rolling Stdev (30 Minute)</c:v>
                  </c:pt>
                  <c:pt idx="1743">
                    <c:v>Rolling Stdev (30 Minute)</c:v>
                  </c:pt>
                  <c:pt idx="1744">
                    <c:v>Rolling Stdev (30 Minute)</c:v>
                  </c:pt>
                  <c:pt idx="1745">
                    <c:v>Rolling Stdev (30 Minute)</c:v>
                  </c:pt>
                  <c:pt idx="1746">
                    <c:v>Rolling Stdev (30 Minute)</c:v>
                  </c:pt>
                  <c:pt idx="1747">
                    <c:v>Rolling Stdev (30 Minute)</c:v>
                  </c:pt>
                  <c:pt idx="1748">
                    <c:v>Rolling Stdev (30 Minute)</c:v>
                  </c:pt>
                  <c:pt idx="1749">
                    <c:v>Rolling Stdev (30 Minute)</c:v>
                  </c:pt>
                  <c:pt idx="1750">
                    <c:v>Rolling Stdev (30 Minute)</c:v>
                  </c:pt>
                  <c:pt idx="1751">
                    <c:v>Rolling Stdev (30 Minute)</c:v>
                  </c:pt>
                  <c:pt idx="1752">
                    <c:v>Rolling Stdev (30 Minute)</c:v>
                  </c:pt>
                  <c:pt idx="1753">
                    <c:v>Rolling Stdev (30 Minute)</c:v>
                  </c:pt>
                  <c:pt idx="1754">
                    <c:v>Rolling Stdev (30 Minute)</c:v>
                  </c:pt>
                  <c:pt idx="1755">
                    <c:v>Rolling Stdev (30 Minute)</c:v>
                  </c:pt>
                  <c:pt idx="1756">
                    <c:v>Rolling Stdev (30 Minute)</c:v>
                  </c:pt>
                  <c:pt idx="1757">
                    <c:v>Rolling Stdev (30 Minute)</c:v>
                  </c:pt>
                  <c:pt idx="1758">
                    <c:v>Rolling Stdev (30 Minute)</c:v>
                  </c:pt>
                  <c:pt idx="1759">
                    <c:v>Rolling Stdev (30 Minute)</c:v>
                  </c:pt>
                  <c:pt idx="1760">
                    <c:v>Rolling Stdev (30 Minute)</c:v>
                  </c:pt>
                  <c:pt idx="1761">
                    <c:v>Rolling Stdev (30 Minute)</c:v>
                  </c:pt>
                  <c:pt idx="1762">
                    <c:v>Rolling Stdev (30 Minute)</c:v>
                  </c:pt>
                  <c:pt idx="1763">
                    <c:v>Rolling Stdev (30 Minute)</c:v>
                  </c:pt>
                  <c:pt idx="1764">
                    <c:v>Rolling Stdev (30 Minute)</c:v>
                  </c:pt>
                  <c:pt idx="1765">
                    <c:v>Rolling Stdev (30 Minute)</c:v>
                  </c:pt>
                  <c:pt idx="1766">
                    <c:v>Rolling Stdev (30 Minute)</c:v>
                  </c:pt>
                  <c:pt idx="1767">
                    <c:v>Rolling Stdev (30 Minute)</c:v>
                  </c:pt>
                  <c:pt idx="1768">
                    <c:v>Rolling Stdev (30 Minute)</c:v>
                  </c:pt>
                  <c:pt idx="1769">
                    <c:v>Rolling Stdev (30 Minute)</c:v>
                  </c:pt>
                  <c:pt idx="1770">
                    <c:v>Rolling Stdev (30 Minute)</c:v>
                  </c:pt>
                  <c:pt idx="1771">
                    <c:v>Rolling Stdev (30 Minute)</c:v>
                  </c:pt>
                  <c:pt idx="1772">
                    <c:v>Rolling Stdev (30 Minute)</c:v>
                  </c:pt>
                  <c:pt idx="1773">
                    <c:v>Rolling Stdev (30 Minute)</c:v>
                  </c:pt>
                  <c:pt idx="1774">
                    <c:v>Rolling Stdev (30 Minute)</c:v>
                  </c:pt>
                  <c:pt idx="1775">
                    <c:v>Rolling Stdev (30 Minute)</c:v>
                  </c:pt>
                  <c:pt idx="1776">
                    <c:v>Rolling Stdev (30 Minute)</c:v>
                  </c:pt>
                  <c:pt idx="1777">
                    <c:v>Rolling Stdev (30 Minute)</c:v>
                  </c:pt>
                  <c:pt idx="1778">
                    <c:v>Rolling Stdev (30 Minute)</c:v>
                  </c:pt>
                  <c:pt idx="1779">
                    <c:v>Rolling Stdev (30 Minute)</c:v>
                  </c:pt>
                  <c:pt idx="1780">
                    <c:v>Rolling Stdev (30 Minute)</c:v>
                  </c:pt>
                  <c:pt idx="1781">
                    <c:v>Rolling Stdev (30 Minute)</c:v>
                  </c:pt>
                  <c:pt idx="1782">
                    <c:v>Rolling Stdev (30 Minute)</c:v>
                  </c:pt>
                  <c:pt idx="1783">
                    <c:v>Rolling Stdev (30 Minute)</c:v>
                  </c:pt>
                  <c:pt idx="1784">
                    <c:v>Rolling Stdev (30 Minute)</c:v>
                  </c:pt>
                  <c:pt idx="1785">
                    <c:v>Rolling Stdev (30 Minute)</c:v>
                  </c:pt>
                  <c:pt idx="1786">
                    <c:v>Rolling Stdev (30 Minute)</c:v>
                  </c:pt>
                  <c:pt idx="1787">
                    <c:v>Rolling Stdev (30 Minute)</c:v>
                  </c:pt>
                  <c:pt idx="1788">
                    <c:v>Rolling Stdev (30 Minute)</c:v>
                  </c:pt>
                  <c:pt idx="1789">
                    <c:v>Rolling Stdev (30 Minute)</c:v>
                  </c:pt>
                  <c:pt idx="1790">
                    <c:v>Rolling Stdev (30 Minute)</c:v>
                  </c:pt>
                  <c:pt idx="1791">
                    <c:v>Rolling Stdev (30 Minute)</c:v>
                  </c:pt>
                  <c:pt idx="1792">
                    <c:v>Rolling Stdev (30 Minute)</c:v>
                  </c:pt>
                  <c:pt idx="1793">
                    <c:v>Rolling Stdev (30 Minute)</c:v>
                  </c:pt>
                  <c:pt idx="1794">
                    <c:v>Rolling Stdev (30 Minute)</c:v>
                  </c:pt>
                  <c:pt idx="1795">
                    <c:v>Rolling Stdev (30 Minute)</c:v>
                  </c:pt>
                  <c:pt idx="1796">
                    <c:v>Rolling Stdev (30 Minute)</c:v>
                  </c:pt>
                  <c:pt idx="1797">
                    <c:v>Rolling Stdev (30 Minute)</c:v>
                  </c:pt>
                  <c:pt idx="1798">
                    <c:v>Rolling Stdev (30 Minute)</c:v>
                  </c:pt>
                  <c:pt idx="1799">
                    <c:v>Rolling Stdev (30 Minute)</c:v>
                  </c:pt>
                  <c:pt idx="1800">
                    <c:v>Rolling Stdev (30 Minute)</c:v>
                  </c:pt>
                  <c:pt idx="1801">
                    <c:v>Rolling Stdev (30 Minute)</c:v>
                  </c:pt>
                  <c:pt idx="1802">
                    <c:v>Rolling Stdev (30 Minute)</c:v>
                  </c:pt>
                  <c:pt idx="1803">
                    <c:v>Rolling Stdev (30 Minute)</c:v>
                  </c:pt>
                  <c:pt idx="1804">
                    <c:v>Rolling Stdev (30 Minute)</c:v>
                  </c:pt>
                  <c:pt idx="1805">
                    <c:v>Rolling Stdev (30 Minute)</c:v>
                  </c:pt>
                  <c:pt idx="1806">
                    <c:v>Rolling Stdev (30 Minute)</c:v>
                  </c:pt>
                  <c:pt idx="1807">
                    <c:v>Rolling Stdev (30 Minute)</c:v>
                  </c:pt>
                  <c:pt idx="1808">
                    <c:v>Rolling Stdev (30 Minute)</c:v>
                  </c:pt>
                  <c:pt idx="1809">
                    <c:v>Rolling Stdev (30 Minute)</c:v>
                  </c:pt>
                  <c:pt idx="1810">
                    <c:v>Rolling Stdev (30 Minute)</c:v>
                  </c:pt>
                  <c:pt idx="1811">
                    <c:v>Rolling Stdev (30 Minute)</c:v>
                  </c:pt>
                  <c:pt idx="1812">
                    <c:v>Rolling Stdev (30 Minute)</c:v>
                  </c:pt>
                  <c:pt idx="1813">
                    <c:v>Rolling Stdev (30 Minute)</c:v>
                  </c:pt>
                  <c:pt idx="1814">
                    <c:v>Rolling Stdev (30 Minute)</c:v>
                  </c:pt>
                  <c:pt idx="1815">
                    <c:v>Rolling Stdev (30 Minute)</c:v>
                  </c:pt>
                  <c:pt idx="1816">
                    <c:v>Rolling Stdev (30 Minute)</c:v>
                  </c:pt>
                  <c:pt idx="1817">
                    <c:v>Rolling Stdev (30 Minute)</c:v>
                  </c:pt>
                  <c:pt idx="1818">
                    <c:v>Rolling Stdev (30 Minute)</c:v>
                  </c:pt>
                  <c:pt idx="1819">
                    <c:v>Rolling Stdev (30 Minute)</c:v>
                  </c:pt>
                  <c:pt idx="1820">
                    <c:v>Rolling Stdev (30 Minute)</c:v>
                  </c:pt>
                  <c:pt idx="1821">
                    <c:v>Rolling Stdev (30 Minute)</c:v>
                  </c:pt>
                  <c:pt idx="1822">
                    <c:v>Rolling Stdev (30 Minute)</c:v>
                  </c:pt>
                  <c:pt idx="1823">
                    <c:v>Rolling Stdev (30 Minute)</c:v>
                  </c:pt>
                  <c:pt idx="1824">
                    <c:v>Rolling Stdev (30 Minute)</c:v>
                  </c:pt>
                  <c:pt idx="1825">
                    <c:v>Rolling Stdev (30 Minute)</c:v>
                  </c:pt>
                  <c:pt idx="1826">
                    <c:v>Rolling Stdev (30 Minute)</c:v>
                  </c:pt>
                  <c:pt idx="1827">
                    <c:v>Rolling Stdev (30 Minute)</c:v>
                  </c:pt>
                  <c:pt idx="1828">
                    <c:v>Rolling Stdev (30 Minute)</c:v>
                  </c:pt>
                  <c:pt idx="1829">
                    <c:v>Rolling Stdev (30 Minute)</c:v>
                  </c:pt>
                  <c:pt idx="1830">
                    <c:v>Rolling Stdev (30 Minute)</c:v>
                  </c:pt>
                  <c:pt idx="1831">
                    <c:v>Rolling Stdev (30 Minute)</c:v>
                  </c:pt>
                  <c:pt idx="1832">
                    <c:v>Rolling Stdev (30 Minute)</c:v>
                  </c:pt>
                  <c:pt idx="1833">
                    <c:v>Rolling Stdev (30 Minute)</c:v>
                  </c:pt>
                  <c:pt idx="1834">
                    <c:v>Rolling Stdev (30 Minute)</c:v>
                  </c:pt>
                  <c:pt idx="1835">
                    <c:v>Rolling Stdev (30 Minute)</c:v>
                  </c:pt>
                  <c:pt idx="1836">
                    <c:v>Rolling Stdev (30 Minute)</c:v>
                  </c:pt>
                  <c:pt idx="1837">
                    <c:v>Rolling Stdev (30 Minute)</c:v>
                  </c:pt>
                  <c:pt idx="1838">
                    <c:v>Rolling Stdev (30 Minute)</c:v>
                  </c:pt>
                  <c:pt idx="1839">
                    <c:v>Rolling Stdev (30 Minute)</c:v>
                  </c:pt>
                  <c:pt idx="1840">
                    <c:v>Rolling Stdev (30 Minute)</c:v>
                  </c:pt>
                  <c:pt idx="1841">
                    <c:v>Rolling Stdev (30 Minute)</c:v>
                  </c:pt>
                  <c:pt idx="1842">
                    <c:v>Rolling Stdev (30 Minute)</c:v>
                  </c:pt>
                  <c:pt idx="1843">
                    <c:v>Rolling Stdev (30 Minute)</c:v>
                  </c:pt>
                  <c:pt idx="1844">
                    <c:v>Rolling Stdev (30 Minute)</c:v>
                  </c:pt>
                  <c:pt idx="1845">
                    <c:v>Rolling Stdev (30 Minute)</c:v>
                  </c:pt>
                  <c:pt idx="1846">
                    <c:v>Rolling Stdev (30 Minute)</c:v>
                  </c:pt>
                  <c:pt idx="1847">
                    <c:v>Rolling Stdev (30 Minute)</c:v>
                  </c:pt>
                  <c:pt idx="1848">
                    <c:v>Rolling Stdev (30 Minute)</c:v>
                  </c:pt>
                  <c:pt idx="1849">
                    <c:v>Rolling Stdev (30 Minute)</c:v>
                  </c:pt>
                  <c:pt idx="1850">
                    <c:v>Rolling Stdev (30 Minute)</c:v>
                  </c:pt>
                  <c:pt idx="1851">
                    <c:v>Rolling Stdev (30 Minute)</c:v>
                  </c:pt>
                  <c:pt idx="1852">
                    <c:v>Rolling Stdev (30 Minute)</c:v>
                  </c:pt>
                  <c:pt idx="1853">
                    <c:v>Rolling Stdev (30 Minute)</c:v>
                  </c:pt>
                  <c:pt idx="1854">
                    <c:v>Rolling Stdev (30 Minute)</c:v>
                  </c:pt>
                  <c:pt idx="1855">
                    <c:v>Rolling Stdev (30 Minute)</c:v>
                  </c:pt>
                  <c:pt idx="1856">
                    <c:v>Rolling Stdev (30 Minute)</c:v>
                  </c:pt>
                  <c:pt idx="1857">
                    <c:v>Rolling Stdev (30 Minute)</c:v>
                  </c:pt>
                  <c:pt idx="1858">
                    <c:v>Rolling Stdev (30 Minute)</c:v>
                  </c:pt>
                  <c:pt idx="1859">
                    <c:v>Rolling Stdev (30 Minute)</c:v>
                  </c:pt>
                  <c:pt idx="1860">
                    <c:v>Rolling Stdev (30 Minute)</c:v>
                  </c:pt>
                  <c:pt idx="1861">
                    <c:v>Rolling Stdev (30 Minute)</c:v>
                  </c:pt>
                  <c:pt idx="1862">
                    <c:v>Rolling Stdev (30 Minute)</c:v>
                  </c:pt>
                  <c:pt idx="1863">
                    <c:v>Rolling Stdev (30 Minute)</c:v>
                  </c:pt>
                  <c:pt idx="1864">
                    <c:v>Rolling Stdev (30 Minute)</c:v>
                  </c:pt>
                  <c:pt idx="1865">
                    <c:v>Rolling Stdev (30 Minute)</c:v>
                  </c:pt>
                  <c:pt idx="1866">
                    <c:v>Rolling Stdev (30 Minute)</c:v>
                  </c:pt>
                  <c:pt idx="1867">
                    <c:v>Rolling Stdev (30 Minute)</c:v>
                  </c:pt>
                  <c:pt idx="1868">
                    <c:v>Rolling Stdev (30 Minute)</c:v>
                  </c:pt>
                  <c:pt idx="1869">
                    <c:v>Rolling Stdev (30 Minute)</c:v>
                  </c:pt>
                  <c:pt idx="1870">
                    <c:v>Rolling Stdev (30 Minute)</c:v>
                  </c:pt>
                  <c:pt idx="1871">
                    <c:v>Rolling Stdev (30 Minute)</c:v>
                  </c:pt>
                  <c:pt idx="1872">
                    <c:v>Rolling Stdev (30 Minute)</c:v>
                  </c:pt>
                  <c:pt idx="1873">
                    <c:v>Rolling Stdev (30 Minute)</c:v>
                  </c:pt>
                  <c:pt idx="1874">
                    <c:v>Rolling Stdev (30 Minute)</c:v>
                  </c:pt>
                  <c:pt idx="1875">
                    <c:v>Rolling Stdev (30 Minute)</c:v>
                  </c:pt>
                  <c:pt idx="1876">
                    <c:v>Rolling Stdev (30 Minute)</c:v>
                  </c:pt>
                  <c:pt idx="1877">
                    <c:v>Rolling Stdev (30 Minute)</c:v>
                  </c:pt>
                  <c:pt idx="1878">
                    <c:v>Rolling Stdev (30 Minute)</c:v>
                  </c:pt>
                  <c:pt idx="1879">
                    <c:v>Rolling Stdev (30 Minute)</c:v>
                  </c:pt>
                  <c:pt idx="1880">
                    <c:v>Rolling Stdev (30 Minute)</c:v>
                  </c:pt>
                  <c:pt idx="1881">
                    <c:v>Rolling Stdev (30 Minute)</c:v>
                  </c:pt>
                  <c:pt idx="1882">
                    <c:v>Rolling Stdev (30 Minute)</c:v>
                  </c:pt>
                  <c:pt idx="1883">
                    <c:v>Rolling Stdev (30 Minute)</c:v>
                  </c:pt>
                  <c:pt idx="1884">
                    <c:v>Rolling Stdev (30 Minute)</c:v>
                  </c:pt>
                  <c:pt idx="1885">
                    <c:v>Rolling Stdev (30 Minute)</c:v>
                  </c:pt>
                  <c:pt idx="1886">
                    <c:v>Rolling Stdev (30 Minute)</c:v>
                  </c:pt>
                  <c:pt idx="1887">
                    <c:v>Rolling Stdev (30 Minute)</c:v>
                  </c:pt>
                  <c:pt idx="1888">
                    <c:v>Rolling Stdev (30 Minute)</c:v>
                  </c:pt>
                  <c:pt idx="1889">
                    <c:v>Rolling Stdev (30 Minute)</c:v>
                  </c:pt>
                  <c:pt idx="1890">
                    <c:v>Rolling Stdev (30 Minute)</c:v>
                  </c:pt>
                  <c:pt idx="1891">
                    <c:v>Rolling Stdev (30 Minute)</c:v>
                  </c:pt>
                  <c:pt idx="1892">
                    <c:v>Rolling Stdev (30 Minute)</c:v>
                  </c:pt>
                  <c:pt idx="1893">
                    <c:v>Rolling Stdev (30 Minute)</c:v>
                  </c:pt>
                  <c:pt idx="1894">
                    <c:v>Rolling Stdev (30 Minute)</c:v>
                  </c:pt>
                  <c:pt idx="1895">
                    <c:v>Rolling Stdev (30 Minute)</c:v>
                  </c:pt>
                  <c:pt idx="1896">
                    <c:v>Rolling Stdev (30 Minute)</c:v>
                  </c:pt>
                  <c:pt idx="1897">
                    <c:v>Rolling Stdev (30 Minute)</c:v>
                  </c:pt>
                  <c:pt idx="1898">
                    <c:v>Rolling Stdev (30 Minute)</c:v>
                  </c:pt>
                  <c:pt idx="1899">
                    <c:v>Rolling Stdev (30 Minute)</c:v>
                  </c:pt>
                  <c:pt idx="1900">
                    <c:v>Rolling Stdev (30 Minute)</c:v>
                  </c:pt>
                  <c:pt idx="1901">
                    <c:v>Rolling Stdev (30 Minute)</c:v>
                  </c:pt>
                  <c:pt idx="1902">
                    <c:v>Rolling Stdev (30 Minute)</c:v>
                  </c:pt>
                  <c:pt idx="1903">
                    <c:v>Rolling Stdev (30 Minute)</c:v>
                  </c:pt>
                  <c:pt idx="1904">
                    <c:v>Rolling Stdev (30 Minute)</c:v>
                  </c:pt>
                  <c:pt idx="1905">
                    <c:v>Rolling Stdev (30 Minute)</c:v>
                  </c:pt>
                  <c:pt idx="1906">
                    <c:v>Rolling Stdev (30 Minute)</c:v>
                  </c:pt>
                  <c:pt idx="1907">
                    <c:v>Rolling Stdev (30 Minute)</c:v>
                  </c:pt>
                  <c:pt idx="1908">
                    <c:v>Rolling Stdev (30 Minute)</c:v>
                  </c:pt>
                  <c:pt idx="1909">
                    <c:v>Rolling Stdev (30 Minute)</c:v>
                  </c:pt>
                  <c:pt idx="1910">
                    <c:v>Rolling Stdev (30 Minute)</c:v>
                  </c:pt>
                  <c:pt idx="1911">
                    <c:v>Rolling Stdev (30 Minute)</c:v>
                  </c:pt>
                  <c:pt idx="1912">
                    <c:v>Rolling Stdev (30 Minute)</c:v>
                  </c:pt>
                  <c:pt idx="1913">
                    <c:v>Rolling Stdev (30 Minute)</c:v>
                  </c:pt>
                  <c:pt idx="1914">
                    <c:v>Rolling Stdev (30 Minute)</c:v>
                  </c:pt>
                  <c:pt idx="1915">
                    <c:v>Rolling Stdev (30 Minute)</c:v>
                  </c:pt>
                  <c:pt idx="1916">
                    <c:v>Rolling Stdev (30 Minute)</c:v>
                  </c:pt>
                  <c:pt idx="1917">
                    <c:v>Rolling Stdev (30 Minute)</c:v>
                  </c:pt>
                  <c:pt idx="1918">
                    <c:v>Rolling Stdev (30 Minute)</c:v>
                  </c:pt>
                  <c:pt idx="1919">
                    <c:v>Rolling Stdev (30 Minute)</c:v>
                  </c:pt>
                  <c:pt idx="1920">
                    <c:v>Rolling Stdev (30 Minute)</c:v>
                  </c:pt>
                  <c:pt idx="1921">
                    <c:v>Rolling Stdev (30 Minute)</c:v>
                  </c:pt>
                  <c:pt idx="1922">
                    <c:v>Rolling Stdev (30 Minute)</c:v>
                  </c:pt>
                  <c:pt idx="1923">
                    <c:v>Rolling Stdev (30 Minute)</c:v>
                  </c:pt>
                  <c:pt idx="1924">
                    <c:v>Rolling Stdev (30 Minute)</c:v>
                  </c:pt>
                  <c:pt idx="1925">
                    <c:v>Rolling Stdev (30 Minute)</c:v>
                  </c:pt>
                  <c:pt idx="1926">
                    <c:v>Rolling Stdev (30 Minute)</c:v>
                  </c:pt>
                  <c:pt idx="1927">
                    <c:v>Rolling Stdev (30 Minute)</c:v>
                  </c:pt>
                  <c:pt idx="1928">
                    <c:v>Rolling Stdev (30 Minute)</c:v>
                  </c:pt>
                  <c:pt idx="1929">
                    <c:v>Rolling Stdev (30 Minute)</c:v>
                  </c:pt>
                  <c:pt idx="1930">
                    <c:v>Rolling Stdev (30 Minute)</c:v>
                  </c:pt>
                  <c:pt idx="1931">
                    <c:v>Rolling Stdev (30 Minute)</c:v>
                  </c:pt>
                  <c:pt idx="1932">
                    <c:v>Rolling Stdev (30 Minute)</c:v>
                  </c:pt>
                  <c:pt idx="1933">
                    <c:v>Rolling Stdev (30 Minute)</c:v>
                  </c:pt>
                  <c:pt idx="1934">
                    <c:v>Rolling Stdev (30 Minute)</c:v>
                  </c:pt>
                  <c:pt idx="1935">
                    <c:v>Rolling Stdev (30 Minute)</c:v>
                  </c:pt>
                  <c:pt idx="1936">
                    <c:v>Rolling Stdev (30 Minute)</c:v>
                  </c:pt>
                  <c:pt idx="1937">
                    <c:v>Rolling Stdev (30 Minute)</c:v>
                  </c:pt>
                  <c:pt idx="1938">
                    <c:v>Rolling Stdev (30 Minute)</c:v>
                  </c:pt>
                  <c:pt idx="1939">
                    <c:v>Rolling Stdev (30 Minute)</c:v>
                  </c:pt>
                  <c:pt idx="1940">
                    <c:v>Rolling Stdev (30 Minute)</c:v>
                  </c:pt>
                  <c:pt idx="1941">
                    <c:v>Rolling Stdev (30 Minute)</c:v>
                  </c:pt>
                  <c:pt idx="1942">
                    <c:v>Rolling Stdev (30 Minute)</c:v>
                  </c:pt>
                  <c:pt idx="1943">
                    <c:v>Rolling Stdev (30 Minute)</c:v>
                  </c:pt>
                  <c:pt idx="1944">
                    <c:v>Rolling Stdev (30 Minute)</c:v>
                  </c:pt>
                  <c:pt idx="1945">
                    <c:v>Rolling Stdev (30 Minute)</c:v>
                  </c:pt>
                  <c:pt idx="1946">
                    <c:v>Rolling Stdev (30 Minute)</c:v>
                  </c:pt>
                  <c:pt idx="1947">
                    <c:v>Rolling Stdev (30 Minute)</c:v>
                  </c:pt>
                  <c:pt idx="1948">
                    <c:v>Rolling Stdev (30 Minute)</c:v>
                  </c:pt>
                  <c:pt idx="1949">
                    <c:v>Rolling Stdev (30 Minute)</c:v>
                  </c:pt>
                  <c:pt idx="1950">
                    <c:v>Rolling Stdev (30 Minute)</c:v>
                  </c:pt>
                  <c:pt idx="1951">
                    <c:v>Rolling Stdev (30 Minute)</c:v>
                  </c:pt>
                  <c:pt idx="1952">
                    <c:v>Rolling Stdev (30 Minute)</c:v>
                  </c:pt>
                  <c:pt idx="1953">
                    <c:v>Rolling Stdev (30 Minute)</c:v>
                  </c:pt>
                  <c:pt idx="1954">
                    <c:v>Rolling Stdev (30 Minute)</c:v>
                  </c:pt>
                  <c:pt idx="1955">
                    <c:v>Rolling Stdev (30 Minute)</c:v>
                  </c:pt>
                  <c:pt idx="1956">
                    <c:v>Rolling Stdev (30 Minute)</c:v>
                  </c:pt>
                  <c:pt idx="1957">
                    <c:v>Rolling Stdev (30 Minute)</c:v>
                  </c:pt>
                  <c:pt idx="1958">
                    <c:v>Rolling Stdev (30 Minute)</c:v>
                  </c:pt>
                  <c:pt idx="1959">
                    <c:v>Rolling Stdev (30 Minute)</c:v>
                  </c:pt>
                  <c:pt idx="1960">
                    <c:v>Rolling Stdev (30 Minute)</c:v>
                  </c:pt>
                  <c:pt idx="1961">
                    <c:v>Rolling Stdev (30 Minute)</c:v>
                  </c:pt>
                  <c:pt idx="1962">
                    <c:v>Rolling Stdev (30 Minute)</c:v>
                  </c:pt>
                  <c:pt idx="1963">
                    <c:v>Rolling Stdev (30 Minute)</c:v>
                  </c:pt>
                  <c:pt idx="1964">
                    <c:v>Rolling Stdev (30 Minute)</c:v>
                  </c:pt>
                  <c:pt idx="1965">
                    <c:v>Rolling Stdev (30 Minute)</c:v>
                  </c:pt>
                  <c:pt idx="1966">
                    <c:v>Rolling Stdev (30 Minute)</c:v>
                  </c:pt>
                  <c:pt idx="1967">
                    <c:v>Rolling Stdev (30 Minute)</c:v>
                  </c:pt>
                  <c:pt idx="1968">
                    <c:v>Rolling Stdev (30 Minute)</c:v>
                  </c:pt>
                  <c:pt idx="1969">
                    <c:v>Rolling Stdev (30 Minute)</c:v>
                  </c:pt>
                  <c:pt idx="1970">
                    <c:v>Rolling Stdev (30 Minute)</c:v>
                  </c:pt>
                  <c:pt idx="1971">
                    <c:v>Rolling Stdev (30 Minute)</c:v>
                  </c:pt>
                  <c:pt idx="1972">
                    <c:v>Rolling Stdev (30 Minute)</c:v>
                  </c:pt>
                  <c:pt idx="1973">
                    <c:v>Rolling Stdev (30 Minute)</c:v>
                  </c:pt>
                  <c:pt idx="1974">
                    <c:v>Rolling Stdev (30 Minute)</c:v>
                  </c:pt>
                  <c:pt idx="1975">
                    <c:v>Rolling Stdev (30 Minute)</c:v>
                  </c:pt>
                  <c:pt idx="1976">
                    <c:v>Rolling Stdev (30 Minute)</c:v>
                  </c:pt>
                  <c:pt idx="1977">
                    <c:v>Rolling Stdev (30 Minute)</c:v>
                  </c:pt>
                  <c:pt idx="1978">
                    <c:v>Rolling Stdev (30 Minute)</c:v>
                  </c:pt>
                  <c:pt idx="1979">
                    <c:v>Rolling Stdev (30 Minute)</c:v>
                  </c:pt>
                  <c:pt idx="1980">
                    <c:v>Rolling Stdev (30 Minute)</c:v>
                  </c:pt>
                  <c:pt idx="1981">
                    <c:v>Rolling Stdev (30 Minute)</c:v>
                  </c:pt>
                  <c:pt idx="1982">
                    <c:v>Rolling Stdev (30 Minute)</c:v>
                  </c:pt>
                  <c:pt idx="1983">
                    <c:v>Rolling Stdev (30 Minute)</c:v>
                  </c:pt>
                  <c:pt idx="1984">
                    <c:v>Rolling Stdev (30 Minute)</c:v>
                  </c:pt>
                  <c:pt idx="1985">
                    <c:v>Rolling Stdev (30 Minute)</c:v>
                  </c:pt>
                  <c:pt idx="1986">
                    <c:v>Rolling Stdev (30 Minute)</c:v>
                  </c:pt>
                  <c:pt idx="1987">
                    <c:v>Rolling Stdev (30 Minute)</c:v>
                  </c:pt>
                  <c:pt idx="1988">
                    <c:v>Rolling Stdev (30 Minute)</c:v>
                  </c:pt>
                  <c:pt idx="1989">
                    <c:v>Rolling Stdev (30 Minute)</c:v>
                  </c:pt>
                  <c:pt idx="1990">
                    <c:v>Rolling Stdev (30 Minute)</c:v>
                  </c:pt>
                  <c:pt idx="1991">
                    <c:v>Rolling Stdev (30 Minute)</c:v>
                  </c:pt>
                  <c:pt idx="1992">
                    <c:v>Rolling Stdev (30 Minute)</c:v>
                  </c:pt>
                  <c:pt idx="1993">
                    <c:v>Rolling Stdev (30 Minute)</c:v>
                  </c:pt>
                  <c:pt idx="1994">
                    <c:v>Rolling Stdev (30 Minute)</c:v>
                  </c:pt>
                  <c:pt idx="1995">
                    <c:v>Rolling Stdev (30 Minute)</c:v>
                  </c:pt>
                  <c:pt idx="1996">
                    <c:v>Rolling Stdev (30 Minute)</c:v>
                  </c:pt>
                  <c:pt idx="1997">
                    <c:v>Rolling Stdev (30 Minute)</c:v>
                  </c:pt>
                  <c:pt idx="1998">
                    <c:v>Rolling Stdev (30 Minute)</c:v>
                  </c:pt>
                  <c:pt idx="1999">
                    <c:v>Rolling Stdev (30 Minute)</c:v>
                  </c:pt>
                  <c:pt idx="2000">
                    <c:v>Rolling Stdev (30 Minute)</c:v>
                  </c:pt>
                  <c:pt idx="2001">
                    <c:v>Rolling Stdev (30 Minute)</c:v>
                  </c:pt>
                  <c:pt idx="2002">
                    <c:v>Rolling Stdev (30 Minute)</c:v>
                  </c:pt>
                  <c:pt idx="2003">
                    <c:v>Rolling Stdev (30 Minute)</c:v>
                  </c:pt>
                  <c:pt idx="2004">
                    <c:v>Rolling Stdev (30 Minute)</c:v>
                  </c:pt>
                  <c:pt idx="2005">
                    <c:v>Rolling Stdev (30 Minute)</c:v>
                  </c:pt>
                  <c:pt idx="2006">
                    <c:v>Rolling Stdev (30 Minute)</c:v>
                  </c:pt>
                  <c:pt idx="2007">
                    <c:v>Rolling Stdev (30 Minute)</c:v>
                  </c:pt>
                  <c:pt idx="2008">
                    <c:v>Rolling Stdev (30 Minute)</c:v>
                  </c:pt>
                  <c:pt idx="2009">
                    <c:v>Rolling Stdev (30 Minute)</c:v>
                  </c:pt>
                  <c:pt idx="2010">
                    <c:v>Rolling Stdev (30 Minute)</c:v>
                  </c:pt>
                  <c:pt idx="2011">
                    <c:v>Rolling Stdev (30 Minute)</c:v>
                  </c:pt>
                  <c:pt idx="2012">
                    <c:v>Rolling Stdev (30 Minute)</c:v>
                  </c:pt>
                  <c:pt idx="2013">
                    <c:v>Rolling Stdev (30 Minute)</c:v>
                  </c:pt>
                  <c:pt idx="2014">
                    <c:v>Rolling Stdev (30 Minute)</c:v>
                  </c:pt>
                  <c:pt idx="2015">
                    <c:v>Rolling Stdev (30 Minute)</c:v>
                  </c:pt>
                  <c:pt idx="2016">
                    <c:v>Rolling Stdev (30 Minute)</c:v>
                  </c:pt>
                  <c:pt idx="2017">
                    <c:v>Rolling Stdev (30 Minute)</c:v>
                  </c:pt>
                  <c:pt idx="2018">
                    <c:v>Rolling Stdev (30 Minute)</c:v>
                  </c:pt>
                  <c:pt idx="2019">
                    <c:v>Rolling Stdev (30 Minute)</c:v>
                  </c:pt>
                  <c:pt idx="2020">
                    <c:v>Rolling Stdev (30 Minute)</c:v>
                  </c:pt>
                  <c:pt idx="2021">
                    <c:v>Rolling Stdev (30 Minute)</c:v>
                  </c:pt>
                  <c:pt idx="2022">
                    <c:v>Rolling Stdev (30 Minute)</c:v>
                  </c:pt>
                  <c:pt idx="2023">
                    <c:v>Rolling Stdev (30 Minute)</c:v>
                  </c:pt>
                  <c:pt idx="2024">
                    <c:v>Rolling Stdev (30 Minute)</c:v>
                  </c:pt>
                  <c:pt idx="2025">
                    <c:v>Rolling Stdev (30 Minute)</c:v>
                  </c:pt>
                  <c:pt idx="2026">
                    <c:v>Rolling Stdev (30 Minute)</c:v>
                  </c:pt>
                  <c:pt idx="2027">
                    <c:v>Rolling Stdev (30 Minute)</c:v>
                  </c:pt>
                  <c:pt idx="2028">
                    <c:v>Rolling Stdev (30 Minute)</c:v>
                  </c:pt>
                  <c:pt idx="2029">
                    <c:v>Rolling Stdev (30 Minute)</c:v>
                  </c:pt>
                  <c:pt idx="2030">
                    <c:v>Rolling Stdev (30 Minute)</c:v>
                  </c:pt>
                  <c:pt idx="2031">
                    <c:v>Rolling Stdev (30 Minute)</c:v>
                  </c:pt>
                  <c:pt idx="2032">
                    <c:v>Rolling Stdev (30 Minute)</c:v>
                  </c:pt>
                  <c:pt idx="2033">
                    <c:v>Rolling Stdev (30 Minute)</c:v>
                  </c:pt>
                  <c:pt idx="2034">
                    <c:v>Rolling Stdev (30 Minute)</c:v>
                  </c:pt>
                  <c:pt idx="2035">
                    <c:v>Rolling Stdev (30 Minute)</c:v>
                  </c:pt>
                  <c:pt idx="2036">
                    <c:v>Rolling Stdev (30 Minute)</c:v>
                  </c:pt>
                  <c:pt idx="2037">
                    <c:v>Rolling Stdev (30 Minute)</c:v>
                  </c:pt>
                  <c:pt idx="2038">
                    <c:v>Rolling Stdev (30 Minute)</c:v>
                  </c:pt>
                  <c:pt idx="2039">
                    <c:v>Rolling Stdev (30 Minute)</c:v>
                  </c:pt>
                  <c:pt idx="2040">
                    <c:v>Rolling Stdev (30 Minute)</c:v>
                  </c:pt>
                  <c:pt idx="2041">
                    <c:v>Rolling Stdev (30 Minute)</c:v>
                  </c:pt>
                  <c:pt idx="2042">
                    <c:v>Rolling Stdev (30 Minute)</c:v>
                  </c:pt>
                  <c:pt idx="2043">
                    <c:v>Rolling Stdev (30 Minute)</c:v>
                  </c:pt>
                  <c:pt idx="2044">
                    <c:v>Rolling Stdev (30 Minute)</c:v>
                  </c:pt>
                  <c:pt idx="2045">
                    <c:v>Rolling Stdev (30 Minute)</c:v>
                  </c:pt>
                  <c:pt idx="2046">
                    <c:v>Rolling Stdev (30 Minute)</c:v>
                  </c:pt>
                  <c:pt idx="2047">
                    <c:v>Rolling Stdev (30 Minute)</c:v>
                  </c:pt>
                  <c:pt idx="2048">
                    <c:v>Rolling Stdev (30 Minute)</c:v>
                  </c:pt>
                  <c:pt idx="2049">
                    <c:v>Rolling Stdev (30 Minute)</c:v>
                  </c:pt>
                  <c:pt idx="2050">
                    <c:v>Rolling Stdev (30 Minute)</c:v>
                  </c:pt>
                  <c:pt idx="2051">
                    <c:v>Rolling Stdev (30 Minute)</c:v>
                  </c:pt>
                  <c:pt idx="2052">
                    <c:v>Rolling Stdev (30 Minute)</c:v>
                  </c:pt>
                  <c:pt idx="2053">
                    <c:v>Rolling Stdev (30 Minute)</c:v>
                  </c:pt>
                  <c:pt idx="2054">
                    <c:v>Rolling Stdev (30 Minute)</c:v>
                  </c:pt>
                  <c:pt idx="2055">
                    <c:v>Rolling Stdev (30 Minute)</c:v>
                  </c:pt>
                  <c:pt idx="2056">
                    <c:v>Rolling Stdev (30 Minute)</c:v>
                  </c:pt>
                  <c:pt idx="2057">
                    <c:v>Rolling Stdev (30 Minute)</c:v>
                  </c:pt>
                  <c:pt idx="2058">
                    <c:v>Rolling Stdev (30 Minute)</c:v>
                  </c:pt>
                  <c:pt idx="2059">
                    <c:v>Rolling Stdev (30 Minute)</c:v>
                  </c:pt>
                  <c:pt idx="2060">
                    <c:v>Rolling Stdev (30 Minute)</c:v>
                  </c:pt>
                  <c:pt idx="2061">
                    <c:v>Rolling Stdev (30 Minute)</c:v>
                  </c:pt>
                  <c:pt idx="2062">
                    <c:v>Rolling Stdev (30 Minute)</c:v>
                  </c:pt>
                  <c:pt idx="2063">
                    <c:v>Rolling Stdev (30 Minute)</c:v>
                  </c:pt>
                  <c:pt idx="2064">
                    <c:v>Rolling Stdev (30 Minute)</c:v>
                  </c:pt>
                  <c:pt idx="2065">
                    <c:v>Rolling Stdev (30 Minute)</c:v>
                  </c:pt>
                  <c:pt idx="2066">
                    <c:v>Rolling Stdev (30 Minute)</c:v>
                  </c:pt>
                  <c:pt idx="2067">
                    <c:v>Rolling Stdev (30 Minute)</c:v>
                  </c:pt>
                  <c:pt idx="2068">
                    <c:v>Rolling Stdev (30 Minute)</c:v>
                  </c:pt>
                  <c:pt idx="2069">
                    <c:v>Rolling Stdev (30 Minute)</c:v>
                  </c:pt>
                  <c:pt idx="2070">
                    <c:v>Rolling Stdev (30 Minute)</c:v>
                  </c:pt>
                  <c:pt idx="2071">
                    <c:v>Rolling Stdev (30 Minute)</c:v>
                  </c:pt>
                  <c:pt idx="2072">
                    <c:v>Rolling Stdev (30 Minute)</c:v>
                  </c:pt>
                  <c:pt idx="2073">
                    <c:v>Rolling Stdev (30 Minute)</c:v>
                  </c:pt>
                  <c:pt idx="2074">
                    <c:v>Rolling Stdev (30 Minute)</c:v>
                  </c:pt>
                  <c:pt idx="2075">
                    <c:v>Rolling Stdev (30 Minute)</c:v>
                  </c:pt>
                  <c:pt idx="2076">
                    <c:v>Rolling Stdev (30 Minute)</c:v>
                  </c:pt>
                  <c:pt idx="2077">
                    <c:v>Rolling Stdev (30 Minute)</c:v>
                  </c:pt>
                  <c:pt idx="2078">
                    <c:v>Rolling Stdev (30 Minute)</c:v>
                  </c:pt>
                  <c:pt idx="2079">
                    <c:v>Rolling Stdev (30 Minute)</c:v>
                  </c:pt>
                  <c:pt idx="2080">
                    <c:v>Rolling Stdev (30 Minute)</c:v>
                  </c:pt>
                  <c:pt idx="2081">
                    <c:v>Rolling Stdev (30 Minute)</c:v>
                  </c:pt>
                  <c:pt idx="2082">
                    <c:v>Rolling Stdev (30 Minute)</c:v>
                  </c:pt>
                  <c:pt idx="2083">
                    <c:v>Rolling Stdev (30 Minute)</c:v>
                  </c:pt>
                  <c:pt idx="2084">
                    <c:v>Rolling Stdev (30 Minute)</c:v>
                  </c:pt>
                  <c:pt idx="2085">
                    <c:v>Rolling Stdev (30 Minute)</c:v>
                  </c:pt>
                  <c:pt idx="2086">
                    <c:v>Rolling Stdev (30 Minute)</c:v>
                  </c:pt>
                  <c:pt idx="2087">
                    <c:v>Rolling Stdev (30 Minute)</c:v>
                  </c:pt>
                  <c:pt idx="2088">
                    <c:v>Rolling Stdev (30 Minute)</c:v>
                  </c:pt>
                  <c:pt idx="2089">
                    <c:v>Rolling Stdev (30 Minute)</c:v>
                  </c:pt>
                  <c:pt idx="2090">
                    <c:v>Rolling Stdev (30 Minute)</c:v>
                  </c:pt>
                  <c:pt idx="2091">
                    <c:v>Rolling Stdev (30 Minute)</c:v>
                  </c:pt>
                  <c:pt idx="2092">
                    <c:v>Rolling Stdev (30 Minute)</c:v>
                  </c:pt>
                  <c:pt idx="2093">
                    <c:v>Rolling Stdev (30 Minute)</c:v>
                  </c:pt>
                  <c:pt idx="2094">
                    <c:v>Rolling Stdev (30 Minute)</c:v>
                  </c:pt>
                  <c:pt idx="2095">
                    <c:v>Rolling Stdev (30 Minute)</c:v>
                  </c:pt>
                  <c:pt idx="2096">
                    <c:v>Rolling Stdev (30 Minute)</c:v>
                  </c:pt>
                  <c:pt idx="2097">
                    <c:v>Rolling Stdev (30 Minute)</c:v>
                  </c:pt>
                  <c:pt idx="2098">
                    <c:v>Rolling Stdev (30 Minute)</c:v>
                  </c:pt>
                  <c:pt idx="2099">
                    <c:v>Rolling Stdev (30 Minute)</c:v>
                  </c:pt>
                  <c:pt idx="2100">
                    <c:v>Rolling Stdev (30 Minute)</c:v>
                  </c:pt>
                  <c:pt idx="2101">
                    <c:v>Rolling Stdev (30 Minute)</c:v>
                  </c:pt>
                  <c:pt idx="2102">
                    <c:v>Rolling Stdev (30 Minute)</c:v>
                  </c:pt>
                  <c:pt idx="2103">
                    <c:v>Rolling Stdev (30 Minute)</c:v>
                  </c:pt>
                  <c:pt idx="2104">
                    <c:v>Rolling Stdev (30 Minute)</c:v>
                  </c:pt>
                  <c:pt idx="2105">
                    <c:v>Rolling Stdev (30 Minute)</c:v>
                  </c:pt>
                  <c:pt idx="2106">
                    <c:v>Rolling Stdev (30 Minute)</c:v>
                  </c:pt>
                  <c:pt idx="2107">
                    <c:v>Rolling Stdev (30 Minute)</c:v>
                  </c:pt>
                  <c:pt idx="2108">
                    <c:v>Rolling Stdev (30 Minute)</c:v>
                  </c:pt>
                  <c:pt idx="2109">
                    <c:v>Rolling Stdev (30 Minute)</c:v>
                  </c:pt>
                  <c:pt idx="2110">
                    <c:v>Rolling Stdev (30 Minute)</c:v>
                  </c:pt>
                  <c:pt idx="2111">
                    <c:v>Rolling Stdev (30 Minute)</c:v>
                  </c:pt>
                  <c:pt idx="2112">
                    <c:v>Rolling Stdev (30 Minute)</c:v>
                  </c:pt>
                  <c:pt idx="2113">
                    <c:v>Rolling Stdev (30 Minute)</c:v>
                  </c:pt>
                  <c:pt idx="2114">
                    <c:v>Rolling Stdev (30 Minute)</c:v>
                  </c:pt>
                  <c:pt idx="2115">
                    <c:v>Rolling Stdev (30 Minute)</c:v>
                  </c:pt>
                  <c:pt idx="2116">
                    <c:v>Rolling Stdev (30 Minute)</c:v>
                  </c:pt>
                  <c:pt idx="2117">
                    <c:v>Rolling Stdev (30 Minute)</c:v>
                  </c:pt>
                  <c:pt idx="2118">
                    <c:v>Rolling Stdev (30 Minute)</c:v>
                  </c:pt>
                  <c:pt idx="2119">
                    <c:v>Rolling Stdev (30 Minute)</c:v>
                  </c:pt>
                  <c:pt idx="2120">
                    <c:v>Rolling Stdev (30 Minute)</c:v>
                  </c:pt>
                  <c:pt idx="2121">
                    <c:v>Rolling Stdev (30 Minute)</c:v>
                  </c:pt>
                  <c:pt idx="2122">
                    <c:v>Rolling Stdev (30 Minute)</c:v>
                  </c:pt>
                  <c:pt idx="2123">
                    <c:v>Rolling Stdev (30 Minute)</c:v>
                  </c:pt>
                  <c:pt idx="2124">
                    <c:v>Rolling Stdev (30 Minute)</c:v>
                  </c:pt>
                  <c:pt idx="2125">
                    <c:v>Rolling Stdev (30 Minute)</c:v>
                  </c:pt>
                  <c:pt idx="2126">
                    <c:v>Rolling Stdev (30 Minute)</c:v>
                  </c:pt>
                  <c:pt idx="2127">
                    <c:v>Rolling Stdev (30 Minute)</c:v>
                  </c:pt>
                  <c:pt idx="2128">
                    <c:v>Rolling Stdev (30 Minute)</c:v>
                  </c:pt>
                  <c:pt idx="2129">
                    <c:v>Rolling Stdev (30 Minute)</c:v>
                  </c:pt>
                  <c:pt idx="2130">
                    <c:v>Rolling Stdev (30 Minute)</c:v>
                  </c:pt>
                  <c:pt idx="2131">
                    <c:v>Rolling Stdev (30 Minute)</c:v>
                  </c:pt>
                  <c:pt idx="2132">
                    <c:v>Rolling Stdev (30 Minute)</c:v>
                  </c:pt>
                  <c:pt idx="2133">
                    <c:v>Rolling Stdev (30 Minute)</c:v>
                  </c:pt>
                  <c:pt idx="2134">
                    <c:v>Rolling Stdev (30 Minute)</c:v>
                  </c:pt>
                  <c:pt idx="2135">
                    <c:v>Rolling Stdev (30 Minute)</c:v>
                  </c:pt>
                  <c:pt idx="2136">
                    <c:v>Rolling Stdev (30 Minute)</c:v>
                  </c:pt>
                  <c:pt idx="2137">
                    <c:v>Rolling Stdev (30 Minute)</c:v>
                  </c:pt>
                  <c:pt idx="2138">
                    <c:v>Rolling Stdev (30 Minute)</c:v>
                  </c:pt>
                  <c:pt idx="2139">
                    <c:v>Rolling Stdev (30 Minute)</c:v>
                  </c:pt>
                  <c:pt idx="2140">
                    <c:v>Rolling Stdev (30 Minute)</c:v>
                  </c:pt>
                  <c:pt idx="2141">
                    <c:v>Rolling Stdev (30 Minute)</c:v>
                  </c:pt>
                  <c:pt idx="2142">
                    <c:v>Rolling Stdev (30 Minute)</c:v>
                  </c:pt>
                  <c:pt idx="2143">
                    <c:v>Rolling Stdev (30 Minute)</c:v>
                  </c:pt>
                  <c:pt idx="2144">
                    <c:v>Rolling Stdev (30 Minute)</c:v>
                  </c:pt>
                  <c:pt idx="2145">
                    <c:v>Rolling Stdev (30 Minute)</c:v>
                  </c:pt>
                  <c:pt idx="2146">
                    <c:v>Rolling Stdev (30 Minute)</c:v>
                  </c:pt>
                  <c:pt idx="2147">
                    <c:v>Rolling Stdev (30 Minute)</c:v>
                  </c:pt>
                  <c:pt idx="2148">
                    <c:v>Rolling Stdev (30 Minute)</c:v>
                  </c:pt>
                  <c:pt idx="2149">
                    <c:v>Rolling Stdev (30 Minute)</c:v>
                  </c:pt>
                  <c:pt idx="2150">
                    <c:v>Rolling Stdev (30 Minute)</c:v>
                  </c:pt>
                  <c:pt idx="2151">
                    <c:v>Rolling Stdev (30 Minute)</c:v>
                  </c:pt>
                  <c:pt idx="2152">
                    <c:v>Rolling Stdev (30 Minute)</c:v>
                  </c:pt>
                  <c:pt idx="2153">
                    <c:v>Rolling Stdev (30 Minute)</c:v>
                  </c:pt>
                  <c:pt idx="2154">
                    <c:v>Rolling Stdev (30 Minute)</c:v>
                  </c:pt>
                  <c:pt idx="2155">
                    <c:v>Rolling Stdev (30 Minute)</c:v>
                  </c:pt>
                  <c:pt idx="2156">
                    <c:v>Rolling Stdev (30 Minute)</c:v>
                  </c:pt>
                  <c:pt idx="2157">
                    <c:v>Rolling Stdev (30 Minute)</c:v>
                  </c:pt>
                  <c:pt idx="2158">
                    <c:v>Rolling Stdev (30 Minute)</c:v>
                  </c:pt>
                  <c:pt idx="2159">
                    <c:v>Rolling Stdev (30 Minute)</c:v>
                  </c:pt>
                  <c:pt idx="2160">
                    <c:v>Rolling Stdev (30 Minute)</c:v>
                  </c:pt>
                  <c:pt idx="2161">
                    <c:v>Rolling Stdev (30 Minute)</c:v>
                  </c:pt>
                  <c:pt idx="2162">
                    <c:v>Rolling Stdev (30 Minute)</c:v>
                  </c:pt>
                  <c:pt idx="2163">
                    <c:v>Rolling Stdev (30 Minute)</c:v>
                  </c:pt>
                  <c:pt idx="2164">
                    <c:v>Rolling Stdev (30 Minute)</c:v>
                  </c:pt>
                  <c:pt idx="2165">
                    <c:v>Rolling Stdev (30 Minute)</c:v>
                  </c:pt>
                  <c:pt idx="2166">
                    <c:v>Rolling Stdev (30 Minute)</c:v>
                  </c:pt>
                  <c:pt idx="2167">
                    <c:v>Rolling Stdev (30 Minute)</c:v>
                  </c:pt>
                  <c:pt idx="2168">
                    <c:v>Rolling Stdev (30 Minute)</c:v>
                  </c:pt>
                  <c:pt idx="2169">
                    <c:v>Rolling Stdev (30 Minute)</c:v>
                  </c:pt>
                  <c:pt idx="2170">
                    <c:v>Rolling Stdev (30 Minute)</c:v>
                  </c:pt>
                  <c:pt idx="2171">
                    <c:v>Rolling Stdev (30 Minute)</c:v>
                  </c:pt>
                  <c:pt idx="2172">
                    <c:v>Rolling Stdev (30 Minute)</c:v>
                  </c:pt>
                  <c:pt idx="2173">
                    <c:v>Rolling Stdev (30 Minute)</c:v>
                  </c:pt>
                  <c:pt idx="2174">
                    <c:v>Rolling Stdev (30 Minute)</c:v>
                  </c:pt>
                  <c:pt idx="2175">
                    <c:v>Rolling Stdev (30 Minute)</c:v>
                  </c:pt>
                  <c:pt idx="2176">
                    <c:v>Rolling Stdev (30 Minute)</c:v>
                  </c:pt>
                  <c:pt idx="2177">
                    <c:v>Rolling Stdev (30 Minute)</c:v>
                  </c:pt>
                  <c:pt idx="2178">
                    <c:v>Rolling Stdev (30 Minute)</c:v>
                  </c:pt>
                  <c:pt idx="2179">
                    <c:v>Rolling Stdev (30 Minute)</c:v>
                  </c:pt>
                  <c:pt idx="2180">
                    <c:v>Rolling Stdev (30 Minute)</c:v>
                  </c:pt>
                  <c:pt idx="2181">
                    <c:v>Rolling Stdev (30 Minute)</c:v>
                  </c:pt>
                  <c:pt idx="2182">
                    <c:v>Rolling Stdev (30 Minute)</c:v>
                  </c:pt>
                  <c:pt idx="2183">
                    <c:v>Rolling Stdev (30 Minute)</c:v>
                  </c:pt>
                  <c:pt idx="2184">
                    <c:v>Rolling Stdev (30 Minute)</c:v>
                  </c:pt>
                  <c:pt idx="2185">
                    <c:v>Rolling Stdev (30 Minute)</c:v>
                  </c:pt>
                  <c:pt idx="2186">
                    <c:v>Rolling Stdev (30 Minute)</c:v>
                  </c:pt>
                  <c:pt idx="2187">
                    <c:v>Rolling Stdev (30 Minute)</c:v>
                  </c:pt>
                  <c:pt idx="2188">
                    <c:v>Rolling Stdev (30 Minute)</c:v>
                  </c:pt>
                  <c:pt idx="2189">
                    <c:v>Rolling Stdev (30 Minute)</c:v>
                  </c:pt>
                  <c:pt idx="2190">
                    <c:v>Rolling Stdev (30 Minute)</c:v>
                  </c:pt>
                  <c:pt idx="2191">
                    <c:v>Rolling Stdev (30 Minute)</c:v>
                  </c:pt>
                  <c:pt idx="2192">
                    <c:v>Rolling Stdev (30 Minute)</c:v>
                  </c:pt>
                  <c:pt idx="2193">
                    <c:v>Rolling Stdev (30 Minute)</c:v>
                  </c:pt>
                  <c:pt idx="2194">
                    <c:v>Rolling Stdev (30 Minute)</c:v>
                  </c:pt>
                  <c:pt idx="2195">
                    <c:v>Rolling Stdev (30 Minute)</c:v>
                  </c:pt>
                  <c:pt idx="2196">
                    <c:v>Rolling Stdev (30 Minute)</c:v>
                  </c:pt>
                  <c:pt idx="2197">
                    <c:v>Rolling Stdev (30 Minute)</c:v>
                  </c:pt>
                  <c:pt idx="2198">
                    <c:v>Rolling Stdev (30 Minute)</c:v>
                  </c:pt>
                  <c:pt idx="2199">
                    <c:v>Rolling Stdev (30 Minute)</c:v>
                  </c:pt>
                  <c:pt idx="2200">
                    <c:v>Rolling Stdev (30 Minute)</c:v>
                  </c:pt>
                  <c:pt idx="2201">
                    <c:v>Rolling Stdev (30 Minute)</c:v>
                  </c:pt>
                  <c:pt idx="2202">
                    <c:v>Rolling Stdev (30 Minute)</c:v>
                  </c:pt>
                  <c:pt idx="2203">
                    <c:v>Rolling Stdev (30 Minute)</c:v>
                  </c:pt>
                  <c:pt idx="2204">
                    <c:v>Rolling Stdev (30 Minute)</c:v>
                  </c:pt>
                  <c:pt idx="2205">
                    <c:v>Rolling Stdev (30 Minute)</c:v>
                  </c:pt>
                  <c:pt idx="2206">
                    <c:v>Rolling Stdev (30 Minute)</c:v>
                  </c:pt>
                  <c:pt idx="2207">
                    <c:v>Rolling Stdev (30 Minute)</c:v>
                  </c:pt>
                  <c:pt idx="2208">
                    <c:v>Rolling Stdev (30 Minute)</c:v>
                  </c:pt>
                  <c:pt idx="2209">
                    <c:v>Rolling Stdev (30 Minute)</c:v>
                  </c:pt>
                  <c:pt idx="2210">
                    <c:v>Rolling Stdev (30 Minute)</c:v>
                  </c:pt>
                  <c:pt idx="2211">
                    <c:v>Rolling Stdev (30 Minute)</c:v>
                  </c:pt>
                  <c:pt idx="2212">
                    <c:v>Rolling Stdev (30 Minute)</c:v>
                  </c:pt>
                  <c:pt idx="2213">
                    <c:v>Rolling Stdev (30 Minute)</c:v>
                  </c:pt>
                  <c:pt idx="2214">
                    <c:v>Rolling Stdev (30 Minute)</c:v>
                  </c:pt>
                  <c:pt idx="2215">
                    <c:v>Rolling Stdev (30 Minute)</c:v>
                  </c:pt>
                  <c:pt idx="2216">
                    <c:v>Rolling Stdev (30 Minute)</c:v>
                  </c:pt>
                  <c:pt idx="2217">
                    <c:v>Rolling Stdev (30 Minute)</c:v>
                  </c:pt>
                  <c:pt idx="2218">
                    <c:v>Rolling Stdev (30 Minute)</c:v>
                  </c:pt>
                  <c:pt idx="2219">
                    <c:v>Rolling Stdev (30 Minute)</c:v>
                  </c:pt>
                  <c:pt idx="2220">
                    <c:v>Rolling Stdev (30 Minute)</c:v>
                  </c:pt>
                  <c:pt idx="2221">
                    <c:v>Rolling Stdev (30 Minute)</c:v>
                  </c:pt>
                  <c:pt idx="2222">
                    <c:v>Rolling Stdev (30 Minute)</c:v>
                  </c:pt>
                  <c:pt idx="2223">
                    <c:v>Rolling Stdev (30 Minute)</c:v>
                  </c:pt>
                  <c:pt idx="2224">
                    <c:v>Rolling Stdev (30 Minute)</c:v>
                  </c:pt>
                  <c:pt idx="2225">
                    <c:v>Rolling Stdev (30 Minute)</c:v>
                  </c:pt>
                  <c:pt idx="2226">
                    <c:v>Rolling Stdev (30 Minute)</c:v>
                  </c:pt>
                  <c:pt idx="2227">
                    <c:v>Rolling Stdev (30 Minute)</c:v>
                  </c:pt>
                  <c:pt idx="2228">
                    <c:v>Rolling Stdev (30 Minute)</c:v>
                  </c:pt>
                  <c:pt idx="2229">
                    <c:v>Rolling Stdev (30 Minute)</c:v>
                  </c:pt>
                  <c:pt idx="2230">
                    <c:v>Rolling Stdev (30 Minute)</c:v>
                  </c:pt>
                  <c:pt idx="2231">
                    <c:v>Rolling Stdev (30 Minute)</c:v>
                  </c:pt>
                  <c:pt idx="2232">
                    <c:v>Rolling Stdev (30 Minute)</c:v>
                  </c:pt>
                  <c:pt idx="2233">
                    <c:v>Rolling Stdev (30 Minute)</c:v>
                  </c:pt>
                  <c:pt idx="2234">
                    <c:v>Rolling Stdev (30 Minute)</c:v>
                  </c:pt>
                  <c:pt idx="2235">
                    <c:v>Rolling Stdev (30 Minute)</c:v>
                  </c:pt>
                  <c:pt idx="2236">
                    <c:v>Rolling Stdev (30 Minute)</c:v>
                  </c:pt>
                  <c:pt idx="2237">
                    <c:v>Rolling Stdev (30 Minute)</c:v>
                  </c:pt>
                  <c:pt idx="2238">
                    <c:v>Rolling Stdev (30 Minute)</c:v>
                  </c:pt>
                  <c:pt idx="2239">
                    <c:v>Rolling Stdev (30 Minute)</c:v>
                  </c:pt>
                  <c:pt idx="2240">
                    <c:v>Rolling Stdev (30 Minute)</c:v>
                  </c:pt>
                  <c:pt idx="2241">
                    <c:v>Rolling Stdev (30 Minute)</c:v>
                  </c:pt>
                  <c:pt idx="2242">
                    <c:v>Rolling Stdev (30 Minute)</c:v>
                  </c:pt>
                  <c:pt idx="2243">
                    <c:v>Rolling Stdev (30 Minute)</c:v>
                  </c:pt>
                  <c:pt idx="2244">
                    <c:v>Rolling Stdev (30 Minute)</c:v>
                  </c:pt>
                  <c:pt idx="2245">
                    <c:v>Rolling Stdev (30 Minute)</c:v>
                  </c:pt>
                  <c:pt idx="2246">
                    <c:v>Rolling Stdev (30 Minute)</c:v>
                  </c:pt>
                  <c:pt idx="2247">
                    <c:v>Rolling Stdev (30 Minute)</c:v>
                  </c:pt>
                  <c:pt idx="2248">
                    <c:v>Rolling Stdev (30 Minute)</c:v>
                  </c:pt>
                  <c:pt idx="2249">
                    <c:v>Rolling Stdev (30 Minute)</c:v>
                  </c:pt>
                  <c:pt idx="2250">
                    <c:v>Rolling Stdev (30 Minute)</c:v>
                  </c:pt>
                  <c:pt idx="2251">
                    <c:v>Rolling Stdev (30 Minute)</c:v>
                  </c:pt>
                  <c:pt idx="2252">
                    <c:v>Rolling Stdev (30 Minute)</c:v>
                  </c:pt>
                  <c:pt idx="2253">
                    <c:v>Rolling Stdev (30 Minute)</c:v>
                  </c:pt>
                  <c:pt idx="2254">
                    <c:v>Rolling Stdev (30 Minute)</c:v>
                  </c:pt>
                  <c:pt idx="2255">
                    <c:v>Rolling Stdev (30 Minute)</c:v>
                  </c:pt>
                  <c:pt idx="2256">
                    <c:v>Rolling Stdev (30 Minute)</c:v>
                  </c:pt>
                  <c:pt idx="2257">
                    <c:v>Rolling Stdev (30 Minute)</c:v>
                  </c:pt>
                  <c:pt idx="2258">
                    <c:v>Rolling Stdev (30 Minute)</c:v>
                  </c:pt>
                  <c:pt idx="2259">
                    <c:v>Rolling Stdev (30 Minute)</c:v>
                  </c:pt>
                  <c:pt idx="2260">
                    <c:v>Rolling Stdev (30 Minute)</c:v>
                  </c:pt>
                  <c:pt idx="2261">
                    <c:v>Rolling Stdev (30 Minute)</c:v>
                  </c:pt>
                  <c:pt idx="2262">
                    <c:v>Rolling Stdev (30 Minute)</c:v>
                  </c:pt>
                  <c:pt idx="2263">
                    <c:v>Rolling Stdev (30 Minute)</c:v>
                  </c:pt>
                  <c:pt idx="2264">
                    <c:v>Rolling Stdev (30 Minute)</c:v>
                  </c:pt>
                  <c:pt idx="2265">
                    <c:v>Rolling Stdev (30 Minute)</c:v>
                  </c:pt>
                  <c:pt idx="2266">
                    <c:v>Rolling Stdev (30 Minute)</c:v>
                  </c:pt>
                  <c:pt idx="2267">
                    <c:v>Rolling Stdev (30 Minute)</c:v>
                  </c:pt>
                  <c:pt idx="2268">
                    <c:v>Rolling Stdev (30 Minute)</c:v>
                  </c:pt>
                  <c:pt idx="2269">
                    <c:v>Rolling Stdev (30 Minute)</c:v>
                  </c:pt>
                  <c:pt idx="2270">
                    <c:v>Rolling Stdev (30 Minute)</c:v>
                  </c:pt>
                  <c:pt idx="2271">
                    <c:v>Rolling Stdev (30 Minute)</c:v>
                  </c:pt>
                  <c:pt idx="2272">
                    <c:v>Rolling Stdev (30 Minute)</c:v>
                  </c:pt>
                  <c:pt idx="2273">
                    <c:v>Rolling Stdev (30 Minute)</c:v>
                  </c:pt>
                  <c:pt idx="2274">
                    <c:v>Rolling Stdev (30 Minute)</c:v>
                  </c:pt>
                  <c:pt idx="2275">
                    <c:v>Rolling Stdev (30 Minute)</c:v>
                  </c:pt>
                  <c:pt idx="2276">
                    <c:v>Rolling Stdev (30 Minute)</c:v>
                  </c:pt>
                  <c:pt idx="2277">
                    <c:v>Rolling Stdev (30 Minute)</c:v>
                  </c:pt>
                  <c:pt idx="2278">
                    <c:v>Rolling Stdev (30 Minute)</c:v>
                  </c:pt>
                  <c:pt idx="2279">
                    <c:v>Rolling Stdev (30 Minute)</c:v>
                  </c:pt>
                  <c:pt idx="2280">
                    <c:v>Rolling Stdev (30 Minute)</c:v>
                  </c:pt>
                  <c:pt idx="2281">
                    <c:v>Rolling Stdev (30 Minute)</c:v>
                  </c:pt>
                  <c:pt idx="2282">
                    <c:v>Rolling Stdev (30 Minute)</c:v>
                  </c:pt>
                  <c:pt idx="2283">
                    <c:v>Rolling Stdev (30 Minute)</c:v>
                  </c:pt>
                  <c:pt idx="2284">
                    <c:v>Rolling Stdev (30 Minute)</c:v>
                  </c:pt>
                  <c:pt idx="2285">
                    <c:v>Rolling Stdev (30 Minute)</c:v>
                  </c:pt>
                  <c:pt idx="2286">
                    <c:v>Rolling Stdev (30 Minute)</c:v>
                  </c:pt>
                  <c:pt idx="2287">
                    <c:v>Rolling Stdev (30 Minute)</c:v>
                  </c:pt>
                  <c:pt idx="2288">
                    <c:v>Rolling Stdev (30 Minute)</c:v>
                  </c:pt>
                  <c:pt idx="2289">
                    <c:v>Rolling Stdev (30 Minute)</c:v>
                  </c:pt>
                  <c:pt idx="2290">
                    <c:v>Rolling Stdev (30 Minute)</c:v>
                  </c:pt>
                  <c:pt idx="2291">
                    <c:v>Rolling Stdev (30 Minute)</c:v>
                  </c:pt>
                  <c:pt idx="2292">
                    <c:v>Rolling Stdev (30 Minute)</c:v>
                  </c:pt>
                  <c:pt idx="2293">
                    <c:v>Rolling Stdev (30 Minute)</c:v>
                  </c:pt>
                  <c:pt idx="2294">
                    <c:v>Rolling Stdev (30 Minute)</c:v>
                  </c:pt>
                  <c:pt idx="2295">
                    <c:v>Rolling Stdev (30 Minute)</c:v>
                  </c:pt>
                  <c:pt idx="2296">
                    <c:v>Rolling Stdev (30 Minute)</c:v>
                  </c:pt>
                  <c:pt idx="2297">
                    <c:v>Rolling Stdev (30 Minute)</c:v>
                  </c:pt>
                  <c:pt idx="2298">
                    <c:v>Rolling Stdev (30 Minute)</c:v>
                  </c:pt>
                  <c:pt idx="2299">
                    <c:v>Rolling Stdev (30 Minute)</c:v>
                  </c:pt>
                  <c:pt idx="2300">
                    <c:v>Rolling Stdev (30 Minute)</c:v>
                  </c:pt>
                  <c:pt idx="2301">
                    <c:v>Rolling Stdev (30 Minute)</c:v>
                  </c:pt>
                  <c:pt idx="2302">
                    <c:v>Rolling Stdev (30 Minute)</c:v>
                  </c:pt>
                  <c:pt idx="2303">
                    <c:v>Rolling Stdev (30 Minute)</c:v>
                  </c:pt>
                  <c:pt idx="2304">
                    <c:v>Rolling Stdev (30 Minute)</c:v>
                  </c:pt>
                  <c:pt idx="2305">
                    <c:v>Rolling Stdev (30 Minute)</c:v>
                  </c:pt>
                  <c:pt idx="2306">
                    <c:v>Rolling Stdev (30 Minute)</c:v>
                  </c:pt>
                  <c:pt idx="2307">
                    <c:v>Rolling Stdev (30 Minute)</c:v>
                  </c:pt>
                  <c:pt idx="2308">
                    <c:v>Rolling Stdev (30 Minute)</c:v>
                  </c:pt>
                  <c:pt idx="2309">
                    <c:v>Rolling Stdev (30 Minute)</c:v>
                  </c:pt>
                  <c:pt idx="2310">
                    <c:v>Rolling Stdev (30 Minute)</c:v>
                  </c:pt>
                  <c:pt idx="2311">
                    <c:v>Rolling Stdev (30 Minute)</c:v>
                  </c:pt>
                  <c:pt idx="2312">
                    <c:v>Rolling Stdev (30 Minute)</c:v>
                  </c:pt>
                  <c:pt idx="2313">
                    <c:v>Rolling Stdev (30 Minute)</c:v>
                  </c:pt>
                  <c:pt idx="2314">
                    <c:v>Rolling Stdev (30 Minute)</c:v>
                  </c:pt>
                  <c:pt idx="2315">
                    <c:v>Rolling Stdev (30 Minute)</c:v>
                  </c:pt>
                  <c:pt idx="2316">
                    <c:v>Rolling Stdev (30 Minute)</c:v>
                  </c:pt>
                  <c:pt idx="2317">
                    <c:v>Rolling Stdev (30 Minute)</c:v>
                  </c:pt>
                  <c:pt idx="2318">
                    <c:v>Rolling Stdev (30 Minute)</c:v>
                  </c:pt>
                  <c:pt idx="2319">
                    <c:v>Rolling Stdev (30 Minute)</c:v>
                  </c:pt>
                  <c:pt idx="2320">
                    <c:v>Rolling Stdev (30 Minute)</c:v>
                  </c:pt>
                  <c:pt idx="2321">
                    <c:v>Rolling Stdev (30 Minute)</c:v>
                  </c:pt>
                  <c:pt idx="2322">
                    <c:v>Rolling Stdev (30 Minute)</c:v>
                  </c:pt>
                  <c:pt idx="2323">
                    <c:v>Rolling Stdev (30 Minute)</c:v>
                  </c:pt>
                  <c:pt idx="2324">
                    <c:v>Rolling Stdev (30 Minute)</c:v>
                  </c:pt>
                  <c:pt idx="2325">
                    <c:v>Rolling Stdev (30 Minute)</c:v>
                  </c:pt>
                  <c:pt idx="2326">
                    <c:v>Rolling Stdev (30 Minute)</c:v>
                  </c:pt>
                  <c:pt idx="2327">
                    <c:v>Rolling Stdev (30 Minute)</c:v>
                  </c:pt>
                  <c:pt idx="2328">
                    <c:v>Rolling Stdev (30 Minute)</c:v>
                  </c:pt>
                  <c:pt idx="2329">
                    <c:v>Rolling Stdev (30 Minute)</c:v>
                  </c:pt>
                  <c:pt idx="2330">
                    <c:v>Rolling Stdev (30 Minute)</c:v>
                  </c:pt>
                  <c:pt idx="2331">
                    <c:v>Rolling Stdev (30 Minute)</c:v>
                  </c:pt>
                  <c:pt idx="2332">
                    <c:v>Rolling Stdev (30 Minute)</c:v>
                  </c:pt>
                  <c:pt idx="2333">
                    <c:v>Rolling Stdev (30 Minute)</c:v>
                  </c:pt>
                  <c:pt idx="2334">
                    <c:v>Rolling Stdev (30 Minute)</c:v>
                  </c:pt>
                  <c:pt idx="2335">
                    <c:v>Rolling Stdev (30 Minute)</c:v>
                  </c:pt>
                  <c:pt idx="2336">
                    <c:v>Rolling Stdev (30 Minute)</c:v>
                  </c:pt>
                  <c:pt idx="2337">
                    <c:v>Rolling Stdev (30 Minute)</c:v>
                  </c:pt>
                  <c:pt idx="2338">
                    <c:v>Rolling Stdev (30 Minute)</c:v>
                  </c:pt>
                  <c:pt idx="2339">
                    <c:v>Rolling Stdev (30 Minute)</c:v>
                  </c:pt>
                  <c:pt idx="2340">
                    <c:v>Rolling Stdev (30 Minute)</c:v>
                  </c:pt>
                  <c:pt idx="2341">
                    <c:v>Rolling Stdev (30 Minute)</c:v>
                  </c:pt>
                  <c:pt idx="2342">
                    <c:v>Rolling Stdev (30 Minute)</c:v>
                  </c:pt>
                  <c:pt idx="2343">
                    <c:v>Rolling Stdev (30 Minute)</c:v>
                  </c:pt>
                  <c:pt idx="2344">
                    <c:v>Rolling Stdev (30 Minute)</c:v>
                  </c:pt>
                  <c:pt idx="2345">
                    <c:v>Rolling Stdev (30 Minute)</c:v>
                  </c:pt>
                  <c:pt idx="2346">
                    <c:v>Rolling Stdev (30 Minute)</c:v>
                  </c:pt>
                  <c:pt idx="2347">
                    <c:v>Rolling Stdev (30 Minute)</c:v>
                  </c:pt>
                  <c:pt idx="2348">
                    <c:v>Rolling Stdev (30 Minute)</c:v>
                  </c:pt>
                  <c:pt idx="2349">
                    <c:v>Rolling Stdev (30 Minute)</c:v>
                  </c:pt>
                  <c:pt idx="2350">
                    <c:v>Rolling Stdev (30 Minute)</c:v>
                  </c:pt>
                  <c:pt idx="2351">
                    <c:v>Rolling Stdev (30 Minute)</c:v>
                  </c:pt>
                  <c:pt idx="2352">
                    <c:v>Rolling Stdev (30 Minute)</c:v>
                  </c:pt>
                  <c:pt idx="2353">
                    <c:v>Rolling Stdev (30 Minute)</c:v>
                  </c:pt>
                  <c:pt idx="2354">
                    <c:v>Rolling Stdev (30 Minute)</c:v>
                  </c:pt>
                  <c:pt idx="2355">
                    <c:v>Rolling Stdev (30 Minute)</c:v>
                  </c:pt>
                  <c:pt idx="2356">
                    <c:v>Rolling Stdev (30 Minute)</c:v>
                  </c:pt>
                  <c:pt idx="2357">
                    <c:v>Rolling Stdev (30 Minute)</c:v>
                  </c:pt>
                  <c:pt idx="2358">
                    <c:v>Rolling Stdev (30 Minute)</c:v>
                  </c:pt>
                  <c:pt idx="2359">
                    <c:v>Rolling Stdev (30 Minute)</c:v>
                  </c:pt>
                  <c:pt idx="2360">
                    <c:v>Rolling Stdev (30 Minute)</c:v>
                  </c:pt>
                  <c:pt idx="2361">
                    <c:v>Rolling Stdev (30 Minute)</c:v>
                  </c:pt>
                  <c:pt idx="2362">
                    <c:v>Rolling Stdev (30 Minute)</c:v>
                  </c:pt>
                  <c:pt idx="2363">
                    <c:v>Rolling Stdev (30 Minute)</c:v>
                  </c:pt>
                  <c:pt idx="2364">
                    <c:v>Rolling Stdev (30 Minute)</c:v>
                  </c:pt>
                  <c:pt idx="2365">
                    <c:v>Rolling Stdev (30 Minute)</c:v>
                  </c:pt>
                  <c:pt idx="2366">
                    <c:v>Rolling Stdev (30 Minute)</c:v>
                  </c:pt>
                  <c:pt idx="2367">
                    <c:v>Rolling Stdev (30 Minute)</c:v>
                  </c:pt>
                  <c:pt idx="2368">
                    <c:v>Rolling Stdev (30 Minute)</c:v>
                  </c:pt>
                  <c:pt idx="2369">
                    <c:v>Rolling Stdev (30 Minute)</c:v>
                  </c:pt>
                  <c:pt idx="2370">
                    <c:v>Rolling Stdev (30 Minute)</c:v>
                  </c:pt>
                  <c:pt idx="2371">
                    <c:v>Rolling Stdev (30 Minute)</c:v>
                  </c:pt>
                  <c:pt idx="2372">
                    <c:v>Rolling Stdev (30 Minute)</c:v>
                  </c:pt>
                  <c:pt idx="2373">
                    <c:v>Rolling Stdev (30 Minute)</c:v>
                  </c:pt>
                  <c:pt idx="2374">
                    <c:v>Rolling Stdev (30 Minute)</c:v>
                  </c:pt>
                  <c:pt idx="2375">
                    <c:v>Rolling Stdev (30 Minute)</c:v>
                  </c:pt>
                  <c:pt idx="2376">
                    <c:v>Rolling Stdev (30 Minute)</c:v>
                  </c:pt>
                  <c:pt idx="2377">
                    <c:v>Rolling Stdev (30 Minute)</c:v>
                  </c:pt>
                  <c:pt idx="2378">
                    <c:v>Rolling Stdev (30 Minute)</c:v>
                  </c:pt>
                  <c:pt idx="2379">
                    <c:v>Rolling Stdev (30 Minute)</c:v>
                  </c:pt>
                  <c:pt idx="2380">
                    <c:v>Rolling Stdev (30 Minute)</c:v>
                  </c:pt>
                  <c:pt idx="2381">
                    <c:v>Rolling Stdev (30 Minute)</c:v>
                  </c:pt>
                  <c:pt idx="2382">
                    <c:v>Rolling Stdev (30 Minute)</c:v>
                  </c:pt>
                  <c:pt idx="2383">
                    <c:v>Rolling Stdev (30 Minute)</c:v>
                  </c:pt>
                  <c:pt idx="2384">
                    <c:v>Rolling Stdev (30 Minute)</c:v>
                  </c:pt>
                  <c:pt idx="2385">
                    <c:v>Rolling Stdev (30 Minute)</c:v>
                  </c:pt>
                  <c:pt idx="2386">
                    <c:v>Rolling Stdev (30 Minute)</c:v>
                  </c:pt>
                  <c:pt idx="2387">
                    <c:v>Rolling Stdev (30 Minute)</c:v>
                  </c:pt>
                  <c:pt idx="2388">
                    <c:v>Rolling Stdev (30 Minute)</c:v>
                  </c:pt>
                  <c:pt idx="2389">
                    <c:v>Rolling Stdev (30 Minute)</c:v>
                  </c:pt>
                  <c:pt idx="2390">
                    <c:v>Rolling Stdev (30 Minute)</c:v>
                  </c:pt>
                  <c:pt idx="2391">
                    <c:v>Rolling Stdev (30 Minute)</c:v>
                  </c:pt>
                  <c:pt idx="2392">
                    <c:v>Rolling Stdev (30 Minute)</c:v>
                  </c:pt>
                  <c:pt idx="2393">
                    <c:v>Rolling Stdev (30 Minute)</c:v>
                  </c:pt>
                  <c:pt idx="2394">
                    <c:v>Rolling Stdev (30 Minute)</c:v>
                  </c:pt>
                  <c:pt idx="2395">
                    <c:v>Rolling Stdev (30 Minute)</c:v>
                  </c:pt>
                  <c:pt idx="2396">
                    <c:v>Rolling Stdev (30 Minute)</c:v>
                  </c:pt>
                  <c:pt idx="2397">
                    <c:v>Rolling Stdev (30 Minute)</c:v>
                  </c:pt>
                  <c:pt idx="2398">
                    <c:v>Rolling Stdev (30 Minute)</c:v>
                  </c:pt>
                  <c:pt idx="2399">
                    <c:v>Rolling Stdev (30 Minute)</c:v>
                  </c:pt>
                  <c:pt idx="2400">
                    <c:v>Rolling Stdev (30 Minute)</c:v>
                  </c:pt>
                  <c:pt idx="2401">
                    <c:v>Rolling Stdev (30 Minute)</c:v>
                  </c:pt>
                  <c:pt idx="2402">
                    <c:v>Rolling Stdev (30 Minute)</c:v>
                  </c:pt>
                  <c:pt idx="2403">
                    <c:v>Rolling Stdev (30 Minute)</c:v>
                  </c:pt>
                  <c:pt idx="2404">
                    <c:v>Rolling Stdev (30 Minute)</c:v>
                  </c:pt>
                  <c:pt idx="2405">
                    <c:v>Rolling Stdev (30 Minute)</c:v>
                  </c:pt>
                  <c:pt idx="2406">
                    <c:v>Rolling Stdev (30 Minute)</c:v>
                  </c:pt>
                  <c:pt idx="2407">
                    <c:v>Rolling Stdev (30 Minute)</c:v>
                  </c:pt>
                  <c:pt idx="2408">
                    <c:v>Rolling Stdev (30 Minute)</c:v>
                  </c:pt>
                  <c:pt idx="2409">
                    <c:v>Rolling Stdev (30 Minute)</c:v>
                  </c:pt>
                  <c:pt idx="2410">
                    <c:v>Rolling Stdev (30 Minute)</c:v>
                  </c:pt>
                  <c:pt idx="2411">
                    <c:v>Rolling Stdev (30 Minute)</c:v>
                  </c:pt>
                  <c:pt idx="2412">
                    <c:v>Rolling Stdev (30 Minute)</c:v>
                  </c:pt>
                  <c:pt idx="2413">
                    <c:v>Rolling Stdev (30 Minute)</c:v>
                  </c:pt>
                  <c:pt idx="2414">
                    <c:v>Rolling Stdev (30 Minute)</c:v>
                  </c:pt>
                  <c:pt idx="2415">
                    <c:v>Rolling Stdev (30 Minute)</c:v>
                  </c:pt>
                  <c:pt idx="2416">
                    <c:v>Rolling Stdev (30 Minute)</c:v>
                  </c:pt>
                  <c:pt idx="2417">
                    <c:v>Rolling Stdev (30 Minute)</c:v>
                  </c:pt>
                  <c:pt idx="2418">
                    <c:v>Rolling Stdev (30 Minute)</c:v>
                  </c:pt>
                  <c:pt idx="2419">
                    <c:v>Rolling Stdev (30 Minute)</c:v>
                  </c:pt>
                  <c:pt idx="2420">
                    <c:v>Rolling Stdev (30 Minute)</c:v>
                  </c:pt>
                  <c:pt idx="2421">
                    <c:v>Rolling Stdev (30 Minute)</c:v>
                  </c:pt>
                  <c:pt idx="2422">
                    <c:v>Rolling Stdev (30 Minute)</c:v>
                  </c:pt>
                  <c:pt idx="2423">
                    <c:v>Rolling Stdev (30 Minute)</c:v>
                  </c:pt>
                  <c:pt idx="2424">
                    <c:v>Rolling Stdev (30 Minute)</c:v>
                  </c:pt>
                  <c:pt idx="2425">
                    <c:v>Rolling Stdev (30 Minute)</c:v>
                  </c:pt>
                  <c:pt idx="2426">
                    <c:v>Rolling Stdev (30 Minute)</c:v>
                  </c:pt>
                  <c:pt idx="2427">
                    <c:v>Rolling Stdev (30 Minute)</c:v>
                  </c:pt>
                  <c:pt idx="2428">
                    <c:v>Rolling Stdev (30 Minute)</c:v>
                  </c:pt>
                  <c:pt idx="2429">
                    <c:v>Rolling Stdev (30 Minute)</c:v>
                  </c:pt>
                  <c:pt idx="2430">
                    <c:v>Rolling Stdev (30 Minute)</c:v>
                  </c:pt>
                  <c:pt idx="2431">
                    <c:v>Rolling Stdev (30 Minute)</c:v>
                  </c:pt>
                  <c:pt idx="2432">
                    <c:v>Rolling Stdev (30 Minute)</c:v>
                  </c:pt>
                  <c:pt idx="2433">
                    <c:v>Rolling Stdev (30 Minute)</c:v>
                  </c:pt>
                  <c:pt idx="2434">
                    <c:v>Rolling Stdev (30 Minute)</c:v>
                  </c:pt>
                  <c:pt idx="2435">
                    <c:v>Rolling Stdev (30 Minute)</c:v>
                  </c:pt>
                  <c:pt idx="2436">
                    <c:v>Rolling Stdev (30 Minute)</c:v>
                  </c:pt>
                  <c:pt idx="2437">
                    <c:v>Rolling Stdev (30 Minute)</c:v>
                  </c:pt>
                  <c:pt idx="2438">
                    <c:v>Rolling Stdev (30 Minute)</c:v>
                  </c:pt>
                  <c:pt idx="2439">
                    <c:v>Rolling Stdev (30 Minute)</c:v>
                  </c:pt>
                  <c:pt idx="2440">
                    <c:v>Rolling Stdev (30 Minute)</c:v>
                  </c:pt>
                  <c:pt idx="2441">
                    <c:v>Rolling Stdev (30 Minute)</c:v>
                  </c:pt>
                  <c:pt idx="2442">
                    <c:v>Rolling Stdev (30 Minute)</c:v>
                  </c:pt>
                  <c:pt idx="2443">
                    <c:v>Rolling Stdev (30 Minute)</c:v>
                  </c:pt>
                  <c:pt idx="2444">
                    <c:v>Rolling Stdev (30 Minute)</c:v>
                  </c:pt>
                  <c:pt idx="2445">
                    <c:v>Rolling Stdev (30 Minute)</c:v>
                  </c:pt>
                  <c:pt idx="2446">
                    <c:v>Rolling Stdev (30 Minute)</c:v>
                  </c:pt>
                  <c:pt idx="2447">
                    <c:v>Rolling Stdev (30 Minute)</c:v>
                  </c:pt>
                  <c:pt idx="2448">
                    <c:v>Rolling Stdev (30 Minute)</c:v>
                  </c:pt>
                  <c:pt idx="2449">
                    <c:v>Rolling Stdev (30 Minute)</c:v>
                  </c:pt>
                  <c:pt idx="2450">
                    <c:v>Rolling Stdev (30 Minute)</c:v>
                  </c:pt>
                  <c:pt idx="2451">
                    <c:v>Rolling Stdev (30 Minute)</c:v>
                  </c:pt>
                </c:lvl>
              </c:multiLvlStrCache>
            </c:multiLvlStrRef>
          </c:cat>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5-6785-41B4-BCE1-ECD89FF12F5A}"/>
            </c:ext>
          </c:extLst>
        </c:ser>
        <c:ser>
          <c:idx val="5"/>
          <c:order val="5"/>
          <c:tx>
            <c:strRef>
              <c:f>'DRT Rolling Stdev'!$H$1</c:f>
              <c:strCache>
                <c:ptCount val="1"/>
                <c:pt idx="0">
                  <c:v>Horse Power</c:v>
                </c:pt>
              </c:strCache>
            </c:strRef>
          </c:tx>
          <c:spPr>
            <a:ln w="28575" cap="rnd">
              <a:solidFill>
                <a:schemeClr val="accent6"/>
              </a:solidFill>
              <a:round/>
            </a:ln>
            <a:effectLst/>
          </c:spPr>
          <c:marker>
            <c:symbol val="none"/>
          </c:marker>
          <c:cat>
            <c:multiLvlStrRef>
              <c:f>'DRT Rolling Stdev'!$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Stdev (30 Minute)</c:v>
                  </c:pt>
                  <c:pt idx="1">
                    <c:v>Rolling Stdev (30 Minute)</c:v>
                  </c:pt>
                  <c:pt idx="2">
                    <c:v>Rolling Stdev (30 Minute)</c:v>
                  </c:pt>
                  <c:pt idx="3">
                    <c:v>Rolling Stdev (30 Minute)</c:v>
                  </c:pt>
                  <c:pt idx="4">
                    <c:v>Rolling Stdev (30 Minute)</c:v>
                  </c:pt>
                  <c:pt idx="5">
                    <c:v>Rolling Stdev (30 Minute)</c:v>
                  </c:pt>
                  <c:pt idx="6">
                    <c:v>Rolling Stdev (30 Minute)</c:v>
                  </c:pt>
                  <c:pt idx="7">
                    <c:v>Rolling Stdev (30 Minute)</c:v>
                  </c:pt>
                  <c:pt idx="8">
                    <c:v>Rolling Stdev (30 Minute)</c:v>
                  </c:pt>
                  <c:pt idx="9">
                    <c:v>Rolling Stdev (30 Minute)</c:v>
                  </c:pt>
                  <c:pt idx="10">
                    <c:v>Rolling Stdev (30 Minute)</c:v>
                  </c:pt>
                  <c:pt idx="11">
                    <c:v>Rolling Stdev (30 Minute)</c:v>
                  </c:pt>
                  <c:pt idx="12">
                    <c:v>Rolling Stdev (30 Minute)</c:v>
                  </c:pt>
                  <c:pt idx="13">
                    <c:v>Rolling Stdev (30 Minute)</c:v>
                  </c:pt>
                  <c:pt idx="14">
                    <c:v>Rolling Stdev (30 Minute)</c:v>
                  </c:pt>
                  <c:pt idx="15">
                    <c:v>Rolling Stdev (30 Minute)</c:v>
                  </c:pt>
                  <c:pt idx="16">
                    <c:v>Rolling Stdev (30 Minute)</c:v>
                  </c:pt>
                  <c:pt idx="17">
                    <c:v>Rolling Stdev (30 Minute)</c:v>
                  </c:pt>
                  <c:pt idx="18">
                    <c:v>Rolling Stdev (30 Minute)</c:v>
                  </c:pt>
                  <c:pt idx="19">
                    <c:v>Rolling Stdev (30 Minute)</c:v>
                  </c:pt>
                  <c:pt idx="20">
                    <c:v>Rolling Stdev (30 Minute)</c:v>
                  </c:pt>
                  <c:pt idx="21">
                    <c:v>Rolling Stdev (30 Minute)</c:v>
                  </c:pt>
                  <c:pt idx="22">
                    <c:v>Rolling Stdev (30 Minute)</c:v>
                  </c:pt>
                  <c:pt idx="23">
                    <c:v>Rolling Stdev (30 Minute)</c:v>
                  </c:pt>
                  <c:pt idx="24">
                    <c:v>Rolling Stdev (30 Minute)</c:v>
                  </c:pt>
                  <c:pt idx="25">
                    <c:v>Rolling Stdev (30 Minute)</c:v>
                  </c:pt>
                  <c:pt idx="26">
                    <c:v>Rolling Stdev (30 Minute)</c:v>
                  </c:pt>
                  <c:pt idx="27">
                    <c:v>Rolling Stdev (30 Minute)</c:v>
                  </c:pt>
                  <c:pt idx="28">
                    <c:v>Rolling Stdev (30 Minute)</c:v>
                  </c:pt>
                  <c:pt idx="29">
                    <c:v>Rolling Stdev (30 Minute)</c:v>
                  </c:pt>
                  <c:pt idx="30">
                    <c:v>Rolling Stdev (30 Minute)</c:v>
                  </c:pt>
                  <c:pt idx="31">
                    <c:v>Rolling Stdev (30 Minute)</c:v>
                  </c:pt>
                  <c:pt idx="32">
                    <c:v>Rolling Stdev (30 Minute)</c:v>
                  </c:pt>
                  <c:pt idx="33">
                    <c:v>Rolling Stdev (30 Minute)</c:v>
                  </c:pt>
                  <c:pt idx="34">
                    <c:v>Rolling Stdev (30 Minute)</c:v>
                  </c:pt>
                  <c:pt idx="35">
                    <c:v>Rolling Stdev (30 Minute)</c:v>
                  </c:pt>
                  <c:pt idx="36">
                    <c:v>Rolling Stdev (30 Minute)</c:v>
                  </c:pt>
                  <c:pt idx="37">
                    <c:v>Rolling Stdev (30 Minute)</c:v>
                  </c:pt>
                  <c:pt idx="38">
                    <c:v>Rolling Stdev (30 Minute)</c:v>
                  </c:pt>
                  <c:pt idx="39">
                    <c:v>Rolling Stdev (30 Minute)</c:v>
                  </c:pt>
                  <c:pt idx="40">
                    <c:v>Rolling Stdev (30 Minute)</c:v>
                  </c:pt>
                  <c:pt idx="41">
                    <c:v>Rolling Stdev (30 Minute)</c:v>
                  </c:pt>
                  <c:pt idx="42">
                    <c:v>Rolling Stdev (30 Minute)</c:v>
                  </c:pt>
                  <c:pt idx="43">
                    <c:v>Rolling Stdev (30 Minute)</c:v>
                  </c:pt>
                  <c:pt idx="44">
                    <c:v>Rolling Stdev (30 Minute)</c:v>
                  </c:pt>
                  <c:pt idx="45">
                    <c:v>Rolling Stdev (30 Minute)</c:v>
                  </c:pt>
                  <c:pt idx="46">
                    <c:v>Rolling Stdev (30 Minute)</c:v>
                  </c:pt>
                  <c:pt idx="47">
                    <c:v>Rolling Stdev (30 Minute)</c:v>
                  </c:pt>
                  <c:pt idx="48">
                    <c:v>Rolling Stdev (30 Minute)</c:v>
                  </c:pt>
                  <c:pt idx="49">
                    <c:v>Rolling Stdev (30 Minute)</c:v>
                  </c:pt>
                  <c:pt idx="50">
                    <c:v>Rolling Stdev (30 Minute)</c:v>
                  </c:pt>
                  <c:pt idx="51">
                    <c:v>Rolling Stdev (30 Minute)</c:v>
                  </c:pt>
                  <c:pt idx="52">
                    <c:v>Rolling Stdev (30 Minute)</c:v>
                  </c:pt>
                  <c:pt idx="53">
                    <c:v>Rolling Stdev (30 Minute)</c:v>
                  </c:pt>
                  <c:pt idx="54">
                    <c:v>Rolling Stdev (30 Minute)</c:v>
                  </c:pt>
                  <c:pt idx="55">
                    <c:v>Rolling Stdev (30 Minute)</c:v>
                  </c:pt>
                  <c:pt idx="56">
                    <c:v>Rolling Stdev (30 Minute)</c:v>
                  </c:pt>
                  <c:pt idx="57">
                    <c:v>Rolling Stdev (30 Minute)</c:v>
                  </c:pt>
                  <c:pt idx="58">
                    <c:v>Rolling Stdev (30 Minute)</c:v>
                  </c:pt>
                  <c:pt idx="59">
                    <c:v>Rolling Stdev (30 Minute)</c:v>
                  </c:pt>
                  <c:pt idx="60">
                    <c:v>Rolling Stdev (30 Minute)</c:v>
                  </c:pt>
                  <c:pt idx="61">
                    <c:v>Rolling Stdev (30 Minute)</c:v>
                  </c:pt>
                  <c:pt idx="62">
                    <c:v>Rolling Stdev (30 Minute)</c:v>
                  </c:pt>
                  <c:pt idx="63">
                    <c:v>Rolling Stdev (30 Minute)</c:v>
                  </c:pt>
                  <c:pt idx="64">
                    <c:v>Rolling Stdev (30 Minute)</c:v>
                  </c:pt>
                  <c:pt idx="65">
                    <c:v>Rolling Stdev (30 Minute)</c:v>
                  </c:pt>
                  <c:pt idx="66">
                    <c:v>Rolling Stdev (30 Minute)</c:v>
                  </c:pt>
                  <c:pt idx="67">
                    <c:v>Rolling Stdev (30 Minute)</c:v>
                  </c:pt>
                  <c:pt idx="68">
                    <c:v>Rolling Stdev (30 Minute)</c:v>
                  </c:pt>
                  <c:pt idx="69">
                    <c:v>Rolling Stdev (30 Minute)</c:v>
                  </c:pt>
                  <c:pt idx="70">
                    <c:v>Rolling Stdev (30 Minute)</c:v>
                  </c:pt>
                  <c:pt idx="71">
                    <c:v>Rolling Stdev (30 Minute)</c:v>
                  </c:pt>
                  <c:pt idx="72">
                    <c:v>Rolling Stdev (30 Minute)</c:v>
                  </c:pt>
                  <c:pt idx="73">
                    <c:v>Rolling Stdev (30 Minute)</c:v>
                  </c:pt>
                  <c:pt idx="74">
                    <c:v>Rolling Stdev (30 Minute)</c:v>
                  </c:pt>
                  <c:pt idx="75">
                    <c:v>Rolling Stdev (30 Minute)</c:v>
                  </c:pt>
                  <c:pt idx="76">
                    <c:v>Rolling Stdev (30 Minute)</c:v>
                  </c:pt>
                  <c:pt idx="77">
                    <c:v>Rolling Stdev (30 Minute)</c:v>
                  </c:pt>
                  <c:pt idx="78">
                    <c:v>Rolling Stdev (30 Minute)</c:v>
                  </c:pt>
                  <c:pt idx="79">
                    <c:v>Rolling Stdev (30 Minute)</c:v>
                  </c:pt>
                  <c:pt idx="80">
                    <c:v>Rolling Stdev (30 Minute)</c:v>
                  </c:pt>
                  <c:pt idx="81">
                    <c:v>Rolling Stdev (30 Minute)</c:v>
                  </c:pt>
                  <c:pt idx="82">
                    <c:v>Rolling Stdev (30 Minute)</c:v>
                  </c:pt>
                  <c:pt idx="83">
                    <c:v>Rolling Stdev (30 Minute)</c:v>
                  </c:pt>
                  <c:pt idx="84">
                    <c:v>Rolling Stdev (30 Minute)</c:v>
                  </c:pt>
                  <c:pt idx="85">
                    <c:v>Rolling Stdev (30 Minute)</c:v>
                  </c:pt>
                  <c:pt idx="86">
                    <c:v>Rolling Stdev (30 Minute)</c:v>
                  </c:pt>
                  <c:pt idx="87">
                    <c:v>Rolling Stdev (30 Minute)</c:v>
                  </c:pt>
                  <c:pt idx="88">
                    <c:v>Rolling Stdev (30 Minute)</c:v>
                  </c:pt>
                  <c:pt idx="89">
                    <c:v>Rolling Stdev (30 Minute)</c:v>
                  </c:pt>
                  <c:pt idx="90">
                    <c:v>Rolling Stdev (30 Minute)</c:v>
                  </c:pt>
                  <c:pt idx="91">
                    <c:v>Rolling Stdev (30 Minute)</c:v>
                  </c:pt>
                  <c:pt idx="92">
                    <c:v>Rolling Stdev (30 Minute)</c:v>
                  </c:pt>
                  <c:pt idx="93">
                    <c:v>Rolling Stdev (30 Minute)</c:v>
                  </c:pt>
                  <c:pt idx="94">
                    <c:v>Rolling Stdev (30 Minute)</c:v>
                  </c:pt>
                  <c:pt idx="95">
                    <c:v>Rolling Stdev (30 Minute)</c:v>
                  </c:pt>
                  <c:pt idx="96">
                    <c:v>Rolling Stdev (30 Minute)</c:v>
                  </c:pt>
                  <c:pt idx="97">
                    <c:v>Rolling Stdev (30 Minute)</c:v>
                  </c:pt>
                  <c:pt idx="98">
                    <c:v>Rolling Stdev (30 Minute)</c:v>
                  </c:pt>
                  <c:pt idx="99">
                    <c:v>Rolling Stdev (30 Minute)</c:v>
                  </c:pt>
                  <c:pt idx="100">
                    <c:v>Rolling Stdev (30 Minute)</c:v>
                  </c:pt>
                  <c:pt idx="101">
                    <c:v>Rolling Stdev (30 Minute)</c:v>
                  </c:pt>
                  <c:pt idx="102">
                    <c:v>Rolling Stdev (30 Minute)</c:v>
                  </c:pt>
                  <c:pt idx="103">
                    <c:v>Rolling Stdev (30 Minute)</c:v>
                  </c:pt>
                  <c:pt idx="104">
                    <c:v>Rolling Stdev (30 Minute)</c:v>
                  </c:pt>
                  <c:pt idx="105">
                    <c:v>Rolling Stdev (30 Minute)</c:v>
                  </c:pt>
                  <c:pt idx="106">
                    <c:v>Rolling Stdev (30 Minute)</c:v>
                  </c:pt>
                  <c:pt idx="107">
                    <c:v>Rolling Stdev (30 Minute)</c:v>
                  </c:pt>
                  <c:pt idx="108">
                    <c:v>Rolling Stdev (30 Minute)</c:v>
                  </c:pt>
                  <c:pt idx="109">
                    <c:v>Rolling Stdev (30 Minute)</c:v>
                  </c:pt>
                  <c:pt idx="110">
                    <c:v>Rolling Stdev (30 Minute)</c:v>
                  </c:pt>
                  <c:pt idx="111">
                    <c:v>Rolling Stdev (30 Minute)</c:v>
                  </c:pt>
                  <c:pt idx="112">
                    <c:v>Rolling Stdev (30 Minute)</c:v>
                  </c:pt>
                  <c:pt idx="113">
                    <c:v>Rolling Stdev (30 Minute)</c:v>
                  </c:pt>
                  <c:pt idx="114">
                    <c:v>Rolling Stdev (30 Minute)</c:v>
                  </c:pt>
                  <c:pt idx="115">
                    <c:v>Rolling Stdev (30 Minute)</c:v>
                  </c:pt>
                  <c:pt idx="116">
                    <c:v>Rolling Stdev (30 Minute)</c:v>
                  </c:pt>
                  <c:pt idx="117">
                    <c:v>Rolling Stdev (30 Minute)</c:v>
                  </c:pt>
                  <c:pt idx="118">
                    <c:v>Rolling Stdev (30 Minute)</c:v>
                  </c:pt>
                  <c:pt idx="119">
                    <c:v>Rolling Stdev (30 Minute)</c:v>
                  </c:pt>
                  <c:pt idx="120">
                    <c:v>Rolling Stdev (30 Minute)</c:v>
                  </c:pt>
                  <c:pt idx="121">
                    <c:v>Rolling Stdev (30 Minute)</c:v>
                  </c:pt>
                  <c:pt idx="122">
                    <c:v>Rolling Stdev (30 Minute)</c:v>
                  </c:pt>
                  <c:pt idx="123">
                    <c:v>Rolling Stdev (30 Minute)</c:v>
                  </c:pt>
                  <c:pt idx="124">
                    <c:v>Rolling Stdev (30 Minute)</c:v>
                  </c:pt>
                  <c:pt idx="125">
                    <c:v>Rolling Stdev (30 Minute)</c:v>
                  </c:pt>
                  <c:pt idx="126">
                    <c:v>Rolling Stdev (30 Minute)</c:v>
                  </c:pt>
                  <c:pt idx="127">
                    <c:v>Rolling Stdev (30 Minute)</c:v>
                  </c:pt>
                  <c:pt idx="128">
                    <c:v>Rolling Stdev (30 Minute)</c:v>
                  </c:pt>
                  <c:pt idx="129">
                    <c:v>Rolling Stdev (30 Minute)</c:v>
                  </c:pt>
                  <c:pt idx="130">
                    <c:v>Rolling Stdev (30 Minute)</c:v>
                  </c:pt>
                  <c:pt idx="131">
                    <c:v>Rolling Stdev (30 Minute)</c:v>
                  </c:pt>
                  <c:pt idx="132">
                    <c:v>Rolling Stdev (30 Minute)</c:v>
                  </c:pt>
                  <c:pt idx="133">
                    <c:v>Rolling Stdev (30 Minute)</c:v>
                  </c:pt>
                  <c:pt idx="134">
                    <c:v>Rolling Stdev (30 Minute)</c:v>
                  </c:pt>
                  <c:pt idx="135">
                    <c:v>Rolling Stdev (30 Minute)</c:v>
                  </c:pt>
                  <c:pt idx="136">
                    <c:v>Rolling Stdev (30 Minute)</c:v>
                  </c:pt>
                  <c:pt idx="137">
                    <c:v>Rolling Stdev (30 Minute)</c:v>
                  </c:pt>
                  <c:pt idx="138">
                    <c:v>Rolling Stdev (30 Minute)</c:v>
                  </c:pt>
                  <c:pt idx="139">
                    <c:v>Rolling Stdev (30 Minute)</c:v>
                  </c:pt>
                  <c:pt idx="140">
                    <c:v>Rolling Stdev (30 Minute)</c:v>
                  </c:pt>
                  <c:pt idx="141">
                    <c:v>Rolling Stdev (30 Minute)</c:v>
                  </c:pt>
                  <c:pt idx="142">
                    <c:v>Rolling Stdev (30 Minute)</c:v>
                  </c:pt>
                  <c:pt idx="143">
                    <c:v>Rolling Stdev (30 Minute)</c:v>
                  </c:pt>
                  <c:pt idx="144">
                    <c:v>Rolling Stdev (30 Minute)</c:v>
                  </c:pt>
                  <c:pt idx="145">
                    <c:v>Rolling Stdev (30 Minute)</c:v>
                  </c:pt>
                  <c:pt idx="146">
                    <c:v>Rolling Stdev (30 Minute)</c:v>
                  </c:pt>
                  <c:pt idx="147">
                    <c:v>Rolling Stdev (30 Minute)</c:v>
                  </c:pt>
                  <c:pt idx="148">
                    <c:v>Rolling Stdev (30 Minute)</c:v>
                  </c:pt>
                  <c:pt idx="149">
                    <c:v>Rolling Stdev (30 Minute)</c:v>
                  </c:pt>
                  <c:pt idx="150">
                    <c:v>Rolling Stdev (30 Minute)</c:v>
                  </c:pt>
                  <c:pt idx="151">
                    <c:v>Rolling Stdev (30 Minute)</c:v>
                  </c:pt>
                  <c:pt idx="152">
                    <c:v>Rolling Stdev (30 Minute)</c:v>
                  </c:pt>
                  <c:pt idx="153">
                    <c:v>Rolling Stdev (30 Minute)</c:v>
                  </c:pt>
                  <c:pt idx="154">
                    <c:v>Rolling Stdev (30 Minute)</c:v>
                  </c:pt>
                  <c:pt idx="155">
                    <c:v>Rolling Stdev (30 Minute)</c:v>
                  </c:pt>
                  <c:pt idx="156">
                    <c:v>Rolling Stdev (30 Minute)</c:v>
                  </c:pt>
                  <c:pt idx="157">
                    <c:v>Rolling Stdev (30 Minute)</c:v>
                  </c:pt>
                  <c:pt idx="158">
                    <c:v>Rolling Stdev (30 Minute)</c:v>
                  </c:pt>
                  <c:pt idx="159">
                    <c:v>Rolling Stdev (30 Minute)</c:v>
                  </c:pt>
                  <c:pt idx="160">
                    <c:v>Rolling Stdev (30 Minute)</c:v>
                  </c:pt>
                  <c:pt idx="161">
                    <c:v>Rolling Stdev (30 Minute)</c:v>
                  </c:pt>
                  <c:pt idx="162">
                    <c:v>Rolling Stdev (30 Minute)</c:v>
                  </c:pt>
                  <c:pt idx="163">
                    <c:v>Rolling Stdev (30 Minute)</c:v>
                  </c:pt>
                  <c:pt idx="164">
                    <c:v>Rolling Stdev (30 Minute)</c:v>
                  </c:pt>
                  <c:pt idx="165">
                    <c:v>Rolling Stdev (30 Minute)</c:v>
                  </c:pt>
                  <c:pt idx="166">
                    <c:v>Rolling Stdev (30 Minute)</c:v>
                  </c:pt>
                  <c:pt idx="167">
                    <c:v>Rolling Stdev (30 Minute)</c:v>
                  </c:pt>
                  <c:pt idx="168">
                    <c:v>Rolling Stdev (30 Minute)</c:v>
                  </c:pt>
                  <c:pt idx="169">
                    <c:v>Rolling Stdev (30 Minute)</c:v>
                  </c:pt>
                  <c:pt idx="170">
                    <c:v>Rolling Stdev (30 Minute)</c:v>
                  </c:pt>
                  <c:pt idx="171">
                    <c:v>Rolling Stdev (30 Minute)</c:v>
                  </c:pt>
                  <c:pt idx="172">
                    <c:v>Rolling Stdev (30 Minute)</c:v>
                  </c:pt>
                  <c:pt idx="173">
                    <c:v>Rolling Stdev (30 Minute)</c:v>
                  </c:pt>
                  <c:pt idx="174">
                    <c:v>Rolling Stdev (30 Minute)</c:v>
                  </c:pt>
                  <c:pt idx="175">
                    <c:v>Rolling Stdev (30 Minute)</c:v>
                  </c:pt>
                  <c:pt idx="176">
                    <c:v>Rolling Stdev (30 Minute)</c:v>
                  </c:pt>
                  <c:pt idx="177">
                    <c:v>Rolling Stdev (30 Minute)</c:v>
                  </c:pt>
                  <c:pt idx="178">
                    <c:v>Rolling Stdev (30 Minute)</c:v>
                  </c:pt>
                  <c:pt idx="179">
                    <c:v>Rolling Stdev (30 Minute)</c:v>
                  </c:pt>
                  <c:pt idx="180">
                    <c:v>Rolling Stdev (30 Minute)</c:v>
                  </c:pt>
                  <c:pt idx="181">
                    <c:v>Rolling Stdev (30 Minute)</c:v>
                  </c:pt>
                  <c:pt idx="182">
                    <c:v>Rolling Stdev (30 Minute)</c:v>
                  </c:pt>
                  <c:pt idx="183">
                    <c:v>Rolling Stdev (30 Minute)</c:v>
                  </c:pt>
                  <c:pt idx="184">
                    <c:v>Rolling Stdev (30 Minute)</c:v>
                  </c:pt>
                  <c:pt idx="185">
                    <c:v>Rolling Stdev (30 Minute)</c:v>
                  </c:pt>
                  <c:pt idx="186">
                    <c:v>Rolling Stdev (30 Minute)</c:v>
                  </c:pt>
                  <c:pt idx="187">
                    <c:v>Rolling Stdev (30 Minute)</c:v>
                  </c:pt>
                  <c:pt idx="188">
                    <c:v>Rolling Stdev (30 Minute)</c:v>
                  </c:pt>
                  <c:pt idx="189">
                    <c:v>Rolling Stdev (30 Minute)</c:v>
                  </c:pt>
                  <c:pt idx="190">
                    <c:v>Rolling Stdev (30 Minute)</c:v>
                  </c:pt>
                  <c:pt idx="191">
                    <c:v>Rolling Stdev (30 Minute)</c:v>
                  </c:pt>
                  <c:pt idx="192">
                    <c:v>Rolling Stdev (30 Minute)</c:v>
                  </c:pt>
                  <c:pt idx="193">
                    <c:v>Rolling Stdev (30 Minute)</c:v>
                  </c:pt>
                  <c:pt idx="194">
                    <c:v>Rolling Stdev (30 Minute)</c:v>
                  </c:pt>
                  <c:pt idx="195">
                    <c:v>Rolling Stdev (30 Minute)</c:v>
                  </c:pt>
                  <c:pt idx="196">
                    <c:v>Rolling Stdev (30 Minute)</c:v>
                  </c:pt>
                  <c:pt idx="197">
                    <c:v>Rolling Stdev (30 Minute)</c:v>
                  </c:pt>
                  <c:pt idx="198">
                    <c:v>Rolling Stdev (30 Minute)</c:v>
                  </c:pt>
                  <c:pt idx="199">
                    <c:v>Rolling Stdev (30 Minute)</c:v>
                  </c:pt>
                  <c:pt idx="200">
                    <c:v>Rolling Stdev (30 Minute)</c:v>
                  </c:pt>
                  <c:pt idx="201">
                    <c:v>Rolling Stdev (30 Minute)</c:v>
                  </c:pt>
                  <c:pt idx="202">
                    <c:v>Rolling Stdev (30 Minute)</c:v>
                  </c:pt>
                  <c:pt idx="203">
                    <c:v>Rolling Stdev (30 Minute)</c:v>
                  </c:pt>
                  <c:pt idx="204">
                    <c:v>Rolling Stdev (30 Minute)</c:v>
                  </c:pt>
                  <c:pt idx="205">
                    <c:v>Rolling Stdev (30 Minute)</c:v>
                  </c:pt>
                  <c:pt idx="206">
                    <c:v>Rolling Stdev (30 Minute)</c:v>
                  </c:pt>
                  <c:pt idx="207">
                    <c:v>Rolling Stdev (30 Minute)</c:v>
                  </c:pt>
                  <c:pt idx="208">
                    <c:v>Rolling Stdev (30 Minute)</c:v>
                  </c:pt>
                  <c:pt idx="209">
                    <c:v>Rolling Stdev (30 Minute)</c:v>
                  </c:pt>
                  <c:pt idx="210">
                    <c:v>Rolling Stdev (30 Minute)</c:v>
                  </c:pt>
                  <c:pt idx="211">
                    <c:v>Rolling Stdev (30 Minute)</c:v>
                  </c:pt>
                  <c:pt idx="212">
                    <c:v>Rolling Stdev (30 Minute)</c:v>
                  </c:pt>
                  <c:pt idx="213">
                    <c:v>Rolling Stdev (30 Minute)</c:v>
                  </c:pt>
                  <c:pt idx="214">
                    <c:v>Rolling Stdev (30 Minute)</c:v>
                  </c:pt>
                  <c:pt idx="215">
                    <c:v>Rolling Stdev (30 Minute)</c:v>
                  </c:pt>
                  <c:pt idx="216">
                    <c:v>Rolling Stdev (30 Minute)</c:v>
                  </c:pt>
                  <c:pt idx="217">
                    <c:v>Rolling Stdev (30 Minute)</c:v>
                  </c:pt>
                  <c:pt idx="218">
                    <c:v>Rolling Stdev (30 Minute)</c:v>
                  </c:pt>
                  <c:pt idx="219">
                    <c:v>Rolling Stdev (30 Minute)</c:v>
                  </c:pt>
                  <c:pt idx="220">
                    <c:v>Rolling Stdev (30 Minute)</c:v>
                  </c:pt>
                  <c:pt idx="221">
                    <c:v>Rolling Stdev (30 Minute)</c:v>
                  </c:pt>
                  <c:pt idx="222">
                    <c:v>Rolling Stdev (30 Minute)</c:v>
                  </c:pt>
                  <c:pt idx="223">
                    <c:v>Rolling Stdev (30 Minute)</c:v>
                  </c:pt>
                  <c:pt idx="224">
                    <c:v>Rolling Stdev (30 Minute)</c:v>
                  </c:pt>
                  <c:pt idx="225">
                    <c:v>Rolling Stdev (30 Minute)</c:v>
                  </c:pt>
                  <c:pt idx="226">
                    <c:v>Rolling Stdev (30 Minute)</c:v>
                  </c:pt>
                  <c:pt idx="227">
                    <c:v>Rolling Stdev (30 Minute)</c:v>
                  </c:pt>
                  <c:pt idx="228">
                    <c:v>Rolling Stdev (30 Minute)</c:v>
                  </c:pt>
                  <c:pt idx="229">
                    <c:v>Rolling Stdev (30 Minute)</c:v>
                  </c:pt>
                  <c:pt idx="230">
                    <c:v>Rolling Stdev (30 Minute)</c:v>
                  </c:pt>
                  <c:pt idx="231">
                    <c:v>Rolling Stdev (30 Minute)</c:v>
                  </c:pt>
                  <c:pt idx="232">
                    <c:v>Rolling Stdev (30 Minute)</c:v>
                  </c:pt>
                  <c:pt idx="233">
                    <c:v>Rolling Stdev (30 Minute)</c:v>
                  </c:pt>
                  <c:pt idx="234">
                    <c:v>Rolling Stdev (30 Minute)</c:v>
                  </c:pt>
                  <c:pt idx="235">
                    <c:v>Rolling Stdev (30 Minute)</c:v>
                  </c:pt>
                  <c:pt idx="236">
                    <c:v>Rolling Stdev (30 Minute)</c:v>
                  </c:pt>
                  <c:pt idx="237">
                    <c:v>Rolling Stdev (30 Minute)</c:v>
                  </c:pt>
                  <c:pt idx="238">
                    <c:v>Rolling Stdev (30 Minute)</c:v>
                  </c:pt>
                  <c:pt idx="239">
                    <c:v>Rolling Stdev (30 Minute)</c:v>
                  </c:pt>
                  <c:pt idx="240">
                    <c:v>Rolling Stdev (30 Minute)</c:v>
                  </c:pt>
                  <c:pt idx="241">
                    <c:v>Rolling Stdev (30 Minute)</c:v>
                  </c:pt>
                  <c:pt idx="242">
                    <c:v>Rolling Stdev (30 Minute)</c:v>
                  </c:pt>
                  <c:pt idx="243">
                    <c:v>Rolling Stdev (30 Minute)</c:v>
                  </c:pt>
                  <c:pt idx="244">
                    <c:v>Rolling Stdev (30 Minute)</c:v>
                  </c:pt>
                  <c:pt idx="245">
                    <c:v>Rolling Stdev (30 Minute)</c:v>
                  </c:pt>
                  <c:pt idx="246">
                    <c:v>Rolling Stdev (30 Minute)</c:v>
                  </c:pt>
                  <c:pt idx="247">
                    <c:v>Rolling Stdev (30 Minute)</c:v>
                  </c:pt>
                  <c:pt idx="248">
                    <c:v>Rolling Stdev (30 Minute)</c:v>
                  </c:pt>
                  <c:pt idx="249">
                    <c:v>Rolling Stdev (30 Minute)</c:v>
                  </c:pt>
                  <c:pt idx="250">
                    <c:v>Rolling Stdev (30 Minute)</c:v>
                  </c:pt>
                  <c:pt idx="251">
                    <c:v>Rolling Stdev (30 Minute)</c:v>
                  </c:pt>
                  <c:pt idx="252">
                    <c:v>Rolling Stdev (30 Minute)</c:v>
                  </c:pt>
                  <c:pt idx="253">
                    <c:v>Rolling Stdev (30 Minute)</c:v>
                  </c:pt>
                  <c:pt idx="254">
                    <c:v>Rolling Stdev (30 Minute)</c:v>
                  </c:pt>
                  <c:pt idx="255">
                    <c:v>Rolling Stdev (30 Minute)</c:v>
                  </c:pt>
                  <c:pt idx="256">
                    <c:v>Rolling Stdev (30 Minute)</c:v>
                  </c:pt>
                  <c:pt idx="257">
                    <c:v>Rolling Stdev (30 Minute)</c:v>
                  </c:pt>
                  <c:pt idx="258">
                    <c:v>Rolling Stdev (30 Minute)</c:v>
                  </c:pt>
                  <c:pt idx="259">
                    <c:v>Rolling Stdev (30 Minute)</c:v>
                  </c:pt>
                  <c:pt idx="260">
                    <c:v>Rolling Stdev (30 Minute)</c:v>
                  </c:pt>
                  <c:pt idx="261">
                    <c:v>Rolling Stdev (30 Minute)</c:v>
                  </c:pt>
                  <c:pt idx="262">
                    <c:v>Rolling Stdev (30 Minute)</c:v>
                  </c:pt>
                  <c:pt idx="263">
                    <c:v>Rolling Stdev (30 Minute)</c:v>
                  </c:pt>
                  <c:pt idx="264">
                    <c:v>Rolling Stdev (30 Minute)</c:v>
                  </c:pt>
                  <c:pt idx="265">
                    <c:v>Rolling Stdev (30 Minute)</c:v>
                  </c:pt>
                  <c:pt idx="266">
                    <c:v>Rolling Stdev (30 Minute)</c:v>
                  </c:pt>
                  <c:pt idx="267">
                    <c:v>Rolling Stdev (30 Minute)</c:v>
                  </c:pt>
                  <c:pt idx="268">
                    <c:v>Rolling Stdev (30 Minute)</c:v>
                  </c:pt>
                  <c:pt idx="269">
                    <c:v>Rolling Stdev (30 Minute)</c:v>
                  </c:pt>
                  <c:pt idx="270">
                    <c:v>Rolling Stdev (30 Minute)</c:v>
                  </c:pt>
                  <c:pt idx="271">
                    <c:v>Rolling Stdev (30 Minute)</c:v>
                  </c:pt>
                  <c:pt idx="272">
                    <c:v>Rolling Stdev (30 Minute)</c:v>
                  </c:pt>
                  <c:pt idx="273">
                    <c:v>Rolling Stdev (30 Minute)</c:v>
                  </c:pt>
                  <c:pt idx="274">
                    <c:v>Rolling Stdev (30 Minute)</c:v>
                  </c:pt>
                  <c:pt idx="275">
                    <c:v>Rolling Stdev (30 Minute)</c:v>
                  </c:pt>
                  <c:pt idx="276">
                    <c:v>Rolling Stdev (30 Minute)</c:v>
                  </c:pt>
                  <c:pt idx="277">
                    <c:v>Rolling Stdev (30 Minute)</c:v>
                  </c:pt>
                  <c:pt idx="278">
                    <c:v>Rolling Stdev (30 Minute)</c:v>
                  </c:pt>
                  <c:pt idx="279">
                    <c:v>Rolling Stdev (30 Minute)</c:v>
                  </c:pt>
                  <c:pt idx="280">
                    <c:v>Rolling Stdev (30 Minute)</c:v>
                  </c:pt>
                  <c:pt idx="281">
                    <c:v>Rolling Stdev (30 Minute)</c:v>
                  </c:pt>
                  <c:pt idx="282">
                    <c:v>Rolling Stdev (30 Minute)</c:v>
                  </c:pt>
                  <c:pt idx="283">
                    <c:v>Rolling Stdev (30 Minute)</c:v>
                  </c:pt>
                  <c:pt idx="284">
                    <c:v>Rolling Stdev (30 Minute)</c:v>
                  </c:pt>
                  <c:pt idx="285">
                    <c:v>Rolling Stdev (30 Minute)</c:v>
                  </c:pt>
                  <c:pt idx="286">
                    <c:v>Rolling Stdev (30 Minute)</c:v>
                  </c:pt>
                  <c:pt idx="287">
                    <c:v>Rolling Stdev (30 Minute)</c:v>
                  </c:pt>
                  <c:pt idx="288">
                    <c:v>Rolling Stdev (30 Minute)</c:v>
                  </c:pt>
                  <c:pt idx="289">
                    <c:v>Rolling Stdev (30 Minute)</c:v>
                  </c:pt>
                  <c:pt idx="290">
                    <c:v>Rolling Stdev (30 Minute)</c:v>
                  </c:pt>
                  <c:pt idx="291">
                    <c:v>Rolling Stdev (30 Minute)</c:v>
                  </c:pt>
                  <c:pt idx="292">
                    <c:v>Rolling Stdev (30 Minute)</c:v>
                  </c:pt>
                  <c:pt idx="293">
                    <c:v>Rolling Stdev (30 Minute)</c:v>
                  </c:pt>
                  <c:pt idx="294">
                    <c:v>Rolling Stdev (30 Minute)</c:v>
                  </c:pt>
                  <c:pt idx="295">
                    <c:v>Rolling Stdev (30 Minute)</c:v>
                  </c:pt>
                  <c:pt idx="296">
                    <c:v>Rolling Stdev (30 Minute)</c:v>
                  </c:pt>
                  <c:pt idx="297">
                    <c:v>Rolling Stdev (30 Minute)</c:v>
                  </c:pt>
                  <c:pt idx="298">
                    <c:v>Rolling Stdev (30 Minute)</c:v>
                  </c:pt>
                  <c:pt idx="299">
                    <c:v>Rolling Stdev (30 Minute)</c:v>
                  </c:pt>
                  <c:pt idx="300">
                    <c:v>Rolling Stdev (30 Minute)</c:v>
                  </c:pt>
                  <c:pt idx="301">
                    <c:v>Rolling Stdev (30 Minute)</c:v>
                  </c:pt>
                  <c:pt idx="302">
                    <c:v>Rolling Stdev (30 Minute)</c:v>
                  </c:pt>
                  <c:pt idx="303">
                    <c:v>Rolling Stdev (30 Minute)</c:v>
                  </c:pt>
                  <c:pt idx="304">
                    <c:v>Rolling Stdev (30 Minute)</c:v>
                  </c:pt>
                  <c:pt idx="305">
                    <c:v>Rolling Stdev (30 Minute)</c:v>
                  </c:pt>
                  <c:pt idx="306">
                    <c:v>Rolling Stdev (30 Minute)</c:v>
                  </c:pt>
                  <c:pt idx="307">
                    <c:v>Rolling Stdev (30 Minute)</c:v>
                  </c:pt>
                  <c:pt idx="308">
                    <c:v>Rolling Stdev (30 Minute)</c:v>
                  </c:pt>
                  <c:pt idx="309">
                    <c:v>Rolling Stdev (30 Minute)</c:v>
                  </c:pt>
                  <c:pt idx="310">
                    <c:v>Rolling Stdev (30 Minute)</c:v>
                  </c:pt>
                  <c:pt idx="311">
                    <c:v>Rolling Stdev (30 Minute)</c:v>
                  </c:pt>
                  <c:pt idx="312">
                    <c:v>Rolling Stdev (30 Minute)</c:v>
                  </c:pt>
                  <c:pt idx="313">
                    <c:v>Rolling Stdev (30 Minute)</c:v>
                  </c:pt>
                  <c:pt idx="314">
                    <c:v>Rolling Stdev (30 Minute)</c:v>
                  </c:pt>
                  <c:pt idx="315">
                    <c:v>Rolling Stdev (30 Minute)</c:v>
                  </c:pt>
                  <c:pt idx="316">
                    <c:v>Rolling Stdev (30 Minute)</c:v>
                  </c:pt>
                  <c:pt idx="317">
                    <c:v>Rolling Stdev (30 Minute)</c:v>
                  </c:pt>
                  <c:pt idx="318">
                    <c:v>Rolling Stdev (30 Minute)</c:v>
                  </c:pt>
                  <c:pt idx="319">
                    <c:v>Rolling Stdev (30 Minute)</c:v>
                  </c:pt>
                  <c:pt idx="320">
                    <c:v>Rolling Stdev (30 Minute)</c:v>
                  </c:pt>
                  <c:pt idx="321">
                    <c:v>Rolling Stdev (30 Minute)</c:v>
                  </c:pt>
                  <c:pt idx="322">
                    <c:v>Rolling Stdev (30 Minute)</c:v>
                  </c:pt>
                  <c:pt idx="323">
                    <c:v>Rolling Stdev (30 Minute)</c:v>
                  </c:pt>
                  <c:pt idx="324">
                    <c:v>Rolling Stdev (30 Minute)</c:v>
                  </c:pt>
                  <c:pt idx="325">
                    <c:v>Rolling Stdev (30 Minute)</c:v>
                  </c:pt>
                  <c:pt idx="326">
                    <c:v>Rolling Stdev (30 Minute)</c:v>
                  </c:pt>
                  <c:pt idx="327">
                    <c:v>Rolling Stdev (30 Minute)</c:v>
                  </c:pt>
                  <c:pt idx="328">
                    <c:v>Rolling Stdev (30 Minute)</c:v>
                  </c:pt>
                  <c:pt idx="329">
                    <c:v>Rolling Stdev (30 Minute)</c:v>
                  </c:pt>
                  <c:pt idx="330">
                    <c:v>Rolling Stdev (30 Minute)</c:v>
                  </c:pt>
                  <c:pt idx="331">
                    <c:v>Rolling Stdev (30 Minute)</c:v>
                  </c:pt>
                  <c:pt idx="332">
                    <c:v>Rolling Stdev (30 Minute)</c:v>
                  </c:pt>
                  <c:pt idx="333">
                    <c:v>Rolling Stdev (30 Minute)</c:v>
                  </c:pt>
                  <c:pt idx="334">
                    <c:v>Rolling Stdev (30 Minute)</c:v>
                  </c:pt>
                  <c:pt idx="335">
                    <c:v>Rolling Stdev (30 Minute)</c:v>
                  </c:pt>
                  <c:pt idx="336">
                    <c:v>Rolling Stdev (30 Minute)</c:v>
                  </c:pt>
                  <c:pt idx="337">
                    <c:v>Rolling Stdev (30 Minute)</c:v>
                  </c:pt>
                  <c:pt idx="338">
                    <c:v>Rolling Stdev (30 Minute)</c:v>
                  </c:pt>
                  <c:pt idx="339">
                    <c:v>Rolling Stdev (30 Minute)</c:v>
                  </c:pt>
                  <c:pt idx="340">
                    <c:v>Rolling Stdev (30 Minute)</c:v>
                  </c:pt>
                  <c:pt idx="341">
                    <c:v>Rolling Stdev (30 Minute)</c:v>
                  </c:pt>
                  <c:pt idx="342">
                    <c:v>Rolling Stdev (30 Minute)</c:v>
                  </c:pt>
                  <c:pt idx="343">
                    <c:v>Rolling Stdev (30 Minute)</c:v>
                  </c:pt>
                  <c:pt idx="344">
                    <c:v>Rolling Stdev (30 Minute)</c:v>
                  </c:pt>
                  <c:pt idx="345">
                    <c:v>Rolling Stdev (30 Minute)</c:v>
                  </c:pt>
                  <c:pt idx="346">
                    <c:v>Rolling Stdev (30 Minute)</c:v>
                  </c:pt>
                  <c:pt idx="347">
                    <c:v>Rolling Stdev (30 Minute)</c:v>
                  </c:pt>
                  <c:pt idx="348">
                    <c:v>Rolling Stdev (30 Minute)</c:v>
                  </c:pt>
                  <c:pt idx="349">
                    <c:v>Rolling Stdev (30 Minute)</c:v>
                  </c:pt>
                  <c:pt idx="350">
                    <c:v>Rolling Stdev (30 Minute)</c:v>
                  </c:pt>
                  <c:pt idx="351">
                    <c:v>Rolling Stdev (30 Minute)</c:v>
                  </c:pt>
                  <c:pt idx="352">
                    <c:v>Rolling Stdev (30 Minute)</c:v>
                  </c:pt>
                  <c:pt idx="353">
                    <c:v>Rolling Stdev (30 Minute)</c:v>
                  </c:pt>
                  <c:pt idx="354">
                    <c:v>Rolling Stdev (30 Minute)</c:v>
                  </c:pt>
                  <c:pt idx="355">
                    <c:v>Rolling Stdev (30 Minute)</c:v>
                  </c:pt>
                  <c:pt idx="356">
                    <c:v>Rolling Stdev (30 Minute)</c:v>
                  </c:pt>
                  <c:pt idx="357">
                    <c:v>Rolling Stdev (30 Minute)</c:v>
                  </c:pt>
                  <c:pt idx="358">
                    <c:v>Rolling Stdev (30 Minute)</c:v>
                  </c:pt>
                  <c:pt idx="359">
                    <c:v>Rolling Stdev (30 Minute)</c:v>
                  </c:pt>
                  <c:pt idx="360">
                    <c:v>Rolling Stdev (30 Minute)</c:v>
                  </c:pt>
                  <c:pt idx="361">
                    <c:v>Rolling Stdev (30 Minute)</c:v>
                  </c:pt>
                  <c:pt idx="362">
                    <c:v>Rolling Stdev (30 Minute)</c:v>
                  </c:pt>
                  <c:pt idx="363">
                    <c:v>Rolling Stdev (30 Minute)</c:v>
                  </c:pt>
                  <c:pt idx="364">
                    <c:v>Rolling Stdev (30 Minute)</c:v>
                  </c:pt>
                  <c:pt idx="365">
                    <c:v>Rolling Stdev (30 Minute)</c:v>
                  </c:pt>
                  <c:pt idx="366">
                    <c:v>Rolling Stdev (30 Minute)</c:v>
                  </c:pt>
                  <c:pt idx="367">
                    <c:v>Rolling Stdev (30 Minute)</c:v>
                  </c:pt>
                  <c:pt idx="368">
                    <c:v>Rolling Stdev (30 Minute)</c:v>
                  </c:pt>
                  <c:pt idx="369">
                    <c:v>Rolling Stdev (30 Minute)</c:v>
                  </c:pt>
                  <c:pt idx="370">
                    <c:v>Rolling Stdev (30 Minute)</c:v>
                  </c:pt>
                  <c:pt idx="371">
                    <c:v>Rolling Stdev (30 Minute)</c:v>
                  </c:pt>
                  <c:pt idx="372">
                    <c:v>Rolling Stdev (30 Minute)</c:v>
                  </c:pt>
                  <c:pt idx="373">
                    <c:v>Rolling Stdev (30 Minute)</c:v>
                  </c:pt>
                  <c:pt idx="374">
                    <c:v>Rolling Stdev (30 Minute)</c:v>
                  </c:pt>
                  <c:pt idx="375">
                    <c:v>Rolling Stdev (30 Minute)</c:v>
                  </c:pt>
                  <c:pt idx="376">
                    <c:v>Rolling Stdev (30 Minute)</c:v>
                  </c:pt>
                  <c:pt idx="377">
                    <c:v>Rolling Stdev (30 Minute)</c:v>
                  </c:pt>
                  <c:pt idx="378">
                    <c:v>Rolling Stdev (30 Minute)</c:v>
                  </c:pt>
                  <c:pt idx="379">
                    <c:v>Rolling Stdev (30 Minute)</c:v>
                  </c:pt>
                  <c:pt idx="380">
                    <c:v>Rolling Stdev (30 Minute)</c:v>
                  </c:pt>
                  <c:pt idx="381">
                    <c:v>Rolling Stdev (30 Minute)</c:v>
                  </c:pt>
                  <c:pt idx="382">
                    <c:v>Rolling Stdev (30 Minute)</c:v>
                  </c:pt>
                  <c:pt idx="383">
                    <c:v>Rolling Stdev (30 Minute)</c:v>
                  </c:pt>
                  <c:pt idx="384">
                    <c:v>Rolling Stdev (30 Minute)</c:v>
                  </c:pt>
                  <c:pt idx="385">
                    <c:v>Rolling Stdev (30 Minute)</c:v>
                  </c:pt>
                  <c:pt idx="386">
                    <c:v>Rolling Stdev (30 Minute)</c:v>
                  </c:pt>
                  <c:pt idx="387">
                    <c:v>Rolling Stdev (30 Minute)</c:v>
                  </c:pt>
                  <c:pt idx="388">
                    <c:v>Rolling Stdev (30 Minute)</c:v>
                  </c:pt>
                  <c:pt idx="389">
                    <c:v>Rolling Stdev (30 Minute)</c:v>
                  </c:pt>
                  <c:pt idx="390">
                    <c:v>Rolling Stdev (30 Minute)</c:v>
                  </c:pt>
                  <c:pt idx="391">
                    <c:v>Rolling Stdev (30 Minute)</c:v>
                  </c:pt>
                  <c:pt idx="392">
                    <c:v>Rolling Stdev (30 Minute)</c:v>
                  </c:pt>
                  <c:pt idx="393">
                    <c:v>Rolling Stdev (30 Minute)</c:v>
                  </c:pt>
                  <c:pt idx="394">
                    <c:v>Rolling Stdev (30 Minute)</c:v>
                  </c:pt>
                  <c:pt idx="395">
                    <c:v>Rolling Stdev (30 Minute)</c:v>
                  </c:pt>
                  <c:pt idx="396">
                    <c:v>Rolling Stdev (30 Minute)</c:v>
                  </c:pt>
                  <c:pt idx="397">
                    <c:v>Rolling Stdev (30 Minute)</c:v>
                  </c:pt>
                  <c:pt idx="398">
                    <c:v>Rolling Stdev (30 Minute)</c:v>
                  </c:pt>
                  <c:pt idx="399">
                    <c:v>Rolling Stdev (30 Minute)</c:v>
                  </c:pt>
                  <c:pt idx="400">
                    <c:v>Rolling Stdev (30 Minute)</c:v>
                  </c:pt>
                  <c:pt idx="401">
                    <c:v>Rolling Stdev (30 Minute)</c:v>
                  </c:pt>
                  <c:pt idx="402">
                    <c:v>Rolling Stdev (30 Minute)</c:v>
                  </c:pt>
                  <c:pt idx="403">
                    <c:v>Rolling Stdev (30 Minute)</c:v>
                  </c:pt>
                  <c:pt idx="404">
                    <c:v>Rolling Stdev (30 Minute)</c:v>
                  </c:pt>
                  <c:pt idx="405">
                    <c:v>Rolling Stdev (30 Minute)</c:v>
                  </c:pt>
                  <c:pt idx="406">
                    <c:v>Rolling Stdev (30 Minute)</c:v>
                  </c:pt>
                  <c:pt idx="407">
                    <c:v>Rolling Stdev (30 Minute)</c:v>
                  </c:pt>
                  <c:pt idx="408">
                    <c:v>Rolling Stdev (30 Minute)</c:v>
                  </c:pt>
                  <c:pt idx="409">
                    <c:v>Rolling Stdev (30 Minute)</c:v>
                  </c:pt>
                  <c:pt idx="410">
                    <c:v>Rolling Stdev (30 Minute)</c:v>
                  </c:pt>
                  <c:pt idx="411">
                    <c:v>Rolling Stdev (30 Minute)</c:v>
                  </c:pt>
                  <c:pt idx="412">
                    <c:v>Rolling Stdev (30 Minute)</c:v>
                  </c:pt>
                  <c:pt idx="413">
                    <c:v>Rolling Stdev (30 Minute)</c:v>
                  </c:pt>
                  <c:pt idx="414">
                    <c:v>Rolling Stdev (30 Minute)</c:v>
                  </c:pt>
                  <c:pt idx="415">
                    <c:v>Rolling Stdev (30 Minute)</c:v>
                  </c:pt>
                  <c:pt idx="416">
                    <c:v>Rolling Stdev (30 Minute)</c:v>
                  </c:pt>
                  <c:pt idx="417">
                    <c:v>Rolling Stdev (30 Minute)</c:v>
                  </c:pt>
                  <c:pt idx="418">
                    <c:v>Rolling Stdev (30 Minute)</c:v>
                  </c:pt>
                  <c:pt idx="419">
                    <c:v>Rolling Stdev (30 Minute)</c:v>
                  </c:pt>
                  <c:pt idx="420">
                    <c:v>Rolling Stdev (30 Minute)</c:v>
                  </c:pt>
                  <c:pt idx="421">
                    <c:v>Rolling Stdev (30 Minute)</c:v>
                  </c:pt>
                  <c:pt idx="422">
                    <c:v>Rolling Stdev (30 Minute)</c:v>
                  </c:pt>
                  <c:pt idx="423">
                    <c:v>Rolling Stdev (30 Minute)</c:v>
                  </c:pt>
                  <c:pt idx="424">
                    <c:v>Rolling Stdev (30 Minute)</c:v>
                  </c:pt>
                  <c:pt idx="425">
                    <c:v>Rolling Stdev (30 Minute)</c:v>
                  </c:pt>
                  <c:pt idx="426">
                    <c:v>Rolling Stdev (30 Minute)</c:v>
                  </c:pt>
                  <c:pt idx="427">
                    <c:v>Rolling Stdev (30 Minute)</c:v>
                  </c:pt>
                  <c:pt idx="428">
                    <c:v>Rolling Stdev (30 Minute)</c:v>
                  </c:pt>
                  <c:pt idx="429">
                    <c:v>Rolling Stdev (30 Minute)</c:v>
                  </c:pt>
                  <c:pt idx="430">
                    <c:v>Rolling Stdev (30 Minute)</c:v>
                  </c:pt>
                  <c:pt idx="431">
                    <c:v>Rolling Stdev (30 Minute)</c:v>
                  </c:pt>
                  <c:pt idx="432">
                    <c:v>Rolling Stdev (30 Minute)</c:v>
                  </c:pt>
                  <c:pt idx="433">
                    <c:v>Rolling Stdev (30 Minute)</c:v>
                  </c:pt>
                  <c:pt idx="434">
                    <c:v>Rolling Stdev (30 Minute)</c:v>
                  </c:pt>
                  <c:pt idx="435">
                    <c:v>Rolling Stdev (30 Minute)</c:v>
                  </c:pt>
                  <c:pt idx="436">
                    <c:v>Rolling Stdev (30 Minute)</c:v>
                  </c:pt>
                  <c:pt idx="437">
                    <c:v>Rolling Stdev (30 Minute)</c:v>
                  </c:pt>
                  <c:pt idx="438">
                    <c:v>Rolling Stdev (30 Minute)</c:v>
                  </c:pt>
                  <c:pt idx="439">
                    <c:v>Rolling Stdev (30 Minute)</c:v>
                  </c:pt>
                  <c:pt idx="440">
                    <c:v>Rolling Stdev (30 Minute)</c:v>
                  </c:pt>
                  <c:pt idx="441">
                    <c:v>Rolling Stdev (30 Minute)</c:v>
                  </c:pt>
                  <c:pt idx="442">
                    <c:v>Rolling Stdev (30 Minute)</c:v>
                  </c:pt>
                  <c:pt idx="443">
                    <c:v>Rolling Stdev (30 Minute)</c:v>
                  </c:pt>
                  <c:pt idx="444">
                    <c:v>Rolling Stdev (30 Minute)</c:v>
                  </c:pt>
                  <c:pt idx="445">
                    <c:v>Rolling Stdev (30 Minute)</c:v>
                  </c:pt>
                  <c:pt idx="446">
                    <c:v>Rolling Stdev (30 Minute)</c:v>
                  </c:pt>
                  <c:pt idx="447">
                    <c:v>Rolling Stdev (30 Minute)</c:v>
                  </c:pt>
                  <c:pt idx="448">
                    <c:v>Rolling Stdev (30 Minute)</c:v>
                  </c:pt>
                  <c:pt idx="449">
                    <c:v>Rolling Stdev (30 Minute)</c:v>
                  </c:pt>
                  <c:pt idx="450">
                    <c:v>Rolling Stdev (30 Minute)</c:v>
                  </c:pt>
                  <c:pt idx="451">
                    <c:v>Rolling Stdev (30 Minute)</c:v>
                  </c:pt>
                  <c:pt idx="452">
                    <c:v>Rolling Stdev (30 Minute)</c:v>
                  </c:pt>
                  <c:pt idx="453">
                    <c:v>Rolling Stdev (30 Minute)</c:v>
                  </c:pt>
                  <c:pt idx="454">
                    <c:v>Rolling Stdev (30 Minute)</c:v>
                  </c:pt>
                  <c:pt idx="455">
                    <c:v>Rolling Stdev (30 Minute)</c:v>
                  </c:pt>
                  <c:pt idx="456">
                    <c:v>Rolling Stdev (30 Minute)</c:v>
                  </c:pt>
                  <c:pt idx="457">
                    <c:v>Rolling Stdev (30 Minute)</c:v>
                  </c:pt>
                  <c:pt idx="458">
                    <c:v>Rolling Stdev (30 Minute)</c:v>
                  </c:pt>
                  <c:pt idx="459">
                    <c:v>Rolling Stdev (30 Minute)</c:v>
                  </c:pt>
                  <c:pt idx="460">
                    <c:v>Rolling Stdev (30 Minute)</c:v>
                  </c:pt>
                  <c:pt idx="461">
                    <c:v>Rolling Stdev (30 Minute)</c:v>
                  </c:pt>
                  <c:pt idx="462">
                    <c:v>Rolling Stdev (30 Minute)</c:v>
                  </c:pt>
                  <c:pt idx="463">
                    <c:v>Rolling Stdev (30 Minute)</c:v>
                  </c:pt>
                  <c:pt idx="464">
                    <c:v>Rolling Stdev (30 Minute)</c:v>
                  </c:pt>
                  <c:pt idx="465">
                    <c:v>Rolling Stdev (30 Minute)</c:v>
                  </c:pt>
                  <c:pt idx="466">
                    <c:v>Rolling Stdev (30 Minute)</c:v>
                  </c:pt>
                  <c:pt idx="467">
                    <c:v>Rolling Stdev (30 Minute)</c:v>
                  </c:pt>
                  <c:pt idx="468">
                    <c:v>Rolling Stdev (30 Minute)</c:v>
                  </c:pt>
                  <c:pt idx="469">
                    <c:v>Rolling Stdev (30 Minute)</c:v>
                  </c:pt>
                  <c:pt idx="470">
                    <c:v>Rolling Stdev (30 Minute)</c:v>
                  </c:pt>
                  <c:pt idx="471">
                    <c:v>Rolling Stdev (30 Minute)</c:v>
                  </c:pt>
                  <c:pt idx="472">
                    <c:v>Rolling Stdev (30 Minute)</c:v>
                  </c:pt>
                  <c:pt idx="473">
                    <c:v>Rolling Stdev (30 Minute)</c:v>
                  </c:pt>
                  <c:pt idx="474">
                    <c:v>Rolling Stdev (30 Minute)</c:v>
                  </c:pt>
                  <c:pt idx="475">
                    <c:v>Rolling Stdev (30 Minute)</c:v>
                  </c:pt>
                  <c:pt idx="476">
                    <c:v>Rolling Stdev (30 Minute)</c:v>
                  </c:pt>
                  <c:pt idx="477">
                    <c:v>Rolling Stdev (30 Minute)</c:v>
                  </c:pt>
                  <c:pt idx="478">
                    <c:v>Rolling Stdev (30 Minute)</c:v>
                  </c:pt>
                  <c:pt idx="479">
                    <c:v>Rolling Stdev (30 Minute)</c:v>
                  </c:pt>
                  <c:pt idx="480">
                    <c:v>Rolling Stdev (30 Minute)</c:v>
                  </c:pt>
                  <c:pt idx="481">
                    <c:v>Rolling Stdev (30 Minute)</c:v>
                  </c:pt>
                  <c:pt idx="482">
                    <c:v>Rolling Stdev (30 Minute)</c:v>
                  </c:pt>
                  <c:pt idx="483">
                    <c:v>Rolling Stdev (30 Minute)</c:v>
                  </c:pt>
                  <c:pt idx="484">
                    <c:v>Rolling Stdev (30 Minute)</c:v>
                  </c:pt>
                  <c:pt idx="485">
                    <c:v>Rolling Stdev (30 Minute)</c:v>
                  </c:pt>
                  <c:pt idx="486">
                    <c:v>Rolling Stdev (30 Minute)</c:v>
                  </c:pt>
                  <c:pt idx="487">
                    <c:v>Rolling Stdev (30 Minute)</c:v>
                  </c:pt>
                  <c:pt idx="488">
                    <c:v>Rolling Stdev (30 Minute)</c:v>
                  </c:pt>
                  <c:pt idx="489">
                    <c:v>Rolling Stdev (30 Minute)</c:v>
                  </c:pt>
                  <c:pt idx="490">
                    <c:v>Rolling Stdev (30 Minute)</c:v>
                  </c:pt>
                  <c:pt idx="491">
                    <c:v>Rolling Stdev (30 Minute)</c:v>
                  </c:pt>
                  <c:pt idx="492">
                    <c:v>Rolling Stdev (30 Minute)</c:v>
                  </c:pt>
                  <c:pt idx="493">
                    <c:v>Rolling Stdev (30 Minute)</c:v>
                  </c:pt>
                  <c:pt idx="494">
                    <c:v>Rolling Stdev (30 Minute)</c:v>
                  </c:pt>
                  <c:pt idx="495">
                    <c:v>Rolling Stdev (30 Minute)</c:v>
                  </c:pt>
                  <c:pt idx="496">
                    <c:v>Rolling Stdev (30 Minute)</c:v>
                  </c:pt>
                  <c:pt idx="497">
                    <c:v>Rolling Stdev (30 Minute)</c:v>
                  </c:pt>
                  <c:pt idx="498">
                    <c:v>Rolling Stdev (30 Minute)</c:v>
                  </c:pt>
                  <c:pt idx="499">
                    <c:v>Rolling Stdev (30 Minute)</c:v>
                  </c:pt>
                  <c:pt idx="500">
                    <c:v>Rolling Stdev (30 Minute)</c:v>
                  </c:pt>
                  <c:pt idx="501">
                    <c:v>Rolling Stdev (30 Minute)</c:v>
                  </c:pt>
                  <c:pt idx="502">
                    <c:v>Rolling Stdev (30 Minute)</c:v>
                  </c:pt>
                  <c:pt idx="503">
                    <c:v>Rolling Stdev (30 Minute)</c:v>
                  </c:pt>
                  <c:pt idx="504">
                    <c:v>Rolling Stdev (30 Minute)</c:v>
                  </c:pt>
                  <c:pt idx="505">
                    <c:v>Rolling Stdev (30 Minute)</c:v>
                  </c:pt>
                  <c:pt idx="506">
                    <c:v>Rolling Stdev (30 Minute)</c:v>
                  </c:pt>
                  <c:pt idx="507">
                    <c:v>Rolling Stdev (30 Minute)</c:v>
                  </c:pt>
                  <c:pt idx="508">
                    <c:v>Rolling Stdev (30 Minute)</c:v>
                  </c:pt>
                  <c:pt idx="509">
                    <c:v>Rolling Stdev (30 Minute)</c:v>
                  </c:pt>
                  <c:pt idx="510">
                    <c:v>Rolling Stdev (30 Minute)</c:v>
                  </c:pt>
                  <c:pt idx="511">
                    <c:v>Rolling Stdev (30 Minute)</c:v>
                  </c:pt>
                  <c:pt idx="512">
                    <c:v>Rolling Stdev (30 Minute)</c:v>
                  </c:pt>
                  <c:pt idx="513">
                    <c:v>Rolling Stdev (30 Minute)</c:v>
                  </c:pt>
                  <c:pt idx="514">
                    <c:v>Rolling Stdev (30 Minute)</c:v>
                  </c:pt>
                  <c:pt idx="515">
                    <c:v>Rolling Stdev (30 Minute)</c:v>
                  </c:pt>
                  <c:pt idx="516">
                    <c:v>Rolling Stdev (30 Minute)</c:v>
                  </c:pt>
                  <c:pt idx="517">
                    <c:v>Rolling Stdev (30 Minute)</c:v>
                  </c:pt>
                  <c:pt idx="518">
                    <c:v>Rolling Stdev (30 Minute)</c:v>
                  </c:pt>
                  <c:pt idx="519">
                    <c:v>Rolling Stdev (30 Minute)</c:v>
                  </c:pt>
                  <c:pt idx="520">
                    <c:v>Rolling Stdev (30 Minute)</c:v>
                  </c:pt>
                  <c:pt idx="521">
                    <c:v>Rolling Stdev (30 Minute)</c:v>
                  </c:pt>
                  <c:pt idx="522">
                    <c:v>Rolling Stdev (30 Minute)</c:v>
                  </c:pt>
                  <c:pt idx="523">
                    <c:v>Rolling Stdev (30 Minute)</c:v>
                  </c:pt>
                  <c:pt idx="524">
                    <c:v>Rolling Stdev (30 Minute)</c:v>
                  </c:pt>
                  <c:pt idx="525">
                    <c:v>Rolling Stdev (30 Minute)</c:v>
                  </c:pt>
                  <c:pt idx="526">
                    <c:v>Rolling Stdev (30 Minute)</c:v>
                  </c:pt>
                  <c:pt idx="527">
                    <c:v>Rolling Stdev (30 Minute)</c:v>
                  </c:pt>
                  <c:pt idx="528">
                    <c:v>Rolling Stdev (30 Minute)</c:v>
                  </c:pt>
                  <c:pt idx="529">
                    <c:v>Rolling Stdev (30 Minute)</c:v>
                  </c:pt>
                  <c:pt idx="530">
                    <c:v>Rolling Stdev (30 Minute)</c:v>
                  </c:pt>
                  <c:pt idx="531">
                    <c:v>Rolling Stdev (30 Minute)</c:v>
                  </c:pt>
                  <c:pt idx="532">
                    <c:v>Rolling Stdev (30 Minute)</c:v>
                  </c:pt>
                  <c:pt idx="533">
                    <c:v>Rolling Stdev (30 Minute)</c:v>
                  </c:pt>
                  <c:pt idx="534">
                    <c:v>Rolling Stdev (30 Minute)</c:v>
                  </c:pt>
                  <c:pt idx="535">
                    <c:v>Rolling Stdev (30 Minute)</c:v>
                  </c:pt>
                  <c:pt idx="536">
                    <c:v>Rolling Stdev (30 Minute)</c:v>
                  </c:pt>
                  <c:pt idx="537">
                    <c:v>Rolling Stdev (30 Minute)</c:v>
                  </c:pt>
                  <c:pt idx="538">
                    <c:v>Rolling Stdev (30 Minute)</c:v>
                  </c:pt>
                  <c:pt idx="539">
                    <c:v>Rolling Stdev (30 Minute)</c:v>
                  </c:pt>
                  <c:pt idx="540">
                    <c:v>Rolling Stdev (30 Minute)</c:v>
                  </c:pt>
                  <c:pt idx="541">
                    <c:v>Rolling Stdev (30 Minute)</c:v>
                  </c:pt>
                  <c:pt idx="542">
                    <c:v>Rolling Stdev (30 Minute)</c:v>
                  </c:pt>
                  <c:pt idx="543">
                    <c:v>Rolling Stdev (30 Minute)</c:v>
                  </c:pt>
                  <c:pt idx="544">
                    <c:v>Rolling Stdev (30 Minute)</c:v>
                  </c:pt>
                  <c:pt idx="545">
                    <c:v>Rolling Stdev (30 Minute)</c:v>
                  </c:pt>
                  <c:pt idx="546">
                    <c:v>Rolling Stdev (30 Minute)</c:v>
                  </c:pt>
                  <c:pt idx="547">
                    <c:v>Rolling Stdev (30 Minute)</c:v>
                  </c:pt>
                  <c:pt idx="548">
                    <c:v>Rolling Stdev (30 Minute)</c:v>
                  </c:pt>
                  <c:pt idx="549">
                    <c:v>Rolling Stdev (30 Minute)</c:v>
                  </c:pt>
                  <c:pt idx="550">
                    <c:v>Rolling Stdev (30 Minute)</c:v>
                  </c:pt>
                  <c:pt idx="551">
                    <c:v>Rolling Stdev (30 Minute)</c:v>
                  </c:pt>
                  <c:pt idx="552">
                    <c:v>Rolling Stdev (30 Minute)</c:v>
                  </c:pt>
                  <c:pt idx="553">
                    <c:v>Rolling Stdev (30 Minute)</c:v>
                  </c:pt>
                  <c:pt idx="554">
                    <c:v>Rolling Stdev (30 Minute)</c:v>
                  </c:pt>
                  <c:pt idx="555">
                    <c:v>Rolling Stdev (30 Minute)</c:v>
                  </c:pt>
                  <c:pt idx="556">
                    <c:v>Rolling Stdev (30 Minute)</c:v>
                  </c:pt>
                  <c:pt idx="557">
                    <c:v>Rolling Stdev (30 Minute)</c:v>
                  </c:pt>
                  <c:pt idx="558">
                    <c:v>Rolling Stdev (30 Minute)</c:v>
                  </c:pt>
                  <c:pt idx="559">
                    <c:v>Rolling Stdev (30 Minute)</c:v>
                  </c:pt>
                  <c:pt idx="560">
                    <c:v>Rolling Stdev (30 Minute)</c:v>
                  </c:pt>
                  <c:pt idx="561">
                    <c:v>Rolling Stdev (30 Minute)</c:v>
                  </c:pt>
                  <c:pt idx="562">
                    <c:v>Rolling Stdev (30 Minute)</c:v>
                  </c:pt>
                  <c:pt idx="563">
                    <c:v>Rolling Stdev (30 Minute)</c:v>
                  </c:pt>
                  <c:pt idx="564">
                    <c:v>Rolling Stdev (30 Minute)</c:v>
                  </c:pt>
                  <c:pt idx="565">
                    <c:v>Rolling Stdev (30 Minute)</c:v>
                  </c:pt>
                  <c:pt idx="566">
                    <c:v>Rolling Stdev (30 Minute)</c:v>
                  </c:pt>
                  <c:pt idx="567">
                    <c:v>Rolling Stdev (30 Minute)</c:v>
                  </c:pt>
                  <c:pt idx="568">
                    <c:v>Rolling Stdev (30 Minute)</c:v>
                  </c:pt>
                  <c:pt idx="569">
                    <c:v>Rolling Stdev (30 Minute)</c:v>
                  </c:pt>
                  <c:pt idx="570">
                    <c:v>Rolling Stdev (30 Minute)</c:v>
                  </c:pt>
                  <c:pt idx="571">
                    <c:v>Rolling Stdev (30 Minute)</c:v>
                  </c:pt>
                  <c:pt idx="572">
                    <c:v>Rolling Stdev (30 Minute)</c:v>
                  </c:pt>
                  <c:pt idx="573">
                    <c:v>Rolling Stdev (30 Minute)</c:v>
                  </c:pt>
                  <c:pt idx="574">
                    <c:v>Rolling Stdev (30 Minute)</c:v>
                  </c:pt>
                  <c:pt idx="575">
                    <c:v>Rolling Stdev (30 Minute)</c:v>
                  </c:pt>
                  <c:pt idx="576">
                    <c:v>Rolling Stdev (30 Minute)</c:v>
                  </c:pt>
                  <c:pt idx="577">
                    <c:v>Rolling Stdev (30 Minute)</c:v>
                  </c:pt>
                  <c:pt idx="578">
                    <c:v>Rolling Stdev (30 Minute)</c:v>
                  </c:pt>
                  <c:pt idx="579">
                    <c:v>Rolling Stdev (30 Minute)</c:v>
                  </c:pt>
                  <c:pt idx="580">
                    <c:v>Rolling Stdev (30 Minute)</c:v>
                  </c:pt>
                  <c:pt idx="581">
                    <c:v>Rolling Stdev (30 Minute)</c:v>
                  </c:pt>
                  <c:pt idx="582">
                    <c:v>Rolling Stdev (30 Minute)</c:v>
                  </c:pt>
                  <c:pt idx="583">
                    <c:v>Rolling Stdev (30 Minute)</c:v>
                  </c:pt>
                  <c:pt idx="584">
                    <c:v>Rolling Stdev (30 Minute)</c:v>
                  </c:pt>
                  <c:pt idx="585">
                    <c:v>Rolling Stdev (30 Minute)</c:v>
                  </c:pt>
                  <c:pt idx="586">
                    <c:v>Rolling Stdev (30 Minute)</c:v>
                  </c:pt>
                  <c:pt idx="587">
                    <c:v>Rolling Stdev (30 Minute)</c:v>
                  </c:pt>
                  <c:pt idx="588">
                    <c:v>Rolling Stdev (30 Minute)</c:v>
                  </c:pt>
                  <c:pt idx="589">
                    <c:v>Rolling Stdev (30 Minute)</c:v>
                  </c:pt>
                  <c:pt idx="590">
                    <c:v>Rolling Stdev (30 Minute)</c:v>
                  </c:pt>
                  <c:pt idx="591">
                    <c:v>Rolling Stdev (30 Minute)</c:v>
                  </c:pt>
                  <c:pt idx="592">
                    <c:v>Rolling Stdev (30 Minute)</c:v>
                  </c:pt>
                  <c:pt idx="593">
                    <c:v>Rolling Stdev (30 Minute)</c:v>
                  </c:pt>
                  <c:pt idx="594">
                    <c:v>Rolling Stdev (30 Minute)</c:v>
                  </c:pt>
                  <c:pt idx="595">
                    <c:v>Rolling Stdev (30 Minute)</c:v>
                  </c:pt>
                  <c:pt idx="596">
                    <c:v>Rolling Stdev (30 Minute)</c:v>
                  </c:pt>
                  <c:pt idx="597">
                    <c:v>Rolling Stdev (30 Minute)</c:v>
                  </c:pt>
                  <c:pt idx="598">
                    <c:v>Rolling Stdev (30 Minute)</c:v>
                  </c:pt>
                  <c:pt idx="599">
                    <c:v>Rolling Stdev (30 Minute)</c:v>
                  </c:pt>
                  <c:pt idx="600">
                    <c:v>Rolling Stdev (30 Minute)</c:v>
                  </c:pt>
                  <c:pt idx="601">
                    <c:v>Rolling Stdev (30 Minute)</c:v>
                  </c:pt>
                  <c:pt idx="602">
                    <c:v>Rolling Stdev (30 Minute)</c:v>
                  </c:pt>
                  <c:pt idx="603">
                    <c:v>Rolling Stdev (30 Minute)</c:v>
                  </c:pt>
                  <c:pt idx="604">
                    <c:v>Rolling Stdev (30 Minute)</c:v>
                  </c:pt>
                  <c:pt idx="605">
                    <c:v>Rolling Stdev (30 Minute)</c:v>
                  </c:pt>
                  <c:pt idx="606">
                    <c:v>Rolling Stdev (30 Minute)</c:v>
                  </c:pt>
                  <c:pt idx="607">
                    <c:v>Rolling Stdev (30 Minute)</c:v>
                  </c:pt>
                  <c:pt idx="608">
                    <c:v>Rolling Stdev (30 Minute)</c:v>
                  </c:pt>
                  <c:pt idx="609">
                    <c:v>Rolling Stdev (30 Minute)</c:v>
                  </c:pt>
                  <c:pt idx="610">
                    <c:v>Rolling Stdev (30 Minute)</c:v>
                  </c:pt>
                  <c:pt idx="611">
                    <c:v>Rolling Stdev (30 Minute)</c:v>
                  </c:pt>
                  <c:pt idx="612">
                    <c:v>Rolling Stdev (30 Minute)</c:v>
                  </c:pt>
                  <c:pt idx="613">
                    <c:v>Rolling Stdev (30 Minute)</c:v>
                  </c:pt>
                  <c:pt idx="614">
                    <c:v>Rolling Stdev (30 Minute)</c:v>
                  </c:pt>
                  <c:pt idx="615">
                    <c:v>Rolling Stdev (30 Minute)</c:v>
                  </c:pt>
                  <c:pt idx="616">
                    <c:v>Rolling Stdev (30 Minute)</c:v>
                  </c:pt>
                  <c:pt idx="617">
                    <c:v>Rolling Stdev (30 Minute)</c:v>
                  </c:pt>
                  <c:pt idx="618">
                    <c:v>Rolling Stdev (30 Minute)</c:v>
                  </c:pt>
                  <c:pt idx="619">
                    <c:v>Rolling Stdev (30 Minute)</c:v>
                  </c:pt>
                  <c:pt idx="620">
                    <c:v>Rolling Stdev (30 Minute)</c:v>
                  </c:pt>
                  <c:pt idx="621">
                    <c:v>Rolling Stdev (30 Minute)</c:v>
                  </c:pt>
                  <c:pt idx="622">
                    <c:v>Rolling Stdev (30 Minute)</c:v>
                  </c:pt>
                  <c:pt idx="623">
                    <c:v>Rolling Stdev (30 Minute)</c:v>
                  </c:pt>
                  <c:pt idx="624">
                    <c:v>Rolling Stdev (30 Minute)</c:v>
                  </c:pt>
                  <c:pt idx="625">
                    <c:v>Rolling Stdev (30 Minute)</c:v>
                  </c:pt>
                  <c:pt idx="626">
                    <c:v>Rolling Stdev (30 Minute)</c:v>
                  </c:pt>
                  <c:pt idx="627">
                    <c:v>Rolling Stdev (30 Minute)</c:v>
                  </c:pt>
                  <c:pt idx="628">
                    <c:v>Rolling Stdev (30 Minute)</c:v>
                  </c:pt>
                  <c:pt idx="629">
                    <c:v>Rolling Stdev (30 Minute)</c:v>
                  </c:pt>
                  <c:pt idx="630">
                    <c:v>Rolling Stdev (30 Minute)</c:v>
                  </c:pt>
                  <c:pt idx="631">
                    <c:v>Rolling Stdev (30 Minute)</c:v>
                  </c:pt>
                  <c:pt idx="632">
                    <c:v>Rolling Stdev (30 Minute)</c:v>
                  </c:pt>
                  <c:pt idx="633">
                    <c:v>Rolling Stdev (30 Minute)</c:v>
                  </c:pt>
                  <c:pt idx="634">
                    <c:v>Rolling Stdev (30 Minute)</c:v>
                  </c:pt>
                  <c:pt idx="635">
                    <c:v>Rolling Stdev (30 Minute)</c:v>
                  </c:pt>
                  <c:pt idx="636">
                    <c:v>Rolling Stdev (30 Minute)</c:v>
                  </c:pt>
                  <c:pt idx="637">
                    <c:v>Rolling Stdev (30 Minute)</c:v>
                  </c:pt>
                  <c:pt idx="638">
                    <c:v>Rolling Stdev (30 Minute)</c:v>
                  </c:pt>
                  <c:pt idx="639">
                    <c:v>Rolling Stdev (30 Minute)</c:v>
                  </c:pt>
                  <c:pt idx="640">
                    <c:v>Rolling Stdev (30 Minute)</c:v>
                  </c:pt>
                  <c:pt idx="641">
                    <c:v>Rolling Stdev (30 Minute)</c:v>
                  </c:pt>
                  <c:pt idx="642">
                    <c:v>Rolling Stdev (30 Minute)</c:v>
                  </c:pt>
                  <c:pt idx="643">
                    <c:v>Rolling Stdev (30 Minute)</c:v>
                  </c:pt>
                  <c:pt idx="644">
                    <c:v>Rolling Stdev (30 Minute)</c:v>
                  </c:pt>
                  <c:pt idx="645">
                    <c:v>Rolling Stdev (30 Minute)</c:v>
                  </c:pt>
                  <c:pt idx="646">
                    <c:v>Rolling Stdev (30 Minute)</c:v>
                  </c:pt>
                  <c:pt idx="647">
                    <c:v>Rolling Stdev (30 Minute)</c:v>
                  </c:pt>
                  <c:pt idx="648">
                    <c:v>Rolling Stdev (30 Minute)</c:v>
                  </c:pt>
                  <c:pt idx="649">
                    <c:v>Rolling Stdev (30 Minute)</c:v>
                  </c:pt>
                  <c:pt idx="650">
                    <c:v>Rolling Stdev (30 Minute)</c:v>
                  </c:pt>
                  <c:pt idx="651">
                    <c:v>Rolling Stdev (30 Minute)</c:v>
                  </c:pt>
                  <c:pt idx="652">
                    <c:v>Rolling Stdev (30 Minute)</c:v>
                  </c:pt>
                  <c:pt idx="653">
                    <c:v>Rolling Stdev (30 Minute)</c:v>
                  </c:pt>
                  <c:pt idx="654">
                    <c:v>Rolling Stdev (30 Minute)</c:v>
                  </c:pt>
                  <c:pt idx="655">
                    <c:v>Rolling Stdev (30 Minute)</c:v>
                  </c:pt>
                  <c:pt idx="656">
                    <c:v>Rolling Stdev (30 Minute)</c:v>
                  </c:pt>
                  <c:pt idx="657">
                    <c:v>Rolling Stdev (30 Minute)</c:v>
                  </c:pt>
                  <c:pt idx="658">
                    <c:v>Rolling Stdev (30 Minute)</c:v>
                  </c:pt>
                  <c:pt idx="659">
                    <c:v>Rolling Stdev (30 Minute)</c:v>
                  </c:pt>
                  <c:pt idx="660">
                    <c:v>Rolling Stdev (30 Minute)</c:v>
                  </c:pt>
                  <c:pt idx="661">
                    <c:v>Rolling Stdev (30 Minute)</c:v>
                  </c:pt>
                  <c:pt idx="662">
                    <c:v>Rolling Stdev (30 Minute)</c:v>
                  </c:pt>
                  <c:pt idx="663">
                    <c:v>Rolling Stdev (30 Minute)</c:v>
                  </c:pt>
                  <c:pt idx="664">
                    <c:v>Rolling Stdev (30 Minute)</c:v>
                  </c:pt>
                  <c:pt idx="665">
                    <c:v>Rolling Stdev (30 Minute)</c:v>
                  </c:pt>
                  <c:pt idx="666">
                    <c:v>Rolling Stdev (30 Minute)</c:v>
                  </c:pt>
                  <c:pt idx="667">
                    <c:v>Rolling Stdev (30 Minute)</c:v>
                  </c:pt>
                  <c:pt idx="668">
                    <c:v>Rolling Stdev (30 Minute)</c:v>
                  </c:pt>
                  <c:pt idx="669">
                    <c:v>Rolling Stdev (30 Minute)</c:v>
                  </c:pt>
                  <c:pt idx="670">
                    <c:v>Rolling Stdev (30 Minute)</c:v>
                  </c:pt>
                  <c:pt idx="671">
                    <c:v>Rolling Stdev (30 Minute)</c:v>
                  </c:pt>
                  <c:pt idx="672">
                    <c:v>Rolling Stdev (30 Minute)</c:v>
                  </c:pt>
                  <c:pt idx="673">
                    <c:v>Rolling Stdev (30 Minute)</c:v>
                  </c:pt>
                  <c:pt idx="674">
                    <c:v>Rolling Stdev (30 Minute)</c:v>
                  </c:pt>
                  <c:pt idx="675">
                    <c:v>Rolling Stdev (30 Minute)</c:v>
                  </c:pt>
                  <c:pt idx="676">
                    <c:v>Rolling Stdev (30 Minute)</c:v>
                  </c:pt>
                  <c:pt idx="677">
                    <c:v>Rolling Stdev (30 Minute)</c:v>
                  </c:pt>
                  <c:pt idx="678">
                    <c:v>Rolling Stdev (30 Minute)</c:v>
                  </c:pt>
                  <c:pt idx="679">
                    <c:v>Rolling Stdev (30 Minute)</c:v>
                  </c:pt>
                  <c:pt idx="680">
                    <c:v>Rolling Stdev (30 Minute)</c:v>
                  </c:pt>
                  <c:pt idx="681">
                    <c:v>Rolling Stdev (30 Minute)</c:v>
                  </c:pt>
                  <c:pt idx="682">
                    <c:v>Rolling Stdev (30 Minute)</c:v>
                  </c:pt>
                  <c:pt idx="683">
                    <c:v>Rolling Stdev (30 Minute)</c:v>
                  </c:pt>
                  <c:pt idx="684">
                    <c:v>Rolling Stdev (30 Minute)</c:v>
                  </c:pt>
                  <c:pt idx="685">
                    <c:v>Rolling Stdev (30 Minute)</c:v>
                  </c:pt>
                  <c:pt idx="686">
                    <c:v>Rolling Stdev (30 Minute)</c:v>
                  </c:pt>
                  <c:pt idx="687">
                    <c:v>Rolling Stdev (30 Minute)</c:v>
                  </c:pt>
                  <c:pt idx="688">
                    <c:v>Rolling Stdev (30 Minute)</c:v>
                  </c:pt>
                  <c:pt idx="689">
                    <c:v>Rolling Stdev (30 Minute)</c:v>
                  </c:pt>
                  <c:pt idx="690">
                    <c:v>Rolling Stdev (30 Minute)</c:v>
                  </c:pt>
                  <c:pt idx="691">
                    <c:v>Rolling Stdev (30 Minute)</c:v>
                  </c:pt>
                  <c:pt idx="692">
                    <c:v>Rolling Stdev (30 Minute)</c:v>
                  </c:pt>
                  <c:pt idx="693">
                    <c:v>Rolling Stdev (30 Minute)</c:v>
                  </c:pt>
                  <c:pt idx="694">
                    <c:v>Rolling Stdev (30 Minute)</c:v>
                  </c:pt>
                  <c:pt idx="695">
                    <c:v>Rolling Stdev (30 Minute)</c:v>
                  </c:pt>
                  <c:pt idx="696">
                    <c:v>Rolling Stdev (30 Minute)</c:v>
                  </c:pt>
                  <c:pt idx="697">
                    <c:v>Rolling Stdev (30 Minute)</c:v>
                  </c:pt>
                  <c:pt idx="698">
                    <c:v>Rolling Stdev (30 Minute)</c:v>
                  </c:pt>
                  <c:pt idx="699">
                    <c:v>Rolling Stdev (30 Minute)</c:v>
                  </c:pt>
                  <c:pt idx="700">
                    <c:v>Rolling Stdev (30 Minute)</c:v>
                  </c:pt>
                  <c:pt idx="701">
                    <c:v>Rolling Stdev (30 Minute)</c:v>
                  </c:pt>
                  <c:pt idx="702">
                    <c:v>Rolling Stdev (30 Minute)</c:v>
                  </c:pt>
                  <c:pt idx="703">
                    <c:v>Rolling Stdev (30 Minute)</c:v>
                  </c:pt>
                  <c:pt idx="704">
                    <c:v>Rolling Stdev (30 Minute)</c:v>
                  </c:pt>
                  <c:pt idx="705">
                    <c:v>Rolling Stdev (30 Minute)</c:v>
                  </c:pt>
                  <c:pt idx="706">
                    <c:v>Rolling Stdev (30 Minute)</c:v>
                  </c:pt>
                  <c:pt idx="707">
                    <c:v>Rolling Stdev (30 Minute)</c:v>
                  </c:pt>
                  <c:pt idx="708">
                    <c:v>Rolling Stdev (30 Minute)</c:v>
                  </c:pt>
                  <c:pt idx="709">
                    <c:v>Rolling Stdev (30 Minute)</c:v>
                  </c:pt>
                  <c:pt idx="710">
                    <c:v>Rolling Stdev (30 Minute)</c:v>
                  </c:pt>
                  <c:pt idx="711">
                    <c:v>Rolling Stdev (30 Minute)</c:v>
                  </c:pt>
                  <c:pt idx="712">
                    <c:v>Rolling Stdev (30 Minute)</c:v>
                  </c:pt>
                  <c:pt idx="713">
                    <c:v>Rolling Stdev (30 Minute)</c:v>
                  </c:pt>
                  <c:pt idx="714">
                    <c:v>Rolling Stdev (30 Minute)</c:v>
                  </c:pt>
                  <c:pt idx="715">
                    <c:v>Rolling Stdev (30 Minute)</c:v>
                  </c:pt>
                  <c:pt idx="716">
                    <c:v>Rolling Stdev (30 Minute)</c:v>
                  </c:pt>
                  <c:pt idx="717">
                    <c:v>Rolling Stdev (30 Minute)</c:v>
                  </c:pt>
                  <c:pt idx="718">
                    <c:v>Rolling Stdev (30 Minute)</c:v>
                  </c:pt>
                  <c:pt idx="719">
                    <c:v>Rolling Stdev (30 Minute)</c:v>
                  </c:pt>
                  <c:pt idx="720">
                    <c:v>Rolling Stdev (30 Minute)</c:v>
                  </c:pt>
                  <c:pt idx="721">
                    <c:v>Rolling Stdev (30 Minute)</c:v>
                  </c:pt>
                  <c:pt idx="722">
                    <c:v>Rolling Stdev (30 Minute)</c:v>
                  </c:pt>
                  <c:pt idx="723">
                    <c:v>Rolling Stdev (30 Minute)</c:v>
                  </c:pt>
                  <c:pt idx="724">
                    <c:v>Rolling Stdev (30 Minute)</c:v>
                  </c:pt>
                  <c:pt idx="725">
                    <c:v>Rolling Stdev (30 Minute)</c:v>
                  </c:pt>
                  <c:pt idx="726">
                    <c:v>Rolling Stdev (30 Minute)</c:v>
                  </c:pt>
                  <c:pt idx="727">
                    <c:v>Rolling Stdev (30 Minute)</c:v>
                  </c:pt>
                  <c:pt idx="728">
                    <c:v>Rolling Stdev (30 Minute)</c:v>
                  </c:pt>
                  <c:pt idx="729">
                    <c:v>Rolling Stdev (30 Minute)</c:v>
                  </c:pt>
                  <c:pt idx="730">
                    <c:v>Rolling Stdev (30 Minute)</c:v>
                  </c:pt>
                  <c:pt idx="731">
                    <c:v>Rolling Stdev (30 Minute)</c:v>
                  </c:pt>
                  <c:pt idx="732">
                    <c:v>Rolling Stdev (30 Minute)</c:v>
                  </c:pt>
                  <c:pt idx="733">
                    <c:v>Rolling Stdev (30 Minute)</c:v>
                  </c:pt>
                  <c:pt idx="734">
                    <c:v>Rolling Stdev (30 Minute)</c:v>
                  </c:pt>
                  <c:pt idx="735">
                    <c:v>Rolling Stdev (30 Minute)</c:v>
                  </c:pt>
                  <c:pt idx="736">
                    <c:v>Rolling Stdev (30 Minute)</c:v>
                  </c:pt>
                  <c:pt idx="737">
                    <c:v>Rolling Stdev (30 Minute)</c:v>
                  </c:pt>
                  <c:pt idx="738">
                    <c:v>Rolling Stdev (30 Minute)</c:v>
                  </c:pt>
                  <c:pt idx="739">
                    <c:v>Rolling Stdev (30 Minute)</c:v>
                  </c:pt>
                  <c:pt idx="740">
                    <c:v>Rolling Stdev (30 Minute)</c:v>
                  </c:pt>
                  <c:pt idx="741">
                    <c:v>Rolling Stdev (30 Minute)</c:v>
                  </c:pt>
                  <c:pt idx="742">
                    <c:v>Rolling Stdev (30 Minute)</c:v>
                  </c:pt>
                  <c:pt idx="743">
                    <c:v>Rolling Stdev (30 Minute)</c:v>
                  </c:pt>
                  <c:pt idx="744">
                    <c:v>Rolling Stdev (30 Minute)</c:v>
                  </c:pt>
                  <c:pt idx="745">
                    <c:v>Rolling Stdev (30 Minute)</c:v>
                  </c:pt>
                  <c:pt idx="746">
                    <c:v>Rolling Stdev (30 Minute)</c:v>
                  </c:pt>
                  <c:pt idx="747">
                    <c:v>Rolling Stdev (30 Minute)</c:v>
                  </c:pt>
                  <c:pt idx="748">
                    <c:v>Rolling Stdev (30 Minute)</c:v>
                  </c:pt>
                  <c:pt idx="749">
                    <c:v>Rolling Stdev (30 Minute)</c:v>
                  </c:pt>
                  <c:pt idx="750">
                    <c:v>Rolling Stdev (30 Minute)</c:v>
                  </c:pt>
                  <c:pt idx="751">
                    <c:v>Rolling Stdev (30 Minute)</c:v>
                  </c:pt>
                  <c:pt idx="752">
                    <c:v>Rolling Stdev (30 Minute)</c:v>
                  </c:pt>
                  <c:pt idx="753">
                    <c:v>Rolling Stdev (30 Minute)</c:v>
                  </c:pt>
                  <c:pt idx="754">
                    <c:v>Rolling Stdev (30 Minute)</c:v>
                  </c:pt>
                  <c:pt idx="755">
                    <c:v>Rolling Stdev (30 Minute)</c:v>
                  </c:pt>
                  <c:pt idx="756">
                    <c:v>Rolling Stdev (30 Minute)</c:v>
                  </c:pt>
                  <c:pt idx="757">
                    <c:v>Rolling Stdev (30 Minute)</c:v>
                  </c:pt>
                  <c:pt idx="758">
                    <c:v>Rolling Stdev (30 Minute)</c:v>
                  </c:pt>
                  <c:pt idx="759">
                    <c:v>Rolling Stdev (30 Minute)</c:v>
                  </c:pt>
                  <c:pt idx="760">
                    <c:v>Rolling Stdev (30 Minute)</c:v>
                  </c:pt>
                  <c:pt idx="761">
                    <c:v>Rolling Stdev (30 Minute)</c:v>
                  </c:pt>
                  <c:pt idx="762">
                    <c:v>Rolling Stdev (30 Minute)</c:v>
                  </c:pt>
                  <c:pt idx="763">
                    <c:v>Rolling Stdev (30 Minute)</c:v>
                  </c:pt>
                  <c:pt idx="764">
                    <c:v>Rolling Stdev (30 Minute)</c:v>
                  </c:pt>
                  <c:pt idx="765">
                    <c:v>Rolling Stdev (30 Minute)</c:v>
                  </c:pt>
                  <c:pt idx="766">
                    <c:v>Rolling Stdev (30 Minute)</c:v>
                  </c:pt>
                  <c:pt idx="767">
                    <c:v>Rolling Stdev (30 Minute)</c:v>
                  </c:pt>
                  <c:pt idx="768">
                    <c:v>Rolling Stdev (30 Minute)</c:v>
                  </c:pt>
                  <c:pt idx="769">
                    <c:v>Rolling Stdev (30 Minute)</c:v>
                  </c:pt>
                  <c:pt idx="770">
                    <c:v>Rolling Stdev (30 Minute)</c:v>
                  </c:pt>
                  <c:pt idx="771">
                    <c:v>Rolling Stdev (30 Minute)</c:v>
                  </c:pt>
                  <c:pt idx="772">
                    <c:v>Rolling Stdev (30 Minute)</c:v>
                  </c:pt>
                  <c:pt idx="773">
                    <c:v>Rolling Stdev (30 Minute)</c:v>
                  </c:pt>
                  <c:pt idx="774">
                    <c:v>Rolling Stdev (30 Minute)</c:v>
                  </c:pt>
                  <c:pt idx="775">
                    <c:v>Rolling Stdev (30 Minute)</c:v>
                  </c:pt>
                  <c:pt idx="776">
                    <c:v>Rolling Stdev (30 Minute)</c:v>
                  </c:pt>
                  <c:pt idx="777">
                    <c:v>Rolling Stdev (30 Minute)</c:v>
                  </c:pt>
                  <c:pt idx="778">
                    <c:v>Rolling Stdev (30 Minute)</c:v>
                  </c:pt>
                  <c:pt idx="779">
                    <c:v>Rolling Stdev (30 Minute)</c:v>
                  </c:pt>
                  <c:pt idx="780">
                    <c:v>Rolling Stdev (30 Minute)</c:v>
                  </c:pt>
                  <c:pt idx="781">
                    <c:v>Rolling Stdev (30 Minute)</c:v>
                  </c:pt>
                  <c:pt idx="782">
                    <c:v>Rolling Stdev (30 Minute)</c:v>
                  </c:pt>
                  <c:pt idx="783">
                    <c:v>Rolling Stdev (30 Minute)</c:v>
                  </c:pt>
                  <c:pt idx="784">
                    <c:v>Rolling Stdev (30 Minute)</c:v>
                  </c:pt>
                  <c:pt idx="785">
                    <c:v>Rolling Stdev (30 Minute)</c:v>
                  </c:pt>
                  <c:pt idx="786">
                    <c:v>Rolling Stdev (30 Minute)</c:v>
                  </c:pt>
                  <c:pt idx="787">
                    <c:v>Rolling Stdev (30 Minute)</c:v>
                  </c:pt>
                  <c:pt idx="788">
                    <c:v>Rolling Stdev (30 Minute)</c:v>
                  </c:pt>
                  <c:pt idx="789">
                    <c:v>Rolling Stdev (30 Minute)</c:v>
                  </c:pt>
                  <c:pt idx="790">
                    <c:v>Rolling Stdev (30 Minute)</c:v>
                  </c:pt>
                  <c:pt idx="791">
                    <c:v>Rolling Stdev (30 Minute)</c:v>
                  </c:pt>
                  <c:pt idx="792">
                    <c:v>Rolling Stdev (30 Minute)</c:v>
                  </c:pt>
                  <c:pt idx="793">
                    <c:v>Rolling Stdev (30 Minute)</c:v>
                  </c:pt>
                  <c:pt idx="794">
                    <c:v>Rolling Stdev (30 Minute)</c:v>
                  </c:pt>
                  <c:pt idx="795">
                    <c:v>Rolling Stdev (30 Minute)</c:v>
                  </c:pt>
                  <c:pt idx="796">
                    <c:v>Rolling Stdev (30 Minute)</c:v>
                  </c:pt>
                  <c:pt idx="797">
                    <c:v>Rolling Stdev (30 Minute)</c:v>
                  </c:pt>
                  <c:pt idx="798">
                    <c:v>Rolling Stdev (30 Minute)</c:v>
                  </c:pt>
                  <c:pt idx="799">
                    <c:v>Rolling Stdev (30 Minute)</c:v>
                  </c:pt>
                  <c:pt idx="800">
                    <c:v>Rolling Stdev (30 Minute)</c:v>
                  </c:pt>
                  <c:pt idx="801">
                    <c:v>Rolling Stdev (30 Minute)</c:v>
                  </c:pt>
                  <c:pt idx="802">
                    <c:v>Rolling Stdev (30 Minute)</c:v>
                  </c:pt>
                  <c:pt idx="803">
                    <c:v>Rolling Stdev (30 Minute)</c:v>
                  </c:pt>
                  <c:pt idx="804">
                    <c:v>Rolling Stdev (30 Minute)</c:v>
                  </c:pt>
                  <c:pt idx="805">
                    <c:v>Rolling Stdev (30 Minute)</c:v>
                  </c:pt>
                  <c:pt idx="806">
                    <c:v>Rolling Stdev (30 Minute)</c:v>
                  </c:pt>
                  <c:pt idx="807">
                    <c:v>Rolling Stdev (30 Minute)</c:v>
                  </c:pt>
                  <c:pt idx="808">
                    <c:v>Rolling Stdev (30 Minute)</c:v>
                  </c:pt>
                  <c:pt idx="809">
                    <c:v>Rolling Stdev (30 Minute)</c:v>
                  </c:pt>
                  <c:pt idx="810">
                    <c:v>Rolling Stdev (30 Minute)</c:v>
                  </c:pt>
                  <c:pt idx="811">
                    <c:v>Rolling Stdev (30 Minute)</c:v>
                  </c:pt>
                  <c:pt idx="812">
                    <c:v>Rolling Stdev (30 Minute)</c:v>
                  </c:pt>
                  <c:pt idx="813">
                    <c:v>Rolling Stdev (30 Minute)</c:v>
                  </c:pt>
                  <c:pt idx="814">
                    <c:v>Rolling Stdev (30 Minute)</c:v>
                  </c:pt>
                  <c:pt idx="815">
                    <c:v>Rolling Stdev (30 Minute)</c:v>
                  </c:pt>
                  <c:pt idx="816">
                    <c:v>Rolling Stdev (30 Minute)</c:v>
                  </c:pt>
                  <c:pt idx="817">
                    <c:v>Rolling Stdev (30 Minute)</c:v>
                  </c:pt>
                  <c:pt idx="818">
                    <c:v>Rolling Stdev (30 Minute)</c:v>
                  </c:pt>
                  <c:pt idx="819">
                    <c:v>Rolling Stdev (30 Minute)</c:v>
                  </c:pt>
                  <c:pt idx="820">
                    <c:v>Rolling Stdev (30 Minute)</c:v>
                  </c:pt>
                  <c:pt idx="821">
                    <c:v>Rolling Stdev (30 Minute)</c:v>
                  </c:pt>
                  <c:pt idx="822">
                    <c:v>Rolling Stdev (30 Minute)</c:v>
                  </c:pt>
                  <c:pt idx="823">
                    <c:v>Rolling Stdev (30 Minute)</c:v>
                  </c:pt>
                  <c:pt idx="824">
                    <c:v>Rolling Stdev (30 Minute)</c:v>
                  </c:pt>
                  <c:pt idx="825">
                    <c:v>Rolling Stdev (30 Minute)</c:v>
                  </c:pt>
                  <c:pt idx="826">
                    <c:v>Rolling Stdev (30 Minute)</c:v>
                  </c:pt>
                  <c:pt idx="827">
                    <c:v>Rolling Stdev (30 Minute)</c:v>
                  </c:pt>
                  <c:pt idx="828">
                    <c:v>Rolling Stdev (30 Minute)</c:v>
                  </c:pt>
                  <c:pt idx="829">
                    <c:v>Rolling Stdev (30 Minute)</c:v>
                  </c:pt>
                  <c:pt idx="830">
                    <c:v>Rolling Stdev (30 Minute)</c:v>
                  </c:pt>
                  <c:pt idx="831">
                    <c:v>Rolling Stdev (30 Minute)</c:v>
                  </c:pt>
                  <c:pt idx="832">
                    <c:v>Rolling Stdev (30 Minute)</c:v>
                  </c:pt>
                  <c:pt idx="833">
                    <c:v>Rolling Stdev (30 Minute)</c:v>
                  </c:pt>
                  <c:pt idx="834">
                    <c:v>Rolling Stdev (30 Minute)</c:v>
                  </c:pt>
                  <c:pt idx="835">
                    <c:v>Rolling Stdev (30 Minute)</c:v>
                  </c:pt>
                  <c:pt idx="836">
                    <c:v>Rolling Stdev (30 Minute)</c:v>
                  </c:pt>
                  <c:pt idx="837">
                    <c:v>Rolling Stdev (30 Minute)</c:v>
                  </c:pt>
                  <c:pt idx="838">
                    <c:v>Rolling Stdev (30 Minute)</c:v>
                  </c:pt>
                  <c:pt idx="839">
                    <c:v>Rolling Stdev (30 Minute)</c:v>
                  </c:pt>
                  <c:pt idx="840">
                    <c:v>Rolling Stdev (30 Minute)</c:v>
                  </c:pt>
                  <c:pt idx="841">
                    <c:v>Rolling Stdev (30 Minute)</c:v>
                  </c:pt>
                  <c:pt idx="842">
                    <c:v>Rolling Stdev (30 Minute)</c:v>
                  </c:pt>
                  <c:pt idx="843">
                    <c:v>Rolling Stdev (30 Minute)</c:v>
                  </c:pt>
                  <c:pt idx="844">
                    <c:v>Rolling Stdev (30 Minute)</c:v>
                  </c:pt>
                  <c:pt idx="845">
                    <c:v>Rolling Stdev (30 Minute)</c:v>
                  </c:pt>
                  <c:pt idx="846">
                    <c:v>Rolling Stdev (30 Minute)</c:v>
                  </c:pt>
                  <c:pt idx="847">
                    <c:v>Rolling Stdev (30 Minute)</c:v>
                  </c:pt>
                  <c:pt idx="848">
                    <c:v>Rolling Stdev (30 Minute)</c:v>
                  </c:pt>
                  <c:pt idx="849">
                    <c:v>Rolling Stdev (30 Minute)</c:v>
                  </c:pt>
                  <c:pt idx="850">
                    <c:v>Rolling Stdev (30 Minute)</c:v>
                  </c:pt>
                  <c:pt idx="851">
                    <c:v>Rolling Stdev (30 Minute)</c:v>
                  </c:pt>
                  <c:pt idx="852">
                    <c:v>Rolling Stdev (30 Minute)</c:v>
                  </c:pt>
                  <c:pt idx="853">
                    <c:v>Rolling Stdev (30 Minute)</c:v>
                  </c:pt>
                  <c:pt idx="854">
                    <c:v>Rolling Stdev (30 Minute)</c:v>
                  </c:pt>
                  <c:pt idx="855">
                    <c:v>Rolling Stdev (30 Minute)</c:v>
                  </c:pt>
                  <c:pt idx="856">
                    <c:v>Rolling Stdev (30 Minute)</c:v>
                  </c:pt>
                  <c:pt idx="857">
                    <c:v>Rolling Stdev (30 Minute)</c:v>
                  </c:pt>
                  <c:pt idx="858">
                    <c:v>Rolling Stdev (30 Minute)</c:v>
                  </c:pt>
                  <c:pt idx="859">
                    <c:v>Rolling Stdev (30 Minute)</c:v>
                  </c:pt>
                  <c:pt idx="860">
                    <c:v>Rolling Stdev (30 Minute)</c:v>
                  </c:pt>
                  <c:pt idx="861">
                    <c:v>Rolling Stdev (30 Minute)</c:v>
                  </c:pt>
                  <c:pt idx="862">
                    <c:v>Rolling Stdev (30 Minute)</c:v>
                  </c:pt>
                  <c:pt idx="863">
                    <c:v>Rolling Stdev (30 Minute)</c:v>
                  </c:pt>
                  <c:pt idx="864">
                    <c:v>Rolling Stdev (30 Minute)</c:v>
                  </c:pt>
                  <c:pt idx="865">
                    <c:v>Rolling Stdev (30 Minute)</c:v>
                  </c:pt>
                  <c:pt idx="866">
                    <c:v>Rolling Stdev (30 Minute)</c:v>
                  </c:pt>
                  <c:pt idx="867">
                    <c:v>Rolling Stdev (30 Minute)</c:v>
                  </c:pt>
                  <c:pt idx="868">
                    <c:v>Rolling Stdev (30 Minute)</c:v>
                  </c:pt>
                  <c:pt idx="869">
                    <c:v>Rolling Stdev (30 Minute)</c:v>
                  </c:pt>
                  <c:pt idx="870">
                    <c:v>Rolling Stdev (30 Minute)</c:v>
                  </c:pt>
                  <c:pt idx="871">
                    <c:v>Rolling Stdev (30 Minute)</c:v>
                  </c:pt>
                  <c:pt idx="872">
                    <c:v>Rolling Stdev (30 Minute)</c:v>
                  </c:pt>
                  <c:pt idx="873">
                    <c:v>Rolling Stdev (30 Minute)</c:v>
                  </c:pt>
                  <c:pt idx="874">
                    <c:v>Rolling Stdev (30 Minute)</c:v>
                  </c:pt>
                  <c:pt idx="875">
                    <c:v>Rolling Stdev (30 Minute)</c:v>
                  </c:pt>
                  <c:pt idx="876">
                    <c:v>Rolling Stdev (30 Minute)</c:v>
                  </c:pt>
                  <c:pt idx="877">
                    <c:v>Rolling Stdev (30 Minute)</c:v>
                  </c:pt>
                  <c:pt idx="878">
                    <c:v>Rolling Stdev (30 Minute)</c:v>
                  </c:pt>
                  <c:pt idx="879">
                    <c:v>Rolling Stdev (30 Minute)</c:v>
                  </c:pt>
                  <c:pt idx="880">
                    <c:v>Rolling Stdev (30 Minute)</c:v>
                  </c:pt>
                  <c:pt idx="881">
                    <c:v>Rolling Stdev (30 Minute)</c:v>
                  </c:pt>
                  <c:pt idx="882">
                    <c:v>Rolling Stdev (30 Minute)</c:v>
                  </c:pt>
                  <c:pt idx="883">
                    <c:v>Rolling Stdev (30 Minute)</c:v>
                  </c:pt>
                  <c:pt idx="884">
                    <c:v>Rolling Stdev (30 Minute)</c:v>
                  </c:pt>
                  <c:pt idx="885">
                    <c:v>Rolling Stdev (30 Minute)</c:v>
                  </c:pt>
                  <c:pt idx="886">
                    <c:v>Rolling Stdev (30 Minute)</c:v>
                  </c:pt>
                  <c:pt idx="887">
                    <c:v>Rolling Stdev (30 Minute)</c:v>
                  </c:pt>
                  <c:pt idx="888">
                    <c:v>Rolling Stdev (30 Minute)</c:v>
                  </c:pt>
                  <c:pt idx="889">
                    <c:v>Rolling Stdev (30 Minute)</c:v>
                  </c:pt>
                  <c:pt idx="890">
                    <c:v>Rolling Stdev (30 Minute)</c:v>
                  </c:pt>
                  <c:pt idx="891">
                    <c:v>Rolling Stdev (30 Minute)</c:v>
                  </c:pt>
                  <c:pt idx="892">
                    <c:v>Rolling Stdev (30 Minute)</c:v>
                  </c:pt>
                  <c:pt idx="893">
                    <c:v>Rolling Stdev (30 Minute)</c:v>
                  </c:pt>
                  <c:pt idx="894">
                    <c:v>Rolling Stdev (30 Minute)</c:v>
                  </c:pt>
                  <c:pt idx="895">
                    <c:v>Rolling Stdev (30 Minute)</c:v>
                  </c:pt>
                  <c:pt idx="896">
                    <c:v>Rolling Stdev (30 Minute)</c:v>
                  </c:pt>
                  <c:pt idx="897">
                    <c:v>Rolling Stdev (30 Minute)</c:v>
                  </c:pt>
                  <c:pt idx="898">
                    <c:v>Rolling Stdev (30 Minute)</c:v>
                  </c:pt>
                  <c:pt idx="899">
                    <c:v>Rolling Stdev (30 Minute)</c:v>
                  </c:pt>
                  <c:pt idx="900">
                    <c:v>Rolling Stdev (30 Minute)</c:v>
                  </c:pt>
                  <c:pt idx="901">
                    <c:v>Rolling Stdev (30 Minute)</c:v>
                  </c:pt>
                  <c:pt idx="902">
                    <c:v>Rolling Stdev (30 Minute)</c:v>
                  </c:pt>
                  <c:pt idx="903">
                    <c:v>Rolling Stdev (30 Minute)</c:v>
                  </c:pt>
                  <c:pt idx="904">
                    <c:v>Rolling Stdev (30 Minute)</c:v>
                  </c:pt>
                  <c:pt idx="905">
                    <c:v>Rolling Stdev (30 Minute)</c:v>
                  </c:pt>
                  <c:pt idx="906">
                    <c:v>Rolling Stdev (30 Minute)</c:v>
                  </c:pt>
                  <c:pt idx="907">
                    <c:v>Rolling Stdev (30 Minute)</c:v>
                  </c:pt>
                  <c:pt idx="908">
                    <c:v>Rolling Stdev (30 Minute)</c:v>
                  </c:pt>
                  <c:pt idx="909">
                    <c:v>Rolling Stdev (30 Minute)</c:v>
                  </c:pt>
                  <c:pt idx="910">
                    <c:v>Rolling Stdev (30 Minute)</c:v>
                  </c:pt>
                  <c:pt idx="911">
                    <c:v>Rolling Stdev (30 Minute)</c:v>
                  </c:pt>
                  <c:pt idx="912">
                    <c:v>Rolling Stdev (30 Minute)</c:v>
                  </c:pt>
                  <c:pt idx="913">
                    <c:v>Rolling Stdev (30 Minute)</c:v>
                  </c:pt>
                  <c:pt idx="914">
                    <c:v>Rolling Stdev (30 Minute)</c:v>
                  </c:pt>
                  <c:pt idx="915">
                    <c:v>Rolling Stdev (30 Minute)</c:v>
                  </c:pt>
                  <c:pt idx="916">
                    <c:v>Rolling Stdev (30 Minute)</c:v>
                  </c:pt>
                  <c:pt idx="917">
                    <c:v>Rolling Stdev (30 Minute)</c:v>
                  </c:pt>
                  <c:pt idx="918">
                    <c:v>Rolling Stdev (30 Minute)</c:v>
                  </c:pt>
                  <c:pt idx="919">
                    <c:v>Rolling Stdev (30 Minute)</c:v>
                  </c:pt>
                  <c:pt idx="920">
                    <c:v>Rolling Stdev (30 Minute)</c:v>
                  </c:pt>
                  <c:pt idx="921">
                    <c:v>Rolling Stdev (30 Minute)</c:v>
                  </c:pt>
                  <c:pt idx="922">
                    <c:v>Rolling Stdev (30 Minute)</c:v>
                  </c:pt>
                  <c:pt idx="923">
                    <c:v>Rolling Stdev (30 Minute)</c:v>
                  </c:pt>
                  <c:pt idx="924">
                    <c:v>Rolling Stdev (30 Minute)</c:v>
                  </c:pt>
                  <c:pt idx="925">
                    <c:v>Rolling Stdev (30 Minute)</c:v>
                  </c:pt>
                  <c:pt idx="926">
                    <c:v>Rolling Stdev (30 Minute)</c:v>
                  </c:pt>
                  <c:pt idx="927">
                    <c:v>Rolling Stdev (30 Minute)</c:v>
                  </c:pt>
                  <c:pt idx="928">
                    <c:v>Rolling Stdev (30 Minute)</c:v>
                  </c:pt>
                  <c:pt idx="929">
                    <c:v>Rolling Stdev (30 Minute)</c:v>
                  </c:pt>
                  <c:pt idx="930">
                    <c:v>Rolling Stdev (30 Minute)</c:v>
                  </c:pt>
                  <c:pt idx="931">
                    <c:v>Rolling Stdev (30 Minute)</c:v>
                  </c:pt>
                  <c:pt idx="932">
                    <c:v>Rolling Stdev (30 Minute)</c:v>
                  </c:pt>
                  <c:pt idx="933">
                    <c:v>Rolling Stdev (30 Minute)</c:v>
                  </c:pt>
                  <c:pt idx="934">
                    <c:v>Rolling Stdev (30 Minute)</c:v>
                  </c:pt>
                  <c:pt idx="935">
                    <c:v>Rolling Stdev (30 Minute)</c:v>
                  </c:pt>
                  <c:pt idx="936">
                    <c:v>Rolling Stdev (30 Minute)</c:v>
                  </c:pt>
                  <c:pt idx="937">
                    <c:v>Rolling Stdev (30 Minute)</c:v>
                  </c:pt>
                  <c:pt idx="938">
                    <c:v>Rolling Stdev (30 Minute)</c:v>
                  </c:pt>
                  <c:pt idx="939">
                    <c:v>Rolling Stdev (30 Minute)</c:v>
                  </c:pt>
                  <c:pt idx="940">
                    <c:v>Rolling Stdev (30 Minute)</c:v>
                  </c:pt>
                  <c:pt idx="941">
                    <c:v>Rolling Stdev (30 Minute)</c:v>
                  </c:pt>
                  <c:pt idx="942">
                    <c:v>Rolling Stdev (30 Minute)</c:v>
                  </c:pt>
                  <c:pt idx="943">
                    <c:v>Rolling Stdev (30 Minute)</c:v>
                  </c:pt>
                  <c:pt idx="944">
                    <c:v>Rolling Stdev (30 Minute)</c:v>
                  </c:pt>
                  <c:pt idx="945">
                    <c:v>Rolling Stdev (30 Minute)</c:v>
                  </c:pt>
                  <c:pt idx="946">
                    <c:v>Rolling Stdev (30 Minute)</c:v>
                  </c:pt>
                  <c:pt idx="947">
                    <c:v>Rolling Stdev (30 Minute)</c:v>
                  </c:pt>
                  <c:pt idx="948">
                    <c:v>Rolling Stdev (30 Minute)</c:v>
                  </c:pt>
                  <c:pt idx="949">
                    <c:v>Rolling Stdev (30 Minute)</c:v>
                  </c:pt>
                  <c:pt idx="950">
                    <c:v>Rolling Stdev (30 Minute)</c:v>
                  </c:pt>
                  <c:pt idx="951">
                    <c:v>Rolling Stdev (30 Minute)</c:v>
                  </c:pt>
                  <c:pt idx="952">
                    <c:v>Rolling Stdev (30 Minute)</c:v>
                  </c:pt>
                  <c:pt idx="953">
                    <c:v>Rolling Stdev (30 Minute)</c:v>
                  </c:pt>
                  <c:pt idx="954">
                    <c:v>Rolling Stdev (30 Minute)</c:v>
                  </c:pt>
                  <c:pt idx="955">
                    <c:v>Rolling Stdev (30 Minute)</c:v>
                  </c:pt>
                  <c:pt idx="956">
                    <c:v>Rolling Stdev (30 Minute)</c:v>
                  </c:pt>
                  <c:pt idx="957">
                    <c:v>Rolling Stdev (30 Minute)</c:v>
                  </c:pt>
                  <c:pt idx="958">
                    <c:v>Rolling Stdev (30 Minute)</c:v>
                  </c:pt>
                  <c:pt idx="959">
                    <c:v>Rolling Stdev (30 Minute)</c:v>
                  </c:pt>
                  <c:pt idx="960">
                    <c:v>Rolling Stdev (30 Minute)</c:v>
                  </c:pt>
                  <c:pt idx="961">
                    <c:v>Rolling Stdev (30 Minute)</c:v>
                  </c:pt>
                  <c:pt idx="962">
                    <c:v>Rolling Stdev (30 Minute)</c:v>
                  </c:pt>
                  <c:pt idx="963">
                    <c:v>Rolling Stdev (30 Minute)</c:v>
                  </c:pt>
                  <c:pt idx="964">
                    <c:v>Rolling Stdev (30 Minute)</c:v>
                  </c:pt>
                  <c:pt idx="965">
                    <c:v>Rolling Stdev (30 Minute)</c:v>
                  </c:pt>
                  <c:pt idx="966">
                    <c:v>Rolling Stdev (30 Minute)</c:v>
                  </c:pt>
                  <c:pt idx="967">
                    <c:v>Rolling Stdev (30 Minute)</c:v>
                  </c:pt>
                  <c:pt idx="968">
                    <c:v>Rolling Stdev (30 Minute)</c:v>
                  </c:pt>
                  <c:pt idx="969">
                    <c:v>Rolling Stdev (30 Minute)</c:v>
                  </c:pt>
                  <c:pt idx="970">
                    <c:v>Rolling Stdev (30 Minute)</c:v>
                  </c:pt>
                  <c:pt idx="971">
                    <c:v>Rolling Stdev (30 Minute)</c:v>
                  </c:pt>
                  <c:pt idx="972">
                    <c:v>Rolling Stdev (30 Minute)</c:v>
                  </c:pt>
                  <c:pt idx="973">
                    <c:v>Rolling Stdev (30 Minute)</c:v>
                  </c:pt>
                  <c:pt idx="974">
                    <c:v>Rolling Stdev (30 Minute)</c:v>
                  </c:pt>
                  <c:pt idx="975">
                    <c:v>Rolling Stdev (30 Minute)</c:v>
                  </c:pt>
                  <c:pt idx="976">
                    <c:v>Rolling Stdev (30 Minute)</c:v>
                  </c:pt>
                  <c:pt idx="977">
                    <c:v>Rolling Stdev (30 Minute)</c:v>
                  </c:pt>
                  <c:pt idx="978">
                    <c:v>Rolling Stdev (30 Minute)</c:v>
                  </c:pt>
                  <c:pt idx="979">
                    <c:v>Rolling Stdev (30 Minute)</c:v>
                  </c:pt>
                  <c:pt idx="980">
                    <c:v>Rolling Stdev (30 Minute)</c:v>
                  </c:pt>
                  <c:pt idx="981">
                    <c:v>Rolling Stdev (30 Minute)</c:v>
                  </c:pt>
                  <c:pt idx="982">
                    <c:v>Rolling Stdev (30 Minute)</c:v>
                  </c:pt>
                  <c:pt idx="983">
                    <c:v>Rolling Stdev (30 Minute)</c:v>
                  </c:pt>
                  <c:pt idx="984">
                    <c:v>Rolling Stdev (30 Minute)</c:v>
                  </c:pt>
                  <c:pt idx="985">
                    <c:v>Rolling Stdev (30 Minute)</c:v>
                  </c:pt>
                  <c:pt idx="986">
                    <c:v>Rolling Stdev (30 Minute)</c:v>
                  </c:pt>
                  <c:pt idx="987">
                    <c:v>Rolling Stdev (30 Minute)</c:v>
                  </c:pt>
                  <c:pt idx="988">
                    <c:v>Rolling Stdev (30 Minute)</c:v>
                  </c:pt>
                  <c:pt idx="989">
                    <c:v>Rolling Stdev (30 Minute)</c:v>
                  </c:pt>
                  <c:pt idx="990">
                    <c:v>Rolling Stdev (30 Minute)</c:v>
                  </c:pt>
                  <c:pt idx="991">
                    <c:v>Rolling Stdev (30 Minute)</c:v>
                  </c:pt>
                  <c:pt idx="992">
                    <c:v>Rolling Stdev (30 Minute)</c:v>
                  </c:pt>
                  <c:pt idx="993">
                    <c:v>Rolling Stdev (30 Minute)</c:v>
                  </c:pt>
                  <c:pt idx="994">
                    <c:v>Rolling Stdev (30 Minute)</c:v>
                  </c:pt>
                  <c:pt idx="995">
                    <c:v>Rolling Stdev (30 Minute)</c:v>
                  </c:pt>
                  <c:pt idx="996">
                    <c:v>Rolling Stdev (30 Minute)</c:v>
                  </c:pt>
                  <c:pt idx="997">
                    <c:v>Rolling Stdev (30 Minute)</c:v>
                  </c:pt>
                  <c:pt idx="998">
                    <c:v>Rolling Stdev (30 Minute)</c:v>
                  </c:pt>
                  <c:pt idx="999">
                    <c:v>Rolling Stdev (30 Minute)</c:v>
                  </c:pt>
                  <c:pt idx="1000">
                    <c:v>Rolling Stdev (30 Minute)</c:v>
                  </c:pt>
                  <c:pt idx="1001">
                    <c:v>Rolling Stdev (30 Minute)</c:v>
                  </c:pt>
                  <c:pt idx="1002">
                    <c:v>Rolling Stdev (30 Minute)</c:v>
                  </c:pt>
                  <c:pt idx="1003">
                    <c:v>Rolling Stdev (30 Minute)</c:v>
                  </c:pt>
                  <c:pt idx="1004">
                    <c:v>Rolling Stdev (30 Minute)</c:v>
                  </c:pt>
                  <c:pt idx="1005">
                    <c:v>Rolling Stdev (30 Minute)</c:v>
                  </c:pt>
                  <c:pt idx="1006">
                    <c:v>Rolling Stdev (30 Minute)</c:v>
                  </c:pt>
                  <c:pt idx="1007">
                    <c:v>Rolling Stdev (30 Minute)</c:v>
                  </c:pt>
                  <c:pt idx="1008">
                    <c:v>Rolling Stdev (30 Minute)</c:v>
                  </c:pt>
                  <c:pt idx="1009">
                    <c:v>Rolling Stdev (30 Minute)</c:v>
                  </c:pt>
                  <c:pt idx="1010">
                    <c:v>Rolling Stdev (30 Minute)</c:v>
                  </c:pt>
                  <c:pt idx="1011">
                    <c:v>Rolling Stdev (30 Minute)</c:v>
                  </c:pt>
                  <c:pt idx="1012">
                    <c:v>Rolling Stdev (30 Minute)</c:v>
                  </c:pt>
                  <c:pt idx="1013">
                    <c:v>Rolling Stdev (30 Minute)</c:v>
                  </c:pt>
                  <c:pt idx="1014">
                    <c:v>Rolling Stdev (30 Minute)</c:v>
                  </c:pt>
                  <c:pt idx="1015">
                    <c:v>Rolling Stdev (30 Minute)</c:v>
                  </c:pt>
                  <c:pt idx="1016">
                    <c:v>Rolling Stdev (30 Minute)</c:v>
                  </c:pt>
                  <c:pt idx="1017">
                    <c:v>Rolling Stdev (30 Minute)</c:v>
                  </c:pt>
                  <c:pt idx="1018">
                    <c:v>Rolling Stdev (30 Minute)</c:v>
                  </c:pt>
                  <c:pt idx="1019">
                    <c:v>Rolling Stdev (30 Minute)</c:v>
                  </c:pt>
                  <c:pt idx="1020">
                    <c:v>Rolling Stdev (30 Minute)</c:v>
                  </c:pt>
                  <c:pt idx="1021">
                    <c:v>Rolling Stdev (30 Minute)</c:v>
                  </c:pt>
                  <c:pt idx="1022">
                    <c:v>Rolling Stdev (30 Minute)</c:v>
                  </c:pt>
                  <c:pt idx="1023">
                    <c:v>Rolling Stdev (30 Minute)</c:v>
                  </c:pt>
                  <c:pt idx="1024">
                    <c:v>Rolling Stdev (30 Minute)</c:v>
                  </c:pt>
                  <c:pt idx="1025">
                    <c:v>Rolling Stdev (30 Minute)</c:v>
                  </c:pt>
                  <c:pt idx="1026">
                    <c:v>Rolling Stdev (30 Minute)</c:v>
                  </c:pt>
                  <c:pt idx="1027">
                    <c:v>Rolling Stdev (30 Minute)</c:v>
                  </c:pt>
                  <c:pt idx="1028">
                    <c:v>Rolling Stdev (30 Minute)</c:v>
                  </c:pt>
                  <c:pt idx="1029">
                    <c:v>Rolling Stdev (30 Minute)</c:v>
                  </c:pt>
                  <c:pt idx="1030">
                    <c:v>Rolling Stdev (30 Minute)</c:v>
                  </c:pt>
                  <c:pt idx="1031">
                    <c:v>Rolling Stdev (30 Minute)</c:v>
                  </c:pt>
                  <c:pt idx="1032">
                    <c:v>Rolling Stdev (30 Minute)</c:v>
                  </c:pt>
                  <c:pt idx="1033">
                    <c:v>Rolling Stdev (30 Minute)</c:v>
                  </c:pt>
                  <c:pt idx="1034">
                    <c:v>Rolling Stdev (30 Minute)</c:v>
                  </c:pt>
                  <c:pt idx="1035">
                    <c:v>Rolling Stdev (30 Minute)</c:v>
                  </c:pt>
                  <c:pt idx="1036">
                    <c:v>Rolling Stdev (30 Minute)</c:v>
                  </c:pt>
                  <c:pt idx="1037">
                    <c:v>Rolling Stdev (30 Minute)</c:v>
                  </c:pt>
                  <c:pt idx="1038">
                    <c:v>Rolling Stdev (30 Minute)</c:v>
                  </c:pt>
                  <c:pt idx="1039">
                    <c:v>Rolling Stdev (30 Minute)</c:v>
                  </c:pt>
                  <c:pt idx="1040">
                    <c:v>Rolling Stdev (30 Minute)</c:v>
                  </c:pt>
                  <c:pt idx="1041">
                    <c:v>Rolling Stdev (30 Minute)</c:v>
                  </c:pt>
                  <c:pt idx="1042">
                    <c:v>Rolling Stdev (30 Minute)</c:v>
                  </c:pt>
                  <c:pt idx="1043">
                    <c:v>Rolling Stdev (30 Minute)</c:v>
                  </c:pt>
                  <c:pt idx="1044">
                    <c:v>Rolling Stdev (30 Minute)</c:v>
                  </c:pt>
                  <c:pt idx="1045">
                    <c:v>Rolling Stdev (30 Minute)</c:v>
                  </c:pt>
                  <c:pt idx="1046">
                    <c:v>Rolling Stdev (30 Minute)</c:v>
                  </c:pt>
                  <c:pt idx="1047">
                    <c:v>Rolling Stdev (30 Minute)</c:v>
                  </c:pt>
                  <c:pt idx="1048">
                    <c:v>Rolling Stdev (30 Minute)</c:v>
                  </c:pt>
                  <c:pt idx="1049">
                    <c:v>Rolling Stdev (30 Minute)</c:v>
                  </c:pt>
                  <c:pt idx="1050">
                    <c:v>Rolling Stdev (30 Minute)</c:v>
                  </c:pt>
                  <c:pt idx="1051">
                    <c:v>Rolling Stdev (30 Minute)</c:v>
                  </c:pt>
                  <c:pt idx="1052">
                    <c:v>Rolling Stdev (30 Minute)</c:v>
                  </c:pt>
                  <c:pt idx="1053">
                    <c:v>Rolling Stdev (30 Minute)</c:v>
                  </c:pt>
                  <c:pt idx="1054">
                    <c:v>Rolling Stdev (30 Minute)</c:v>
                  </c:pt>
                  <c:pt idx="1055">
                    <c:v>Rolling Stdev (30 Minute)</c:v>
                  </c:pt>
                  <c:pt idx="1056">
                    <c:v>Rolling Stdev (30 Minute)</c:v>
                  </c:pt>
                  <c:pt idx="1057">
                    <c:v>Rolling Stdev (30 Minute)</c:v>
                  </c:pt>
                  <c:pt idx="1058">
                    <c:v>Rolling Stdev (30 Minute)</c:v>
                  </c:pt>
                  <c:pt idx="1059">
                    <c:v>Rolling Stdev (30 Minute)</c:v>
                  </c:pt>
                  <c:pt idx="1060">
                    <c:v>Rolling Stdev (30 Minute)</c:v>
                  </c:pt>
                  <c:pt idx="1061">
                    <c:v>Rolling Stdev (30 Minute)</c:v>
                  </c:pt>
                  <c:pt idx="1062">
                    <c:v>Rolling Stdev (30 Minute)</c:v>
                  </c:pt>
                  <c:pt idx="1063">
                    <c:v>Rolling Stdev (30 Minute)</c:v>
                  </c:pt>
                  <c:pt idx="1064">
                    <c:v>Rolling Stdev (30 Minute)</c:v>
                  </c:pt>
                  <c:pt idx="1065">
                    <c:v>Rolling Stdev (30 Minute)</c:v>
                  </c:pt>
                  <c:pt idx="1066">
                    <c:v>Rolling Stdev (30 Minute)</c:v>
                  </c:pt>
                  <c:pt idx="1067">
                    <c:v>Rolling Stdev (30 Minute)</c:v>
                  </c:pt>
                  <c:pt idx="1068">
                    <c:v>Rolling Stdev (30 Minute)</c:v>
                  </c:pt>
                  <c:pt idx="1069">
                    <c:v>Rolling Stdev (30 Minute)</c:v>
                  </c:pt>
                  <c:pt idx="1070">
                    <c:v>Rolling Stdev (30 Minute)</c:v>
                  </c:pt>
                  <c:pt idx="1071">
                    <c:v>Rolling Stdev (30 Minute)</c:v>
                  </c:pt>
                  <c:pt idx="1072">
                    <c:v>Rolling Stdev (30 Minute)</c:v>
                  </c:pt>
                  <c:pt idx="1073">
                    <c:v>Rolling Stdev (30 Minute)</c:v>
                  </c:pt>
                  <c:pt idx="1074">
                    <c:v>Rolling Stdev (30 Minute)</c:v>
                  </c:pt>
                  <c:pt idx="1075">
                    <c:v>Rolling Stdev (30 Minute)</c:v>
                  </c:pt>
                  <c:pt idx="1076">
                    <c:v>Rolling Stdev (30 Minute)</c:v>
                  </c:pt>
                  <c:pt idx="1077">
                    <c:v>Rolling Stdev (30 Minute)</c:v>
                  </c:pt>
                  <c:pt idx="1078">
                    <c:v>Rolling Stdev (30 Minute)</c:v>
                  </c:pt>
                  <c:pt idx="1079">
                    <c:v>Rolling Stdev (30 Minute)</c:v>
                  </c:pt>
                  <c:pt idx="1080">
                    <c:v>Rolling Stdev (30 Minute)</c:v>
                  </c:pt>
                  <c:pt idx="1081">
                    <c:v>Rolling Stdev (30 Minute)</c:v>
                  </c:pt>
                  <c:pt idx="1082">
                    <c:v>Rolling Stdev (30 Minute)</c:v>
                  </c:pt>
                  <c:pt idx="1083">
                    <c:v>Rolling Stdev (30 Minute)</c:v>
                  </c:pt>
                  <c:pt idx="1084">
                    <c:v>Rolling Stdev (30 Minute)</c:v>
                  </c:pt>
                  <c:pt idx="1085">
                    <c:v>Rolling Stdev (30 Minute)</c:v>
                  </c:pt>
                  <c:pt idx="1086">
                    <c:v>Rolling Stdev (30 Minute)</c:v>
                  </c:pt>
                  <c:pt idx="1087">
                    <c:v>Rolling Stdev (30 Minute)</c:v>
                  </c:pt>
                  <c:pt idx="1088">
                    <c:v>Rolling Stdev (30 Minute)</c:v>
                  </c:pt>
                  <c:pt idx="1089">
                    <c:v>Rolling Stdev (30 Minute)</c:v>
                  </c:pt>
                  <c:pt idx="1090">
                    <c:v>Rolling Stdev (30 Minute)</c:v>
                  </c:pt>
                  <c:pt idx="1091">
                    <c:v>Rolling Stdev (30 Minute)</c:v>
                  </c:pt>
                  <c:pt idx="1092">
                    <c:v>Rolling Stdev (30 Minute)</c:v>
                  </c:pt>
                  <c:pt idx="1093">
                    <c:v>Rolling Stdev (30 Minute)</c:v>
                  </c:pt>
                  <c:pt idx="1094">
                    <c:v>Rolling Stdev (30 Minute)</c:v>
                  </c:pt>
                  <c:pt idx="1095">
                    <c:v>Rolling Stdev (30 Minute)</c:v>
                  </c:pt>
                  <c:pt idx="1096">
                    <c:v>Rolling Stdev (30 Minute)</c:v>
                  </c:pt>
                  <c:pt idx="1097">
                    <c:v>Rolling Stdev (30 Minute)</c:v>
                  </c:pt>
                  <c:pt idx="1098">
                    <c:v>Rolling Stdev (30 Minute)</c:v>
                  </c:pt>
                  <c:pt idx="1099">
                    <c:v>Rolling Stdev (30 Minute)</c:v>
                  </c:pt>
                  <c:pt idx="1100">
                    <c:v>Rolling Stdev (30 Minute)</c:v>
                  </c:pt>
                  <c:pt idx="1101">
                    <c:v>Rolling Stdev (30 Minute)</c:v>
                  </c:pt>
                  <c:pt idx="1102">
                    <c:v>Rolling Stdev (30 Minute)</c:v>
                  </c:pt>
                  <c:pt idx="1103">
                    <c:v>Rolling Stdev (30 Minute)</c:v>
                  </c:pt>
                  <c:pt idx="1104">
                    <c:v>Rolling Stdev (30 Minute)</c:v>
                  </c:pt>
                  <c:pt idx="1105">
                    <c:v>Rolling Stdev (30 Minute)</c:v>
                  </c:pt>
                  <c:pt idx="1106">
                    <c:v>Rolling Stdev (30 Minute)</c:v>
                  </c:pt>
                  <c:pt idx="1107">
                    <c:v>Rolling Stdev (30 Minute)</c:v>
                  </c:pt>
                  <c:pt idx="1108">
                    <c:v>Rolling Stdev (30 Minute)</c:v>
                  </c:pt>
                  <c:pt idx="1109">
                    <c:v>Rolling Stdev (30 Minute)</c:v>
                  </c:pt>
                  <c:pt idx="1110">
                    <c:v>Rolling Stdev (30 Minute)</c:v>
                  </c:pt>
                  <c:pt idx="1111">
                    <c:v>Rolling Stdev (30 Minute)</c:v>
                  </c:pt>
                  <c:pt idx="1112">
                    <c:v>Rolling Stdev (30 Minute)</c:v>
                  </c:pt>
                  <c:pt idx="1113">
                    <c:v>Rolling Stdev (30 Minute)</c:v>
                  </c:pt>
                  <c:pt idx="1114">
                    <c:v>Rolling Stdev (30 Minute)</c:v>
                  </c:pt>
                  <c:pt idx="1115">
                    <c:v>Rolling Stdev (30 Minute)</c:v>
                  </c:pt>
                  <c:pt idx="1116">
                    <c:v>Rolling Stdev (30 Minute)</c:v>
                  </c:pt>
                  <c:pt idx="1117">
                    <c:v>Rolling Stdev (30 Minute)</c:v>
                  </c:pt>
                  <c:pt idx="1118">
                    <c:v>Rolling Stdev (30 Minute)</c:v>
                  </c:pt>
                  <c:pt idx="1119">
                    <c:v>Rolling Stdev (30 Minute)</c:v>
                  </c:pt>
                  <c:pt idx="1120">
                    <c:v>Rolling Stdev (30 Minute)</c:v>
                  </c:pt>
                  <c:pt idx="1121">
                    <c:v>Rolling Stdev (30 Minute)</c:v>
                  </c:pt>
                  <c:pt idx="1122">
                    <c:v>Rolling Stdev (30 Minute)</c:v>
                  </c:pt>
                  <c:pt idx="1123">
                    <c:v>Rolling Stdev (30 Minute)</c:v>
                  </c:pt>
                  <c:pt idx="1124">
                    <c:v>Rolling Stdev (30 Minute)</c:v>
                  </c:pt>
                  <c:pt idx="1125">
                    <c:v>Rolling Stdev (30 Minute)</c:v>
                  </c:pt>
                  <c:pt idx="1126">
                    <c:v>Rolling Stdev (30 Minute)</c:v>
                  </c:pt>
                  <c:pt idx="1127">
                    <c:v>Rolling Stdev (30 Minute)</c:v>
                  </c:pt>
                  <c:pt idx="1128">
                    <c:v>Rolling Stdev (30 Minute)</c:v>
                  </c:pt>
                  <c:pt idx="1129">
                    <c:v>Rolling Stdev (30 Minute)</c:v>
                  </c:pt>
                  <c:pt idx="1130">
                    <c:v>Rolling Stdev (30 Minute)</c:v>
                  </c:pt>
                  <c:pt idx="1131">
                    <c:v>Rolling Stdev (30 Minute)</c:v>
                  </c:pt>
                  <c:pt idx="1132">
                    <c:v>Rolling Stdev (30 Minute)</c:v>
                  </c:pt>
                  <c:pt idx="1133">
                    <c:v>Rolling Stdev (30 Minute)</c:v>
                  </c:pt>
                  <c:pt idx="1134">
                    <c:v>Rolling Stdev (30 Minute)</c:v>
                  </c:pt>
                  <c:pt idx="1135">
                    <c:v>Rolling Stdev (30 Minute)</c:v>
                  </c:pt>
                  <c:pt idx="1136">
                    <c:v>Rolling Stdev (30 Minute)</c:v>
                  </c:pt>
                  <c:pt idx="1137">
                    <c:v>Rolling Stdev (30 Minute)</c:v>
                  </c:pt>
                  <c:pt idx="1138">
                    <c:v>Rolling Stdev (30 Minute)</c:v>
                  </c:pt>
                  <c:pt idx="1139">
                    <c:v>Rolling Stdev (30 Minute)</c:v>
                  </c:pt>
                  <c:pt idx="1140">
                    <c:v>Rolling Stdev (30 Minute)</c:v>
                  </c:pt>
                  <c:pt idx="1141">
                    <c:v>Rolling Stdev (30 Minute)</c:v>
                  </c:pt>
                  <c:pt idx="1142">
                    <c:v>Rolling Stdev (30 Minute)</c:v>
                  </c:pt>
                  <c:pt idx="1143">
                    <c:v>Rolling Stdev (30 Minute)</c:v>
                  </c:pt>
                  <c:pt idx="1144">
                    <c:v>Rolling Stdev (30 Minute)</c:v>
                  </c:pt>
                  <c:pt idx="1145">
                    <c:v>Rolling Stdev (30 Minute)</c:v>
                  </c:pt>
                  <c:pt idx="1146">
                    <c:v>Rolling Stdev (30 Minute)</c:v>
                  </c:pt>
                  <c:pt idx="1147">
                    <c:v>Rolling Stdev (30 Minute)</c:v>
                  </c:pt>
                  <c:pt idx="1148">
                    <c:v>Rolling Stdev (30 Minute)</c:v>
                  </c:pt>
                  <c:pt idx="1149">
                    <c:v>Rolling Stdev (30 Minute)</c:v>
                  </c:pt>
                  <c:pt idx="1150">
                    <c:v>Rolling Stdev (30 Minute)</c:v>
                  </c:pt>
                  <c:pt idx="1151">
                    <c:v>Rolling Stdev (30 Minute)</c:v>
                  </c:pt>
                  <c:pt idx="1152">
                    <c:v>Rolling Stdev (30 Minute)</c:v>
                  </c:pt>
                  <c:pt idx="1153">
                    <c:v>Rolling Stdev (30 Minute)</c:v>
                  </c:pt>
                  <c:pt idx="1154">
                    <c:v>Rolling Stdev (30 Minute)</c:v>
                  </c:pt>
                  <c:pt idx="1155">
                    <c:v>Rolling Stdev (30 Minute)</c:v>
                  </c:pt>
                  <c:pt idx="1156">
                    <c:v>Rolling Stdev (30 Minute)</c:v>
                  </c:pt>
                  <c:pt idx="1157">
                    <c:v>Rolling Stdev (30 Minute)</c:v>
                  </c:pt>
                  <c:pt idx="1158">
                    <c:v>Rolling Stdev (30 Minute)</c:v>
                  </c:pt>
                  <c:pt idx="1159">
                    <c:v>Rolling Stdev (30 Minute)</c:v>
                  </c:pt>
                  <c:pt idx="1160">
                    <c:v>Rolling Stdev (30 Minute)</c:v>
                  </c:pt>
                  <c:pt idx="1161">
                    <c:v>Rolling Stdev (30 Minute)</c:v>
                  </c:pt>
                  <c:pt idx="1162">
                    <c:v>Rolling Stdev (30 Minute)</c:v>
                  </c:pt>
                  <c:pt idx="1163">
                    <c:v>Rolling Stdev (30 Minute)</c:v>
                  </c:pt>
                  <c:pt idx="1164">
                    <c:v>Rolling Stdev (30 Minute)</c:v>
                  </c:pt>
                  <c:pt idx="1165">
                    <c:v>Rolling Stdev (30 Minute)</c:v>
                  </c:pt>
                  <c:pt idx="1166">
                    <c:v>Rolling Stdev (30 Minute)</c:v>
                  </c:pt>
                  <c:pt idx="1167">
                    <c:v>Rolling Stdev (30 Minute)</c:v>
                  </c:pt>
                  <c:pt idx="1168">
                    <c:v>Rolling Stdev (30 Minute)</c:v>
                  </c:pt>
                  <c:pt idx="1169">
                    <c:v>Rolling Stdev (30 Minute)</c:v>
                  </c:pt>
                  <c:pt idx="1170">
                    <c:v>Rolling Stdev (30 Minute)</c:v>
                  </c:pt>
                  <c:pt idx="1171">
                    <c:v>Rolling Stdev (30 Minute)</c:v>
                  </c:pt>
                  <c:pt idx="1172">
                    <c:v>Rolling Stdev (30 Minute)</c:v>
                  </c:pt>
                  <c:pt idx="1173">
                    <c:v>Rolling Stdev (30 Minute)</c:v>
                  </c:pt>
                  <c:pt idx="1174">
                    <c:v>Rolling Stdev (30 Minute)</c:v>
                  </c:pt>
                  <c:pt idx="1175">
                    <c:v>Rolling Stdev (30 Minute)</c:v>
                  </c:pt>
                  <c:pt idx="1176">
                    <c:v>Rolling Stdev (30 Minute)</c:v>
                  </c:pt>
                  <c:pt idx="1177">
                    <c:v>Rolling Stdev (30 Minute)</c:v>
                  </c:pt>
                  <c:pt idx="1178">
                    <c:v>Rolling Stdev (30 Minute)</c:v>
                  </c:pt>
                  <c:pt idx="1179">
                    <c:v>Rolling Stdev (30 Minute)</c:v>
                  </c:pt>
                  <c:pt idx="1180">
                    <c:v>Rolling Stdev (30 Minute)</c:v>
                  </c:pt>
                  <c:pt idx="1181">
                    <c:v>Rolling Stdev (30 Minute)</c:v>
                  </c:pt>
                  <c:pt idx="1182">
                    <c:v>Rolling Stdev (30 Minute)</c:v>
                  </c:pt>
                  <c:pt idx="1183">
                    <c:v>Rolling Stdev (30 Minute)</c:v>
                  </c:pt>
                  <c:pt idx="1184">
                    <c:v>Rolling Stdev (30 Minute)</c:v>
                  </c:pt>
                  <c:pt idx="1185">
                    <c:v>Rolling Stdev (30 Minute)</c:v>
                  </c:pt>
                  <c:pt idx="1186">
                    <c:v>Rolling Stdev (30 Minute)</c:v>
                  </c:pt>
                  <c:pt idx="1187">
                    <c:v>Rolling Stdev (30 Minute)</c:v>
                  </c:pt>
                  <c:pt idx="1188">
                    <c:v>Rolling Stdev (30 Minute)</c:v>
                  </c:pt>
                  <c:pt idx="1189">
                    <c:v>Rolling Stdev (30 Minute)</c:v>
                  </c:pt>
                  <c:pt idx="1190">
                    <c:v>Rolling Stdev (30 Minute)</c:v>
                  </c:pt>
                  <c:pt idx="1191">
                    <c:v>Rolling Stdev (30 Minute)</c:v>
                  </c:pt>
                  <c:pt idx="1192">
                    <c:v>Rolling Stdev (30 Minute)</c:v>
                  </c:pt>
                  <c:pt idx="1193">
                    <c:v>Rolling Stdev (30 Minute)</c:v>
                  </c:pt>
                  <c:pt idx="1194">
                    <c:v>Rolling Stdev (30 Minute)</c:v>
                  </c:pt>
                  <c:pt idx="1195">
                    <c:v>Rolling Stdev (30 Minute)</c:v>
                  </c:pt>
                  <c:pt idx="1196">
                    <c:v>Rolling Stdev (30 Minute)</c:v>
                  </c:pt>
                  <c:pt idx="1197">
                    <c:v>Rolling Stdev (30 Minute)</c:v>
                  </c:pt>
                  <c:pt idx="1198">
                    <c:v>Rolling Stdev (30 Minute)</c:v>
                  </c:pt>
                  <c:pt idx="1199">
                    <c:v>Rolling Stdev (30 Minute)</c:v>
                  </c:pt>
                  <c:pt idx="1200">
                    <c:v>Rolling Stdev (30 Minute)</c:v>
                  </c:pt>
                  <c:pt idx="1201">
                    <c:v>Rolling Stdev (30 Minute)</c:v>
                  </c:pt>
                  <c:pt idx="1202">
                    <c:v>Rolling Stdev (30 Minute)</c:v>
                  </c:pt>
                  <c:pt idx="1203">
                    <c:v>Rolling Stdev (30 Minute)</c:v>
                  </c:pt>
                  <c:pt idx="1204">
                    <c:v>Rolling Stdev (30 Minute)</c:v>
                  </c:pt>
                  <c:pt idx="1205">
                    <c:v>Rolling Stdev (30 Minute)</c:v>
                  </c:pt>
                  <c:pt idx="1206">
                    <c:v>Rolling Stdev (30 Minute)</c:v>
                  </c:pt>
                  <c:pt idx="1207">
                    <c:v>Rolling Stdev (30 Minute)</c:v>
                  </c:pt>
                  <c:pt idx="1208">
                    <c:v>Rolling Stdev (30 Minute)</c:v>
                  </c:pt>
                  <c:pt idx="1209">
                    <c:v>Rolling Stdev (30 Minute)</c:v>
                  </c:pt>
                  <c:pt idx="1210">
                    <c:v>Rolling Stdev (30 Minute)</c:v>
                  </c:pt>
                  <c:pt idx="1211">
                    <c:v>Rolling Stdev (30 Minute)</c:v>
                  </c:pt>
                  <c:pt idx="1212">
                    <c:v>Rolling Stdev (30 Minute)</c:v>
                  </c:pt>
                  <c:pt idx="1213">
                    <c:v>Rolling Stdev (30 Minute)</c:v>
                  </c:pt>
                  <c:pt idx="1214">
                    <c:v>Rolling Stdev (30 Minute)</c:v>
                  </c:pt>
                  <c:pt idx="1215">
                    <c:v>Rolling Stdev (30 Minute)</c:v>
                  </c:pt>
                  <c:pt idx="1216">
                    <c:v>Rolling Stdev (30 Minute)</c:v>
                  </c:pt>
                  <c:pt idx="1217">
                    <c:v>Rolling Stdev (30 Minute)</c:v>
                  </c:pt>
                  <c:pt idx="1218">
                    <c:v>Rolling Stdev (30 Minute)</c:v>
                  </c:pt>
                  <c:pt idx="1219">
                    <c:v>Rolling Stdev (30 Minute)</c:v>
                  </c:pt>
                  <c:pt idx="1220">
                    <c:v>Rolling Stdev (30 Minute)</c:v>
                  </c:pt>
                  <c:pt idx="1221">
                    <c:v>Rolling Stdev (30 Minute)</c:v>
                  </c:pt>
                  <c:pt idx="1222">
                    <c:v>Rolling Stdev (30 Minute)</c:v>
                  </c:pt>
                  <c:pt idx="1223">
                    <c:v>Rolling Stdev (30 Minute)</c:v>
                  </c:pt>
                  <c:pt idx="1224">
                    <c:v>Rolling Stdev (30 Minute)</c:v>
                  </c:pt>
                  <c:pt idx="1225">
                    <c:v>Rolling Stdev (30 Minute)</c:v>
                  </c:pt>
                  <c:pt idx="1226">
                    <c:v>Rolling Stdev (30 Minute)</c:v>
                  </c:pt>
                  <c:pt idx="1227">
                    <c:v>Rolling Stdev (30 Minute)</c:v>
                  </c:pt>
                  <c:pt idx="1228">
                    <c:v>Rolling Stdev (30 Minute)</c:v>
                  </c:pt>
                  <c:pt idx="1229">
                    <c:v>Rolling Stdev (30 Minute)</c:v>
                  </c:pt>
                  <c:pt idx="1230">
                    <c:v>Rolling Stdev (30 Minute)</c:v>
                  </c:pt>
                  <c:pt idx="1231">
                    <c:v>Rolling Stdev (30 Minute)</c:v>
                  </c:pt>
                  <c:pt idx="1232">
                    <c:v>Rolling Stdev (30 Minute)</c:v>
                  </c:pt>
                  <c:pt idx="1233">
                    <c:v>Rolling Stdev (30 Minute)</c:v>
                  </c:pt>
                  <c:pt idx="1234">
                    <c:v>Rolling Stdev (30 Minute)</c:v>
                  </c:pt>
                  <c:pt idx="1235">
                    <c:v>Rolling Stdev (30 Minute)</c:v>
                  </c:pt>
                  <c:pt idx="1236">
                    <c:v>Rolling Stdev (30 Minute)</c:v>
                  </c:pt>
                  <c:pt idx="1237">
                    <c:v>Rolling Stdev (30 Minute)</c:v>
                  </c:pt>
                  <c:pt idx="1238">
                    <c:v>Rolling Stdev (30 Minute)</c:v>
                  </c:pt>
                  <c:pt idx="1239">
                    <c:v>Rolling Stdev (30 Minute)</c:v>
                  </c:pt>
                  <c:pt idx="1240">
                    <c:v>Rolling Stdev (30 Minute)</c:v>
                  </c:pt>
                  <c:pt idx="1241">
                    <c:v>Rolling Stdev (30 Minute)</c:v>
                  </c:pt>
                  <c:pt idx="1242">
                    <c:v>Rolling Stdev (30 Minute)</c:v>
                  </c:pt>
                  <c:pt idx="1243">
                    <c:v>Rolling Stdev (30 Minute)</c:v>
                  </c:pt>
                  <c:pt idx="1244">
                    <c:v>Rolling Stdev (30 Minute)</c:v>
                  </c:pt>
                  <c:pt idx="1245">
                    <c:v>Rolling Stdev (30 Minute)</c:v>
                  </c:pt>
                  <c:pt idx="1246">
                    <c:v>Rolling Stdev (30 Minute)</c:v>
                  </c:pt>
                  <c:pt idx="1247">
                    <c:v>Rolling Stdev (30 Minute)</c:v>
                  </c:pt>
                  <c:pt idx="1248">
                    <c:v>Rolling Stdev (30 Minute)</c:v>
                  </c:pt>
                  <c:pt idx="1249">
                    <c:v>Rolling Stdev (30 Minute)</c:v>
                  </c:pt>
                  <c:pt idx="1250">
                    <c:v>Rolling Stdev (30 Minute)</c:v>
                  </c:pt>
                  <c:pt idx="1251">
                    <c:v>Rolling Stdev (30 Minute)</c:v>
                  </c:pt>
                  <c:pt idx="1252">
                    <c:v>Rolling Stdev (30 Minute)</c:v>
                  </c:pt>
                  <c:pt idx="1253">
                    <c:v>Rolling Stdev (30 Minute)</c:v>
                  </c:pt>
                  <c:pt idx="1254">
                    <c:v>Rolling Stdev (30 Minute)</c:v>
                  </c:pt>
                  <c:pt idx="1255">
                    <c:v>Rolling Stdev (30 Minute)</c:v>
                  </c:pt>
                  <c:pt idx="1256">
                    <c:v>Rolling Stdev (30 Minute)</c:v>
                  </c:pt>
                  <c:pt idx="1257">
                    <c:v>Rolling Stdev (30 Minute)</c:v>
                  </c:pt>
                  <c:pt idx="1258">
                    <c:v>Rolling Stdev (30 Minute)</c:v>
                  </c:pt>
                  <c:pt idx="1259">
                    <c:v>Rolling Stdev (30 Minute)</c:v>
                  </c:pt>
                  <c:pt idx="1260">
                    <c:v>Rolling Stdev (30 Minute)</c:v>
                  </c:pt>
                  <c:pt idx="1261">
                    <c:v>Rolling Stdev (30 Minute)</c:v>
                  </c:pt>
                  <c:pt idx="1262">
                    <c:v>Rolling Stdev (30 Minute)</c:v>
                  </c:pt>
                  <c:pt idx="1263">
                    <c:v>Rolling Stdev (30 Minute)</c:v>
                  </c:pt>
                  <c:pt idx="1264">
                    <c:v>Rolling Stdev (30 Minute)</c:v>
                  </c:pt>
                  <c:pt idx="1265">
                    <c:v>Rolling Stdev (30 Minute)</c:v>
                  </c:pt>
                  <c:pt idx="1266">
                    <c:v>Rolling Stdev (30 Minute)</c:v>
                  </c:pt>
                  <c:pt idx="1267">
                    <c:v>Rolling Stdev (30 Minute)</c:v>
                  </c:pt>
                  <c:pt idx="1268">
                    <c:v>Rolling Stdev (30 Minute)</c:v>
                  </c:pt>
                  <c:pt idx="1269">
                    <c:v>Rolling Stdev (30 Minute)</c:v>
                  </c:pt>
                  <c:pt idx="1270">
                    <c:v>Rolling Stdev (30 Minute)</c:v>
                  </c:pt>
                  <c:pt idx="1271">
                    <c:v>Rolling Stdev (30 Minute)</c:v>
                  </c:pt>
                  <c:pt idx="1272">
                    <c:v>Rolling Stdev (30 Minute)</c:v>
                  </c:pt>
                  <c:pt idx="1273">
                    <c:v>Rolling Stdev (30 Minute)</c:v>
                  </c:pt>
                  <c:pt idx="1274">
                    <c:v>Rolling Stdev (30 Minute)</c:v>
                  </c:pt>
                  <c:pt idx="1275">
                    <c:v>Rolling Stdev (30 Minute)</c:v>
                  </c:pt>
                  <c:pt idx="1276">
                    <c:v>Rolling Stdev (30 Minute)</c:v>
                  </c:pt>
                  <c:pt idx="1277">
                    <c:v>Rolling Stdev (30 Minute)</c:v>
                  </c:pt>
                  <c:pt idx="1278">
                    <c:v>Rolling Stdev (30 Minute)</c:v>
                  </c:pt>
                  <c:pt idx="1279">
                    <c:v>Rolling Stdev (30 Minute)</c:v>
                  </c:pt>
                  <c:pt idx="1280">
                    <c:v>Rolling Stdev (30 Minute)</c:v>
                  </c:pt>
                  <c:pt idx="1281">
                    <c:v>Rolling Stdev (30 Minute)</c:v>
                  </c:pt>
                  <c:pt idx="1282">
                    <c:v>Rolling Stdev (30 Minute)</c:v>
                  </c:pt>
                  <c:pt idx="1283">
                    <c:v>Rolling Stdev (30 Minute)</c:v>
                  </c:pt>
                  <c:pt idx="1284">
                    <c:v>Rolling Stdev (30 Minute)</c:v>
                  </c:pt>
                  <c:pt idx="1285">
                    <c:v>Rolling Stdev (30 Minute)</c:v>
                  </c:pt>
                  <c:pt idx="1286">
                    <c:v>Rolling Stdev (30 Minute)</c:v>
                  </c:pt>
                  <c:pt idx="1287">
                    <c:v>Rolling Stdev (30 Minute)</c:v>
                  </c:pt>
                  <c:pt idx="1288">
                    <c:v>Rolling Stdev (30 Minute)</c:v>
                  </c:pt>
                  <c:pt idx="1289">
                    <c:v>Rolling Stdev (30 Minute)</c:v>
                  </c:pt>
                  <c:pt idx="1290">
                    <c:v>Rolling Stdev (30 Minute)</c:v>
                  </c:pt>
                  <c:pt idx="1291">
                    <c:v>Rolling Stdev (30 Minute)</c:v>
                  </c:pt>
                  <c:pt idx="1292">
                    <c:v>Rolling Stdev (30 Minute)</c:v>
                  </c:pt>
                  <c:pt idx="1293">
                    <c:v>Rolling Stdev (30 Minute)</c:v>
                  </c:pt>
                  <c:pt idx="1294">
                    <c:v>Rolling Stdev (30 Minute)</c:v>
                  </c:pt>
                  <c:pt idx="1295">
                    <c:v>Rolling Stdev (30 Minute)</c:v>
                  </c:pt>
                  <c:pt idx="1296">
                    <c:v>Rolling Stdev (30 Minute)</c:v>
                  </c:pt>
                  <c:pt idx="1297">
                    <c:v>Rolling Stdev (30 Minute)</c:v>
                  </c:pt>
                  <c:pt idx="1298">
                    <c:v>Rolling Stdev (30 Minute)</c:v>
                  </c:pt>
                  <c:pt idx="1299">
                    <c:v>Rolling Stdev (30 Minute)</c:v>
                  </c:pt>
                  <c:pt idx="1300">
                    <c:v>Rolling Stdev (30 Minute)</c:v>
                  </c:pt>
                  <c:pt idx="1301">
                    <c:v>Rolling Stdev (30 Minute)</c:v>
                  </c:pt>
                  <c:pt idx="1302">
                    <c:v>Rolling Stdev (30 Minute)</c:v>
                  </c:pt>
                  <c:pt idx="1303">
                    <c:v>Rolling Stdev (30 Minute)</c:v>
                  </c:pt>
                  <c:pt idx="1304">
                    <c:v>Rolling Stdev (30 Minute)</c:v>
                  </c:pt>
                  <c:pt idx="1305">
                    <c:v>Rolling Stdev (30 Minute)</c:v>
                  </c:pt>
                  <c:pt idx="1306">
                    <c:v>Rolling Stdev (30 Minute)</c:v>
                  </c:pt>
                  <c:pt idx="1307">
                    <c:v>Rolling Stdev (30 Minute)</c:v>
                  </c:pt>
                  <c:pt idx="1308">
                    <c:v>Rolling Stdev (30 Minute)</c:v>
                  </c:pt>
                  <c:pt idx="1309">
                    <c:v>Rolling Stdev (30 Minute)</c:v>
                  </c:pt>
                  <c:pt idx="1310">
                    <c:v>Rolling Stdev (30 Minute)</c:v>
                  </c:pt>
                  <c:pt idx="1311">
                    <c:v>Rolling Stdev (30 Minute)</c:v>
                  </c:pt>
                  <c:pt idx="1312">
                    <c:v>Rolling Stdev (30 Minute)</c:v>
                  </c:pt>
                  <c:pt idx="1313">
                    <c:v>Rolling Stdev (30 Minute)</c:v>
                  </c:pt>
                  <c:pt idx="1314">
                    <c:v>Rolling Stdev (30 Minute)</c:v>
                  </c:pt>
                  <c:pt idx="1315">
                    <c:v>Rolling Stdev (30 Minute)</c:v>
                  </c:pt>
                  <c:pt idx="1316">
                    <c:v>Rolling Stdev (30 Minute)</c:v>
                  </c:pt>
                  <c:pt idx="1317">
                    <c:v>Rolling Stdev (30 Minute)</c:v>
                  </c:pt>
                  <c:pt idx="1318">
                    <c:v>Rolling Stdev (30 Minute)</c:v>
                  </c:pt>
                  <c:pt idx="1319">
                    <c:v>Rolling Stdev (30 Minute)</c:v>
                  </c:pt>
                  <c:pt idx="1320">
                    <c:v>Rolling Stdev (30 Minute)</c:v>
                  </c:pt>
                  <c:pt idx="1321">
                    <c:v>Rolling Stdev (30 Minute)</c:v>
                  </c:pt>
                  <c:pt idx="1322">
                    <c:v>Rolling Stdev (30 Minute)</c:v>
                  </c:pt>
                  <c:pt idx="1323">
                    <c:v>Rolling Stdev (30 Minute)</c:v>
                  </c:pt>
                  <c:pt idx="1324">
                    <c:v>Rolling Stdev (30 Minute)</c:v>
                  </c:pt>
                  <c:pt idx="1325">
                    <c:v>Rolling Stdev (30 Minute)</c:v>
                  </c:pt>
                  <c:pt idx="1326">
                    <c:v>Rolling Stdev (30 Minute)</c:v>
                  </c:pt>
                  <c:pt idx="1327">
                    <c:v>Rolling Stdev (30 Minute)</c:v>
                  </c:pt>
                  <c:pt idx="1328">
                    <c:v>Rolling Stdev (30 Minute)</c:v>
                  </c:pt>
                  <c:pt idx="1329">
                    <c:v>Rolling Stdev (30 Minute)</c:v>
                  </c:pt>
                  <c:pt idx="1330">
                    <c:v>Rolling Stdev (30 Minute)</c:v>
                  </c:pt>
                  <c:pt idx="1331">
                    <c:v>Rolling Stdev (30 Minute)</c:v>
                  </c:pt>
                  <c:pt idx="1332">
                    <c:v>Rolling Stdev (30 Minute)</c:v>
                  </c:pt>
                  <c:pt idx="1333">
                    <c:v>Rolling Stdev (30 Minute)</c:v>
                  </c:pt>
                  <c:pt idx="1334">
                    <c:v>Rolling Stdev (30 Minute)</c:v>
                  </c:pt>
                  <c:pt idx="1335">
                    <c:v>Rolling Stdev (30 Minute)</c:v>
                  </c:pt>
                  <c:pt idx="1336">
                    <c:v>Rolling Stdev (30 Minute)</c:v>
                  </c:pt>
                  <c:pt idx="1337">
                    <c:v>Rolling Stdev (30 Minute)</c:v>
                  </c:pt>
                  <c:pt idx="1338">
                    <c:v>Rolling Stdev (30 Minute)</c:v>
                  </c:pt>
                  <c:pt idx="1339">
                    <c:v>Rolling Stdev (30 Minute)</c:v>
                  </c:pt>
                  <c:pt idx="1340">
                    <c:v>Rolling Stdev (30 Minute)</c:v>
                  </c:pt>
                  <c:pt idx="1341">
                    <c:v>Rolling Stdev (30 Minute)</c:v>
                  </c:pt>
                  <c:pt idx="1342">
                    <c:v>Rolling Stdev (30 Minute)</c:v>
                  </c:pt>
                  <c:pt idx="1343">
                    <c:v>Rolling Stdev (30 Minute)</c:v>
                  </c:pt>
                  <c:pt idx="1344">
                    <c:v>Rolling Stdev (30 Minute)</c:v>
                  </c:pt>
                  <c:pt idx="1345">
                    <c:v>Rolling Stdev (30 Minute)</c:v>
                  </c:pt>
                  <c:pt idx="1346">
                    <c:v>Rolling Stdev (30 Minute)</c:v>
                  </c:pt>
                  <c:pt idx="1347">
                    <c:v>Rolling Stdev (30 Minute)</c:v>
                  </c:pt>
                  <c:pt idx="1348">
                    <c:v>Rolling Stdev (30 Minute)</c:v>
                  </c:pt>
                  <c:pt idx="1349">
                    <c:v>Rolling Stdev (30 Minute)</c:v>
                  </c:pt>
                  <c:pt idx="1350">
                    <c:v>Rolling Stdev (30 Minute)</c:v>
                  </c:pt>
                  <c:pt idx="1351">
                    <c:v>Rolling Stdev (30 Minute)</c:v>
                  </c:pt>
                  <c:pt idx="1352">
                    <c:v>Rolling Stdev (30 Minute)</c:v>
                  </c:pt>
                  <c:pt idx="1353">
                    <c:v>Rolling Stdev (30 Minute)</c:v>
                  </c:pt>
                  <c:pt idx="1354">
                    <c:v>Rolling Stdev (30 Minute)</c:v>
                  </c:pt>
                  <c:pt idx="1355">
                    <c:v>Rolling Stdev (30 Minute)</c:v>
                  </c:pt>
                  <c:pt idx="1356">
                    <c:v>Rolling Stdev (30 Minute)</c:v>
                  </c:pt>
                  <c:pt idx="1357">
                    <c:v>Rolling Stdev (30 Minute)</c:v>
                  </c:pt>
                  <c:pt idx="1358">
                    <c:v>Rolling Stdev (30 Minute)</c:v>
                  </c:pt>
                  <c:pt idx="1359">
                    <c:v>Rolling Stdev (30 Minute)</c:v>
                  </c:pt>
                  <c:pt idx="1360">
                    <c:v>Rolling Stdev (30 Minute)</c:v>
                  </c:pt>
                  <c:pt idx="1361">
                    <c:v>Rolling Stdev (30 Minute)</c:v>
                  </c:pt>
                  <c:pt idx="1362">
                    <c:v>Rolling Stdev (30 Minute)</c:v>
                  </c:pt>
                  <c:pt idx="1363">
                    <c:v>Rolling Stdev (30 Minute)</c:v>
                  </c:pt>
                  <c:pt idx="1364">
                    <c:v>Rolling Stdev (30 Minute)</c:v>
                  </c:pt>
                  <c:pt idx="1365">
                    <c:v>Rolling Stdev (30 Minute)</c:v>
                  </c:pt>
                  <c:pt idx="1366">
                    <c:v>Rolling Stdev (30 Minute)</c:v>
                  </c:pt>
                  <c:pt idx="1367">
                    <c:v>Rolling Stdev (30 Minute)</c:v>
                  </c:pt>
                  <c:pt idx="1368">
                    <c:v>Rolling Stdev (30 Minute)</c:v>
                  </c:pt>
                  <c:pt idx="1369">
                    <c:v>Rolling Stdev (30 Minute)</c:v>
                  </c:pt>
                  <c:pt idx="1370">
                    <c:v>Rolling Stdev (30 Minute)</c:v>
                  </c:pt>
                  <c:pt idx="1371">
                    <c:v>Rolling Stdev (30 Minute)</c:v>
                  </c:pt>
                  <c:pt idx="1372">
                    <c:v>Rolling Stdev (30 Minute)</c:v>
                  </c:pt>
                  <c:pt idx="1373">
                    <c:v>Rolling Stdev (30 Minute)</c:v>
                  </c:pt>
                  <c:pt idx="1374">
                    <c:v>Rolling Stdev (30 Minute)</c:v>
                  </c:pt>
                  <c:pt idx="1375">
                    <c:v>Rolling Stdev (30 Minute)</c:v>
                  </c:pt>
                  <c:pt idx="1376">
                    <c:v>Rolling Stdev (30 Minute)</c:v>
                  </c:pt>
                  <c:pt idx="1377">
                    <c:v>Rolling Stdev (30 Minute)</c:v>
                  </c:pt>
                  <c:pt idx="1378">
                    <c:v>Rolling Stdev (30 Minute)</c:v>
                  </c:pt>
                  <c:pt idx="1379">
                    <c:v>Rolling Stdev (30 Minute)</c:v>
                  </c:pt>
                  <c:pt idx="1380">
                    <c:v>Rolling Stdev (30 Minute)</c:v>
                  </c:pt>
                  <c:pt idx="1381">
                    <c:v>Rolling Stdev (30 Minute)</c:v>
                  </c:pt>
                  <c:pt idx="1382">
                    <c:v>Rolling Stdev (30 Minute)</c:v>
                  </c:pt>
                  <c:pt idx="1383">
                    <c:v>Rolling Stdev (30 Minute)</c:v>
                  </c:pt>
                  <c:pt idx="1384">
                    <c:v>Rolling Stdev (30 Minute)</c:v>
                  </c:pt>
                  <c:pt idx="1385">
                    <c:v>Rolling Stdev (30 Minute)</c:v>
                  </c:pt>
                  <c:pt idx="1386">
                    <c:v>Rolling Stdev (30 Minute)</c:v>
                  </c:pt>
                  <c:pt idx="1387">
                    <c:v>Rolling Stdev (30 Minute)</c:v>
                  </c:pt>
                  <c:pt idx="1388">
                    <c:v>Rolling Stdev (30 Minute)</c:v>
                  </c:pt>
                  <c:pt idx="1389">
                    <c:v>Rolling Stdev (30 Minute)</c:v>
                  </c:pt>
                  <c:pt idx="1390">
                    <c:v>Rolling Stdev (30 Minute)</c:v>
                  </c:pt>
                  <c:pt idx="1391">
                    <c:v>Rolling Stdev (30 Minute)</c:v>
                  </c:pt>
                  <c:pt idx="1392">
                    <c:v>Rolling Stdev (30 Minute)</c:v>
                  </c:pt>
                  <c:pt idx="1393">
                    <c:v>Rolling Stdev (30 Minute)</c:v>
                  </c:pt>
                  <c:pt idx="1394">
                    <c:v>Rolling Stdev (30 Minute)</c:v>
                  </c:pt>
                  <c:pt idx="1395">
                    <c:v>Rolling Stdev (30 Minute)</c:v>
                  </c:pt>
                  <c:pt idx="1396">
                    <c:v>Rolling Stdev (30 Minute)</c:v>
                  </c:pt>
                  <c:pt idx="1397">
                    <c:v>Rolling Stdev (30 Minute)</c:v>
                  </c:pt>
                  <c:pt idx="1398">
                    <c:v>Rolling Stdev (30 Minute)</c:v>
                  </c:pt>
                  <c:pt idx="1399">
                    <c:v>Rolling Stdev (30 Minute)</c:v>
                  </c:pt>
                  <c:pt idx="1400">
                    <c:v>Rolling Stdev (30 Minute)</c:v>
                  </c:pt>
                  <c:pt idx="1401">
                    <c:v>Rolling Stdev (30 Minute)</c:v>
                  </c:pt>
                  <c:pt idx="1402">
                    <c:v>Rolling Stdev (30 Minute)</c:v>
                  </c:pt>
                  <c:pt idx="1403">
                    <c:v>Rolling Stdev (30 Minute)</c:v>
                  </c:pt>
                  <c:pt idx="1404">
                    <c:v>Rolling Stdev (30 Minute)</c:v>
                  </c:pt>
                  <c:pt idx="1405">
                    <c:v>Rolling Stdev (30 Minute)</c:v>
                  </c:pt>
                  <c:pt idx="1406">
                    <c:v>Rolling Stdev (30 Minute)</c:v>
                  </c:pt>
                  <c:pt idx="1407">
                    <c:v>Rolling Stdev (30 Minute)</c:v>
                  </c:pt>
                  <c:pt idx="1408">
                    <c:v>Rolling Stdev (30 Minute)</c:v>
                  </c:pt>
                  <c:pt idx="1409">
                    <c:v>Rolling Stdev (30 Minute)</c:v>
                  </c:pt>
                  <c:pt idx="1410">
                    <c:v>Rolling Stdev (30 Minute)</c:v>
                  </c:pt>
                  <c:pt idx="1411">
                    <c:v>Rolling Stdev (30 Minute)</c:v>
                  </c:pt>
                  <c:pt idx="1412">
                    <c:v>Rolling Stdev (30 Minute)</c:v>
                  </c:pt>
                  <c:pt idx="1413">
                    <c:v>Rolling Stdev (30 Minute)</c:v>
                  </c:pt>
                  <c:pt idx="1414">
                    <c:v>Rolling Stdev (30 Minute)</c:v>
                  </c:pt>
                  <c:pt idx="1415">
                    <c:v>Rolling Stdev (30 Minute)</c:v>
                  </c:pt>
                  <c:pt idx="1416">
                    <c:v>Rolling Stdev (30 Minute)</c:v>
                  </c:pt>
                  <c:pt idx="1417">
                    <c:v>Rolling Stdev (30 Minute)</c:v>
                  </c:pt>
                  <c:pt idx="1418">
                    <c:v>Rolling Stdev (30 Minute)</c:v>
                  </c:pt>
                  <c:pt idx="1419">
                    <c:v>Rolling Stdev (30 Minute)</c:v>
                  </c:pt>
                  <c:pt idx="1420">
                    <c:v>Rolling Stdev (30 Minute)</c:v>
                  </c:pt>
                  <c:pt idx="1421">
                    <c:v>Rolling Stdev (30 Minute)</c:v>
                  </c:pt>
                  <c:pt idx="1422">
                    <c:v>Rolling Stdev (30 Minute)</c:v>
                  </c:pt>
                  <c:pt idx="1423">
                    <c:v>Rolling Stdev (30 Minute)</c:v>
                  </c:pt>
                  <c:pt idx="1424">
                    <c:v>Rolling Stdev (30 Minute)</c:v>
                  </c:pt>
                  <c:pt idx="1425">
                    <c:v>Rolling Stdev (30 Minute)</c:v>
                  </c:pt>
                  <c:pt idx="1426">
                    <c:v>Rolling Stdev (30 Minute)</c:v>
                  </c:pt>
                  <c:pt idx="1427">
                    <c:v>Rolling Stdev (30 Minute)</c:v>
                  </c:pt>
                  <c:pt idx="1428">
                    <c:v>Rolling Stdev (30 Minute)</c:v>
                  </c:pt>
                  <c:pt idx="1429">
                    <c:v>Rolling Stdev (30 Minute)</c:v>
                  </c:pt>
                  <c:pt idx="1430">
                    <c:v>Rolling Stdev (30 Minute)</c:v>
                  </c:pt>
                  <c:pt idx="1431">
                    <c:v>Rolling Stdev (30 Minute)</c:v>
                  </c:pt>
                  <c:pt idx="1432">
                    <c:v>Rolling Stdev (30 Minute)</c:v>
                  </c:pt>
                  <c:pt idx="1433">
                    <c:v>Rolling Stdev (30 Minute)</c:v>
                  </c:pt>
                  <c:pt idx="1434">
                    <c:v>Rolling Stdev (30 Minute)</c:v>
                  </c:pt>
                  <c:pt idx="1435">
                    <c:v>Rolling Stdev (30 Minute)</c:v>
                  </c:pt>
                  <c:pt idx="1436">
                    <c:v>Rolling Stdev (30 Minute)</c:v>
                  </c:pt>
                  <c:pt idx="1437">
                    <c:v>Rolling Stdev (30 Minute)</c:v>
                  </c:pt>
                  <c:pt idx="1438">
                    <c:v>Rolling Stdev (30 Minute)</c:v>
                  </c:pt>
                  <c:pt idx="1439">
                    <c:v>Rolling Stdev (30 Minute)</c:v>
                  </c:pt>
                  <c:pt idx="1440">
                    <c:v>Rolling Stdev (30 Minute)</c:v>
                  </c:pt>
                  <c:pt idx="1441">
                    <c:v>Rolling Stdev (30 Minute)</c:v>
                  </c:pt>
                  <c:pt idx="1442">
                    <c:v>Rolling Stdev (30 Minute)</c:v>
                  </c:pt>
                  <c:pt idx="1443">
                    <c:v>Rolling Stdev (30 Minute)</c:v>
                  </c:pt>
                  <c:pt idx="1444">
                    <c:v>Rolling Stdev (30 Minute)</c:v>
                  </c:pt>
                  <c:pt idx="1445">
                    <c:v>Rolling Stdev (30 Minute)</c:v>
                  </c:pt>
                  <c:pt idx="1446">
                    <c:v>Rolling Stdev (30 Minute)</c:v>
                  </c:pt>
                  <c:pt idx="1447">
                    <c:v>Rolling Stdev (30 Minute)</c:v>
                  </c:pt>
                  <c:pt idx="1448">
                    <c:v>Rolling Stdev (30 Minute)</c:v>
                  </c:pt>
                  <c:pt idx="1449">
                    <c:v>Rolling Stdev (30 Minute)</c:v>
                  </c:pt>
                  <c:pt idx="1450">
                    <c:v>Rolling Stdev (30 Minute)</c:v>
                  </c:pt>
                  <c:pt idx="1451">
                    <c:v>Rolling Stdev (30 Minute)</c:v>
                  </c:pt>
                  <c:pt idx="1452">
                    <c:v>Rolling Stdev (30 Minute)</c:v>
                  </c:pt>
                  <c:pt idx="1453">
                    <c:v>Rolling Stdev (30 Minute)</c:v>
                  </c:pt>
                  <c:pt idx="1454">
                    <c:v>Rolling Stdev (30 Minute)</c:v>
                  </c:pt>
                  <c:pt idx="1455">
                    <c:v>Rolling Stdev (30 Minute)</c:v>
                  </c:pt>
                  <c:pt idx="1456">
                    <c:v>Rolling Stdev (30 Minute)</c:v>
                  </c:pt>
                  <c:pt idx="1457">
                    <c:v>Rolling Stdev (30 Minute)</c:v>
                  </c:pt>
                  <c:pt idx="1458">
                    <c:v>Rolling Stdev (30 Minute)</c:v>
                  </c:pt>
                  <c:pt idx="1459">
                    <c:v>Rolling Stdev (30 Minute)</c:v>
                  </c:pt>
                  <c:pt idx="1460">
                    <c:v>Rolling Stdev (30 Minute)</c:v>
                  </c:pt>
                  <c:pt idx="1461">
                    <c:v>Rolling Stdev (30 Minute)</c:v>
                  </c:pt>
                  <c:pt idx="1462">
                    <c:v>Rolling Stdev (30 Minute)</c:v>
                  </c:pt>
                  <c:pt idx="1463">
                    <c:v>Rolling Stdev (30 Minute)</c:v>
                  </c:pt>
                  <c:pt idx="1464">
                    <c:v>Rolling Stdev (30 Minute)</c:v>
                  </c:pt>
                  <c:pt idx="1465">
                    <c:v>Rolling Stdev (30 Minute)</c:v>
                  </c:pt>
                  <c:pt idx="1466">
                    <c:v>Rolling Stdev (30 Minute)</c:v>
                  </c:pt>
                  <c:pt idx="1467">
                    <c:v>Rolling Stdev (30 Minute)</c:v>
                  </c:pt>
                  <c:pt idx="1468">
                    <c:v>Rolling Stdev (30 Minute)</c:v>
                  </c:pt>
                  <c:pt idx="1469">
                    <c:v>Rolling Stdev (30 Minute)</c:v>
                  </c:pt>
                  <c:pt idx="1470">
                    <c:v>Rolling Stdev (30 Minute)</c:v>
                  </c:pt>
                  <c:pt idx="1471">
                    <c:v>Rolling Stdev (30 Minute)</c:v>
                  </c:pt>
                  <c:pt idx="1472">
                    <c:v>Rolling Stdev (30 Minute)</c:v>
                  </c:pt>
                  <c:pt idx="1473">
                    <c:v>Rolling Stdev (30 Minute)</c:v>
                  </c:pt>
                  <c:pt idx="1474">
                    <c:v>Rolling Stdev (30 Minute)</c:v>
                  </c:pt>
                  <c:pt idx="1475">
                    <c:v>Rolling Stdev (30 Minute)</c:v>
                  </c:pt>
                  <c:pt idx="1476">
                    <c:v>Rolling Stdev (30 Minute)</c:v>
                  </c:pt>
                  <c:pt idx="1477">
                    <c:v>Rolling Stdev (30 Minute)</c:v>
                  </c:pt>
                  <c:pt idx="1478">
                    <c:v>Rolling Stdev (30 Minute)</c:v>
                  </c:pt>
                  <c:pt idx="1479">
                    <c:v>Rolling Stdev (30 Minute)</c:v>
                  </c:pt>
                  <c:pt idx="1480">
                    <c:v>Rolling Stdev (30 Minute)</c:v>
                  </c:pt>
                  <c:pt idx="1481">
                    <c:v>Rolling Stdev (30 Minute)</c:v>
                  </c:pt>
                  <c:pt idx="1482">
                    <c:v>Rolling Stdev (30 Minute)</c:v>
                  </c:pt>
                  <c:pt idx="1483">
                    <c:v>Rolling Stdev (30 Minute)</c:v>
                  </c:pt>
                  <c:pt idx="1484">
                    <c:v>Rolling Stdev (30 Minute)</c:v>
                  </c:pt>
                  <c:pt idx="1485">
                    <c:v>Rolling Stdev (30 Minute)</c:v>
                  </c:pt>
                  <c:pt idx="1486">
                    <c:v>Rolling Stdev (30 Minute)</c:v>
                  </c:pt>
                  <c:pt idx="1487">
                    <c:v>Rolling Stdev (30 Minute)</c:v>
                  </c:pt>
                  <c:pt idx="1488">
                    <c:v>Rolling Stdev (30 Minute)</c:v>
                  </c:pt>
                  <c:pt idx="1489">
                    <c:v>Rolling Stdev (30 Minute)</c:v>
                  </c:pt>
                  <c:pt idx="1490">
                    <c:v>Rolling Stdev (30 Minute)</c:v>
                  </c:pt>
                  <c:pt idx="1491">
                    <c:v>Rolling Stdev (30 Minute)</c:v>
                  </c:pt>
                  <c:pt idx="1492">
                    <c:v>Rolling Stdev (30 Minute)</c:v>
                  </c:pt>
                  <c:pt idx="1493">
                    <c:v>Rolling Stdev (30 Minute)</c:v>
                  </c:pt>
                  <c:pt idx="1494">
                    <c:v>Rolling Stdev (30 Minute)</c:v>
                  </c:pt>
                  <c:pt idx="1495">
                    <c:v>Rolling Stdev (30 Minute)</c:v>
                  </c:pt>
                  <c:pt idx="1496">
                    <c:v>Rolling Stdev (30 Minute)</c:v>
                  </c:pt>
                  <c:pt idx="1497">
                    <c:v>Rolling Stdev (30 Minute)</c:v>
                  </c:pt>
                  <c:pt idx="1498">
                    <c:v>Rolling Stdev (30 Minute)</c:v>
                  </c:pt>
                  <c:pt idx="1499">
                    <c:v>Rolling Stdev (30 Minute)</c:v>
                  </c:pt>
                  <c:pt idx="1500">
                    <c:v>Rolling Stdev (30 Minute)</c:v>
                  </c:pt>
                  <c:pt idx="1501">
                    <c:v>Rolling Stdev (30 Minute)</c:v>
                  </c:pt>
                  <c:pt idx="1502">
                    <c:v>Rolling Stdev (30 Minute)</c:v>
                  </c:pt>
                  <c:pt idx="1503">
                    <c:v>Rolling Stdev (30 Minute)</c:v>
                  </c:pt>
                  <c:pt idx="1504">
                    <c:v>Rolling Stdev (30 Minute)</c:v>
                  </c:pt>
                  <c:pt idx="1505">
                    <c:v>Rolling Stdev (30 Minute)</c:v>
                  </c:pt>
                  <c:pt idx="1506">
                    <c:v>Rolling Stdev (30 Minute)</c:v>
                  </c:pt>
                  <c:pt idx="1507">
                    <c:v>Rolling Stdev (30 Minute)</c:v>
                  </c:pt>
                  <c:pt idx="1508">
                    <c:v>Rolling Stdev (30 Minute)</c:v>
                  </c:pt>
                  <c:pt idx="1509">
                    <c:v>Rolling Stdev (30 Minute)</c:v>
                  </c:pt>
                  <c:pt idx="1510">
                    <c:v>Rolling Stdev (30 Minute)</c:v>
                  </c:pt>
                  <c:pt idx="1511">
                    <c:v>Rolling Stdev (30 Minute)</c:v>
                  </c:pt>
                  <c:pt idx="1512">
                    <c:v>Rolling Stdev (30 Minute)</c:v>
                  </c:pt>
                  <c:pt idx="1513">
                    <c:v>Rolling Stdev (30 Minute)</c:v>
                  </c:pt>
                  <c:pt idx="1514">
                    <c:v>Rolling Stdev (30 Minute)</c:v>
                  </c:pt>
                  <c:pt idx="1515">
                    <c:v>Rolling Stdev (30 Minute)</c:v>
                  </c:pt>
                  <c:pt idx="1516">
                    <c:v>Rolling Stdev (30 Minute)</c:v>
                  </c:pt>
                  <c:pt idx="1517">
                    <c:v>Rolling Stdev (30 Minute)</c:v>
                  </c:pt>
                  <c:pt idx="1518">
                    <c:v>Rolling Stdev (30 Minute)</c:v>
                  </c:pt>
                  <c:pt idx="1519">
                    <c:v>Rolling Stdev (30 Minute)</c:v>
                  </c:pt>
                  <c:pt idx="1520">
                    <c:v>Rolling Stdev (30 Minute)</c:v>
                  </c:pt>
                  <c:pt idx="1521">
                    <c:v>Rolling Stdev (30 Minute)</c:v>
                  </c:pt>
                  <c:pt idx="1522">
                    <c:v>Rolling Stdev (30 Minute)</c:v>
                  </c:pt>
                  <c:pt idx="1523">
                    <c:v>Rolling Stdev (30 Minute)</c:v>
                  </c:pt>
                  <c:pt idx="1524">
                    <c:v>Rolling Stdev (30 Minute)</c:v>
                  </c:pt>
                  <c:pt idx="1525">
                    <c:v>Rolling Stdev (30 Minute)</c:v>
                  </c:pt>
                  <c:pt idx="1526">
                    <c:v>Rolling Stdev (30 Minute)</c:v>
                  </c:pt>
                  <c:pt idx="1527">
                    <c:v>Rolling Stdev (30 Minute)</c:v>
                  </c:pt>
                  <c:pt idx="1528">
                    <c:v>Rolling Stdev (30 Minute)</c:v>
                  </c:pt>
                  <c:pt idx="1529">
                    <c:v>Rolling Stdev (30 Minute)</c:v>
                  </c:pt>
                  <c:pt idx="1530">
                    <c:v>Rolling Stdev (30 Minute)</c:v>
                  </c:pt>
                  <c:pt idx="1531">
                    <c:v>Rolling Stdev (30 Minute)</c:v>
                  </c:pt>
                  <c:pt idx="1532">
                    <c:v>Rolling Stdev (30 Minute)</c:v>
                  </c:pt>
                  <c:pt idx="1533">
                    <c:v>Rolling Stdev (30 Minute)</c:v>
                  </c:pt>
                  <c:pt idx="1534">
                    <c:v>Rolling Stdev (30 Minute)</c:v>
                  </c:pt>
                  <c:pt idx="1535">
                    <c:v>Rolling Stdev (30 Minute)</c:v>
                  </c:pt>
                  <c:pt idx="1536">
                    <c:v>Rolling Stdev (30 Minute)</c:v>
                  </c:pt>
                  <c:pt idx="1537">
                    <c:v>Rolling Stdev (30 Minute)</c:v>
                  </c:pt>
                  <c:pt idx="1538">
                    <c:v>Rolling Stdev (30 Minute)</c:v>
                  </c:pt>
                  <c:pt idx="1539">
                    <c:v>Rolling Stdev (30 Minute)</c:v>
                  </c:pt>
                  <c:pt idx="1540">
                    <c:v>Rolling Stdev (30 Minute)</c:v>
                  </c:pt>
                  <c:pt idx="1541">
                    <c:v>Rolling Stdev (30 Minute)</c:v>
                  </c:pt>
                  <c:pt idx="1542">
                    <c:v>Rolling Stdev (30 Minute)</c:v>
                  </c:pt>
                  <c:pt idx="1543">
                    <c:v>Rolling Stdev (30 Minute)</c:v>
                  </c:pt>
                  <c:pt idx="1544">
                    <c:v>Rolling Stdev (30 Minute)</c:v>
                  </c:pt>
                  <c:pt idx="1545">
                    <c:v>Rolling Stdev (30 Minute)</c:v>
                  </c:pt>
                  <c:pt idx="1546">
                    <c:v>Rolling Stdev (30 Minute)</c:v>
                  </c:pt>
                  <c:pt idx="1547">
                    <c:v>Rolling Stdev (30 Minute)</c:v>
                  </c:pt>
                  <c:pt idx="1548">
                    <c:v>Rolling Stdev (30 Minute)</c:v>
                  </c:pt>
                  <c:pt idx="1549">
                    <c:v>Rolling Stdev (30 Minute)</c:v>
                  </c:pt>
                  <c:pt idx="1550">
                    <c:v>Rolling Stdev (30 Minute)</c:v>
                  </c:pt>
                  <c:pt idx="1551">
                    <c:v>Rolling Stdev (30 Minute)</c:v>
                  </c:pt>
                  <c:pt idx="1552">
                    <c:v>Rolling Stdev (30 Minute)</c:v>
                  </c:pt>
                  <c:pt idx="1553">
                    <c:v>Rolling Stdev (30 Minute)</c:v>
                  </c:pt>
                  <c:pt idx="1554">
                    <c:v>Rolling Stdev (30 Minute)</c:v>
                  </c:pt>
                  <c:pt idx="1555">
                    <c:v>Rolling Stdev (30 Minute)</c:v>
                  </c:pt>
                  <c:pt idx="1556">
                    <c:v>Rolling Stdev (30 Minute)</c:v>
                  </c:pt>
                  <c:pt idx="1557">
                    <c:v>Rolling Stdev (30 Minute)</c:v>
                  </c:pt>
                  <c:pt idx="1558">
                    <c:v>Rolling Stdev (30 Minute)</c:v>
                  </c:pt>
                  <c:pt idx="1559">
                    <c:v>Rolling Stdev (30 Minute)</c:v>
                  </c:pt>
                  <c:pt idx="1560">
                    <c:v>Rolling Stdev (30 Minute)</c:v>
                  </c:pt>
                  <c:pt idx="1561">
                    <c:v>Rolling Stdev (30 Minute)</c:v>
                  </c:pt>
                  <c:pt idx="1562">
                    <c:v>Rolling Stdev (30 Minute)</c:v>
                  </c:pt>
                  <c:pt idx="1563">
                    <c:v>Rolling Stdev (30 Minute)</c:v>
                  </c:pt>
                  <c:pt idx="1564">
                    <c:v>Rolling Stdev (30 Minute)</c:v>
                  </c:pt>
                  <c:pt idx="1565">
                    <c:v>Rolling Stdev (30 Minute)</c:v>
                  </c:pt>
                  <c:pt idx="1566">
                    <c:v>Rolling Stdev (30 Minute)</c:v>
                  </c:pt>
                  <c:pt idx="1567">
                    <c:v>Rolling Stdev (30 Minute)</c:v>
                  </c:pt>
                  <c:pt idx="1568">
                    <c:v>Rolling Stdev (30 Minute)</c:v>
                  </c:pt>
                  <c:pt idx="1569">
                    <c:v>Rolling Stdev (30 Minute)</c:v>
                  </c:pt>
                  <c:pt idx="1570">
                    <c:v>Rolling Stdev (30 Minute)</c:v>
                  </c:pt>
                  <c:pt idx="1571">
                    <c:v>Rolling Stdev (30 Minute)</c:v>
                  </c:pt>
                  <c:pt idx="1572">
                    <c:v>Rolling Stdev (30 Minute)</c:v>
                  </c:pt>
                  <c:pt idx="1573">
                    <c:v>Rolling Stdev (30 Minute)</c:v>
                  </c:pt>
                  <c:pt idx="1574">
                    <c:v>Rolling Stdev (30 Minute)</c:v>
                  </c:pt>
                  <c:pt idx="1575">
                    <c:v>Rolling Stdev (30 Minute)</c:v>
                  </c:pt>
                  <c:pt idx="1576">
                    <c:v>Rolling Stdev (30 Minute)</c:v>
                  </c:pt>
                  <c:pt idx="1577">
                    <c:v>Rolling Stdev (30 Minute)</c:v>
                  </c:pt>
                  <c:pt idx="1578">
                    <c:v>Rolling Stdev (30 Minute)</c:v>
                  </c:pt>
                  <c:pt idx="1579">
                    <c:v>Rolling Stdev (30 Minute)</c:v>
                  </c:pt>
                  <c:pt idx="1580">
                    <c:v>Rolling Stdev (30 Minute)</c:v>
                  </c:pt>
                  <c:pt idx="1581">
                    <c:v>Rolling Stdev (30 Minute)</c:v>
                  </c:pt>
                  <c:pt idx="1582">
                    <c:v>Rolling Stdev (30 Minute)</c:v>
                  </c:pt>
                  <c:pt idx="1583">
                    <c:v>Rolling Stdev (30 Minute)</c:v>
                  </c:pt>
                  <c:pt idx="1584">
                    <c:v>Rolling Stdev (30 Minute)</c:v>
                  </c:pt>
                  <c:pt idx="1585">
                    <c:v>Rolling Stdev (30 Minute)</c:v>
                  </c:pt>
                  <c:pt idx="1586">
                    <c:v>Rolling Stdev (30 Minute)</c:v>
                  </c:pt>
                  <c:pt idx="1587">
                    <c:v>Rolling Stdev (30 Minute)</c:v>
                  </c:pt>
                  <c:pt idx="1588">
                    <c:v>Rolling Stdev (30 Minute)</c:v>
                  </c:pt>
                  <c:pt idx="1589">
                    <c:v>Rolling Stdev (30 Minute)</c:v>
                  </c:pt>
                  <c:pt idx="1590">
                    <c:v>Rolling Stdev (30 Minute)</c:v>
                  </c:pt>
                  <c:pt idx="1591">
                    <c:v>Rolling Stdev (30 Minute)</c:v>
                  </c:pt>
                  <c:pt idx="1592">
                    <c:v>Rolling Stdev (30 Minute)</c:v>
                  </c:pt>
                  <c:pt idx="1593">
                    <c:v>Rolling Stdev (30 Minute)</c:v>
                  </c:pt>
                  <c:pt idx="1594">
                    <c:v>Rolling Stdev (30 Minute)</c:v>
                  </c:pt>
                  <c:pt idx="1595">
                    <c:v>Rolling Stdev (30 Minute)</c:v>
                  </c:pt>
                  <c:pt idx="1596">
                    <c:v>Rolling Stdev (30 Minute)</c:v>
                  </c:pt>
                  <c:pt idx="1597">
                    <c:v>Rolling Stdev (30 Minute)</c:v>
                  </c:pt>
                  <c:pt idx="1598">
                    <c:v>Rolling Stdev (30 Minute)</c:v>
                  </c:pt>
                  <c:pt idx="1599">
                    <c:v>Rolling Stdev (30 Minute)</c:v>
                  </c:pt>
                  <c:pt idx="1600">
                    <c:v>Rolling Stdev (30 Minute)</c:v>
                  </c:pt>
                  <c:pt idx="1601">
                    <c:v>Rolling Stdev (30 Minute)</c:v>
                  </c:pt>
                  <c:pt idx="1602">
                    <c:v>Rolling Stdev (30 Minute)</c:v>
                  </c:pt>
                  <c:pt idx="1603">
                    <c:v>Rolling Stdev (30 Minute)</c:v>
                  </c:pt>
                  <c:pt idx="1604">
                    <c:v>Rolling Stdev (30 Minute)</c:v>
                  </c:pt>
                  <c:pt idx="1605">
                    <c:v>Rolling Stdev (30 Minute)</c:v>
                  </c:pt>
                  <c:pt idx="1606">
                    <c:v>Rolling Stdev (30 Minute)</c:v>
                  </c:pt>
                  <c:pt idx="1607">
                    <c:v>Rolling Stdev (30 Minute)</c:v>
                  </c:pt>
                  <c:pt idx="1608">
                    <c:v>Rolling Stdev (30 Minute)</c:v>
                  </c:pt>
                  <c:pt idx="1609">
                    <c:v>Rolling Stdev (30 Minute)</c:v>
                  </c:pt>
                  <c:pt idx="1610">
                    <c:v>Rolling Stdev (30 Minute)</c:v>
                  </c:pt>
                  <c:pt idx="1611">
                    <c:v>Rolling Stdev (30 Minute)</c:v>
                  </c:pt>
                  <c:pt idx="1612">
                    <c:v>Rolling Stdev (30 Minute)</c:v>
                  </c:pt>
                  <c:pt idx="1613">
                    <c:v>Rolling Stdev (30 Minute)</c:v>
                  </c:pt>
                  <c:pt idx="1614">
                    <c:v>Rolling Stdev (30 Minute)</c:v>
                  </c:pt>
                  <c:pt idx="1615">
                    <c:v>Rolling Stdev (30 Minute)</c:v>
                  </c:pt>
                  <c:pt idx="1616">
                    <c:v>Rolling Stdev (30 Minute)</c:v>
                  </c:pt>
                  <c:pt idx="1617">
                    <c:v>Rolling Stdev (30 Minute)</c:v>
                  </c:pt>
                  <c:pt idx="1618">
                    <c:v>Rolling Stdev (30 Minute)</c:v>
                  </c:pt>
                  <c:pt idx="1619">
                    <c:v>Rolling Stdev (30 Minute)</c:v>
                  </c:pt>
                  <c:pt idx="1620">
                    <c:v>Rolling Stdev (30 Minute)</c:v>
                  </c:pt>
                  <c:pt idx="1621">
                    <c:v>Rolling Stdev (30 Minute)</c:v>
                  </c:pt>
                  <c:pt idx="1622">
                    <c:v>Rolling Stdev (30 Minute)</c:v>
                  </c:pt>
                  <c:pt idx="1623">
                    <c:v>Rolling Stdev (30 Minute)</c:v>
                  </c:pt>
                  <c:pt idx="1624">
                    <c:v>Rolling Stdev (30 Minute)</c:v>
                  </c:pt>
                  <c:pt idx="1625">
                    <c:v>Rolling Stdev (30 Minute)</c:v>
                  </c:pt>
                  <c:pt idx="1626">
                    <c:v>Rolling Stdev (30 Minute)</c:v>
                  </c:pt>
                  <c:pt idx="1627">
                    <c:v>Rolling Stdev (30 Minute)</c:v>
                  </c:pt>
                  <c:pt idx="1628">
                    <c:v>Rolling Stdev (30 Minute)</c:v>
                  </c:pt>
                  <c:pt idx="1629">
                    <c:v>Rolling Stdev (30 Minute)</c:v>
                  </c:pt>
                  <c:pt idx="1630">
                    <c:v>Rolling Stdev (30 Minute)</c:v>
                  </c:pt>
                  <c:pt idx="1631">
                    <c:v>Rolling Stdev (30 Minute)</c:v>
                  </c:pt>
                  <c:pt idx="1632">
                    <c:v>Rolling Stdev (30 Minute)</c:v>
                  </c:pt>
                  <c:pt idx="1633">
                    <c:v>Rolling Stdev (30 Minute)</c:v>
                  </c:pt>
                  <c:pt idx="1634">
                    <c:v>Rolling Stdev (30 Minute)</c:v>
                  </c:pt>
                  <c:pt idx="1635">
                    <c:v>Rolling Stdev (30 Minute)</c:v>
                  </c:pt>
                  <c:pt idx="1636">
                    <c:v>Rolling Stdev (30 Minute)</c:v>
                  </c:pt>
                  <c:pt idx="1637">
                    <c:v>Rolling Stdev (30 Minute)</c:v>
                  </c:pt>
                  <c:pt idx="1638">
                    <c:v>Rolling Stdev (30 Minute)</c:v>
                  </c:pt>
                  <c:pt idx="1639">
                    <c:v>Rolling Stdev (30 Minute)</c:v>
                  </c:pt>
                  <c:pt idx="1640">
                    <c:v>Rolling Stdev (30 Minute)</c:v>
                  </c:pt>
                  <c:pt idx="1641">
                    <c:v>Rolling Stdev (30 Minute)</c:v>
                  </c:pt>
                  <c:pt idx="1642">
                    <c:v>Rolling Stdev (30 Minute)</c:v>
                  </c:pt>
                  <c:pt idx="1643">
                    <c:v>Rolling Stdev (30 Minute)</c:v>
                  </c:pt>
                  <c:pt idx="1644">
                    <c:v>Rolling Stdev (30 Minute)</c:v>
                  </c:pt>
                  <c:pt idx="1645">
                    <c:v>Rolling Stdev (30 Minute)</c:v>
                  </c:pt>
                  <c:pt idx="1646">
                    <c:v>Rolling Stdev (30 Minute)</c:v>
                  </c:pt>
                  <c:pt idx="1647">
                    <c:v>Rolling Stdev (30 Minute)</c:v>
                  </c:pt>
                  <c:pt idx="1648">
                    <c:v>Rolling Stdev (30 Minute)</c:v>
                  </c:pt>
                  <c:pt idx="1649">
                    <c:v>Rolling Stdev (30 Minute)</c:v>
                  </c:pt>
                  <c:pt idx="1650">
                    <c:v>Rolling Stdev (30 Minute)</c:v>
                  </c:pt>
                  <c:pt idx="1651">
                    <c:v>Rolling Stdev (30 Minute)</c:v>
                  </c:pt>
                  <c:pt idx="1652">
                    <c:v>Rolling Stdev (30 Minute)</c:v>
                  </c:pt>
                  <c:pt idx="1653">
                    <c:v>Rolling Stdev (30 Minute)</c:v>
                  </c:pt>
                  <c:pt idx="1654">
                    <c:v>Rolling Stdev (30 Minute)</c:v>
                  </c:pt>
                  <c:pt idx="1655">
                    <c:v>Rolling Stdev (30 Minute)</c:v>
                  </c:pt>
                  <c:pt idx="1656">
                    <c:v>Rolling Stdev (30 Minute)</c:v>
                  </c:pt>
                  <c:pt idx="1657">
                    <c:v>Rolling Stdev (30 Minute)</c:v>
                  </c:pt>
                  <c:pt idx="1658">
                    <c:v>Rolling Stdev (30 Minute)</c:v>
                  </c:pt>
                  <c:pt idx="1659">
                    <c:v>Rolling Stdev (30 Minute)</c:v>
                  </c:pt>
                  <c:pt idx="1660">
                    <c:v>Rolling Stdev (30 Minute)</c:v>
                  </c:pt>
                  <c:pt idx="1661">
                    <c:v>Rolling Stdev (30 Minute)</c:v>
                  </c:pt>
                  <c:pt idx="1662">
                    <c:v>Rolling Stdev (30 Minute)</c:v>
                  </c:pt>
                  <c:pt idx="1663">
                    <c:v>Rolling Stdev (30 Minute)</c:v>
                  </c:pt>
                  <c:pt idx="1664">
                    <c:v>Rolling Stdev (30 Minute)</c:v>
                  </c:pt>
                  <c:pt idx="1665">
                    <c:v>Rolling Stdev (30 Minute)</c:v>
                  </c:pt>
                  <c:pt idx="1666">
                    <c:v>Rolling Stdev (30 Minute)</c:v>
                  </c:pt>
                  <c:pt idx="1667">
                    <c:v>Rolling Stdev (30 Minute)</c:v>
                  </c:pt>
                  <c:pt idx="1668">
                    <c:v>Rolling Stdev (30 Minute)</c:v>
                  </c:pt>
                  <c:pt idx="1669">
                    <c:v>Rolling Stdev (30 Minute)</c:v>
                  </c:pt>
                  <c:pt idx="1670">
                    <c:v>Rolling Stdev (30 Minute)</c:v>
                  </c:pt>
                  <c:pt idx="1671">
                    <c:v>Rolling Stdev (30 Minute)</c:v>
                  </c:pt>
                  <c:pt idx="1672">
                    <c:v>Rolling Stdev (30 Minute)</c:v>
                  </c:pt>
                  <c:pt idx="1673">
                    <c:v>Rolling Stdev (30 Minute)</c:v>
                  </c:pt>
                  <c:pt idx="1674">
                    <c:v>Rolling Stdev (30 Minute)</c:v>
                  </c:pt>
                  <c:pt idx="1675">
                    <c:v>Rolling Stdev (30 Minute)</c:v>
                  </c:pt>
                  <c:pt idx="1676">
                    <c:v>Rolling Stdev (30 Minute)</c:v>
                  </c:pt>
                  <c:pt idx="1677">
                    <c:v>Rolling Stdev (30 Minute)</c:v>
                  </c:pt>
                  <c:pt idx="1678">
                    <c:v>Rolling Stdev (30 Minute)</c:v>
                  </c:pt>
                  <c:pt idx="1679">
                    <c:v>Rolling Stdev (30 Minute)</c:v>
                  </c:pt>
                  <c:pt idx="1680">
                    <c:v>Rolling Stdev (30 Minute)</c:v>
                  </c:pt>
                  <c:pt idx="1681">
                    <c:v>Rolling Stdev (30 Minute)</c:v>
                  </c:pt>
                  <c:pt idx="1682">
                    <c:v>Rolling Stdev (30 Minute)</c:v>
                  </c:pt>
                  <c:pt idx="1683">
                    <c:v>Rolling Stdev (30 Minute)</c:v>
                  </c:pt>
                  <c:pt idx="1684">
                    <c:v>Rolling Stdev (30 Minute)</c:v>
                  </c:pt>
                  <c:pt idx="1685">
                    <c:v>Rolling Stdev (30 Minute)</c:v>
                  </c:pt>
                  <c:pt idx="1686">
                    <c:v>Rolling Stdev (30 Minute)</c:v>
                  </c:pt>
                  <c:pt idx="1687">
                    <c:v>Rolling Stdev (30 Minute)</c:v>
                  </c:pt>
                  <c:pt idx="1688">
                    <c:v>Rolling Stdev (30 Minute)</c:v>
                  </c:pt>
                  <c:pt idx="1689">
                    <c:v>Rolling Stdev (30 Minute)</c:v>
                  </c:pt>
                  <c:pt idx="1690">
                    <c:v>Rolling Stdev (30 Minute)</c:v>
                  </c:pt>
                  <c:pt idx="1691">
                    <c:v>Rolling Stdev (30 Minute)</c:v>
                  </c:pt>
                  <c:pt idx="1692">
                    <c:v>Rolling Stdev (30 Minute)</c:v>
                  </c:pt>
                  <c:pt idx="1693">
                    <c:v>Rolling Stdev (30 Minute)</c:v>
                  </c:pt>
                  <c:pt idx="1694">
                    <c:v>Rolling Stdev (30 Minute)</c:v>
                  </c:pt>
                  <c:pt idx="1695">
                    <c:v>Rolling Stdev (30 Minute)</c:v>
                  </c:pt>
                  <c:pt idx="1696">
                    <c:v>Rolling Stdev (30 Minute)</c:v>
                  </c:pt>
                  <c:pt idx="1697">
                    <c:v>Rolling Stdev (30 Minute)</c:v>
                  </c:pt>
                  <c:pt idx="1698">
                    <c:v>Rolling Stdev (30 Minute)</c:v>
                  </c:pt>
                  <c:pt idx="1699">
                    <c:v>Rolling Stdev (30 Minute)</c:v>
                  </c:pt>
                  <c:pt idx="1700">
                    <c:v>Rolling Stdev (30 Minute)</c:v>
                  </c:pt>
                  <c:pt idx="1701">
                    <c:v>Rolling Stdev (30 Minute)</c:v>
                  </c:pt>
                  <c:pt idx="1702">
                    <c:v>Rolling Stdev (30 Minute)</c:v>
                  </c:pt>
                  <c:pt idx="1703">
                    <c:v>Rolling Stdev (30 Minute)</c:v>
                  </c:pt>
                  <c:pt idx="1704">
                    <c:v>Rolling Stdev (30 Minute)</c:v>
                  </c:pt>
                  <c:pt idx="1705">
                    <c:v>Rolling Stdev (30 Minute)</c:v>
                  </c:pt>
                  <c:pt idx="1706">
                    <c:v>Rolling Stdev (30 Minute)</c:v>
                  </c:pt>
                  <c:pt idx="1707">
                    <c:v>Rolling Stdev (30 Minute)</c:v>
                  </c:pt>
                  <c:pt idx="1708">
                    <c:v>Rolling Stdev (30 Minute)</c:v>
                  </c:pt>
                  <c:pt idx="1709">
                    <c:v>Rolling Stdev (30 Minute)</c:v>
                  </c:pt>
                  <c:pt idx="1710">
                    <c:v>Rolling Stdev (30 Minute)</c:v>
                  </c:pt>
                  <c:pt idx="1711">
                    <c:v>Rolling Stdev (30 Minute)</c:v>
                  </c:pt>
                  <c:pt idx="1712">
                    <c:v>Rolling Stdev (30 Minute)</c:v>
                  </c:pt>
                  <c:pt idx="1713">
                    <c:v>Rolling Stdev (30 Minute)</c:v>
                  </c:pt>
                  <c:pt idx="1714">
                    <c:v>Rolling Stdev (30 Minute)</c:v>
                  </c:pt>
                  <c:pt idx="1715">
                    <c:v>Rolling Stdev (30 Minute)</c:v>
                  </c:pt>
                  <c:pt idx="1716">
                    <c:v>Rolling Stdev (30 Minute)</c:v>
                  </c:pt>
                  <c:pt idx="1717">
                    <c:v>Rolling Stdev (30 Minute)</c:v>
                  </c:pt>
                  <c:pt idx="1718">
                    <c:v>Rolling Stdev (30 Minute)</c:v>
                  </c:pt>
                  <c:pt idx="1719">
                    <c:v>Rolling Stdev (30 Minute)</c:v>
                  </c:pt>
                  <c:pt idx="1720">
                    <c:v>Rolling Stdev (30 Minute)</c:v>
                  </c:pt>
                  <c:pt idx="1721">
                    <c:v>Rolling Stdev (30 Minute)</c:v>
                  </c:pt>
                  <c:pt idx="1722">
                    <c:v>Rolling Stdev (30 Minute)</c:v>
                  </c:pt>
                  <c:pt idx="1723">
                    <c:v>Rolling Stdev (30 Minute)</c:v>
                  </c:pt>
                  <c:pt idx="1724">
                    <c:v>Rolling Stdev (30 Minute)</c:v>
                  </c:pt>
                  <c:pt idx="1725">
                    <c:v>Rolling Stdev (30 Minute)</c:v>
                  </c:pt>
                  <c:pt idx="1726">
                    <c:v>Rolling Stdev (30 Minute)</c:v>
                  </c:pt>
                  <c:pt idx="1727">
                    <c:v>Rolling Stdev (30 Minute)</c:v>
                  </c:pt>
                  <c:pt idx="1728">
                    <c:v>Rolling Stdev (30 Minute)</c:v>
                  </c:pt>
                  <c:pt idx="1729">
                    <c:v>Rolling Stdev (30 Minute)</c:v>
                  </c:pt>
                  <c:pt idx="1730">
                    <c:v>Rolling Stdev (30 Minute)</c:v>
                  </c:pt>
                  <c:pt idx="1731">
                    <c:v>Rolling Stdev (30 Minute)</c:v>
                  </c:pt>
                  <c:pt idx="1732">
                    <c:v>Rolling Stdev (30 Minute)</c:v>
                  </c:pt>
                  <c:pt idx="1733">
                    <c:v>Rolling Stdev (30 Minute)</c:v>
                  </c:pt>
                  <c:pt idx="1734">
                    <c:v>Rolling Stdev (30 Minute)</c:v>
                  </c:pt>
                  <c:pt idx="1735">
                    <c:v>Rolling Stdev (30 Minute)</c:v>
                  </c:pt>
                  <c:pt idx="1736">
                    <c:v>Rolling Stdev (30 Minute)</c:v>
                  </c:pt>
                  <c:pt idx="1737">
                    <c:v>Rolling Stdev (30 Minute)</c:v>
                  </c:pt>
                  <c:pt idx="1738">
                    <c:v>Rolling Stdev (30 Minute)</c:v>
                  </c:pt>
                  <c:pt idx="1739">
                    <c:v>Rolling Stdev (30 Minute)</c:v>
                  </c:pt>
                  <c:pt idx="1740">
                    <c:v>Rolling Stdev (30 Minute)</c:v>
                  </c:pt>
                  <c:pt idx="1741">
                    <c:v>Rolling Stdev (30 Minute)</c:v>
                  </c:pt>
                  <c:pt idx="1742">
                    <c:v>Rolling Stdev (30 Minute)</c:v>
                  </c:pt>
                  <c:pt idx="1743">
                    <c:v>Rolling Stdev (30 Minute)</c:v>
                  </c:pt>
                  <c:pt idx="1744">
                    <c:v>Rolling Stdev (30 Minute)</c:v>
                  </c:pt>
                  <c:pt idx="1745">
                    <c:v>Rolling Stdev (30 Minute)</c:v>
                  </c:pt>
                  <c:pt idx="1746">
                    <c:v>Rolling Stdev (30 Minute)</c:v>
                  </c:pt>
                  <c:pt idx="1747">
                    <c:v>Rolling Stdev (30 Minute)</c:v>
                  </c:pt>
                  <c:pt idx="1748">
                    <c:v>Rolling Stdev (30 Minute)</c:v>
                  </c:pt>
                  <c:pt idx="1749">
                    <c:v>Rolling Stdev (30 Minute)</c:v>
                  </c:pt>
                  <c:pt idx="1750">
                    <c:v>Rolling Stdev (30 Minute)</c:v>
                  </c:pt>
                  <c:pt idx="1751">
                    <c:v>Rolling Stdev (30 Minute)</c:v>
                  </c:pt>
                  <c:pt idx="1752">
                    <c:v>Rolling Stdev (30 Minute)</c:v>
                  </c:pt>
                  <c:pt idx="1753">
                    <c:v>Rolling Stdev (30 Minute)</c:v>
                  </c:pt>
                  <c:pt idx="1754">
                    <c:v>Rolling Stdev (30 Minute)</c:v>
                  </c:pt>
                  <c:pt idx="1755">
                    <c:v>Rolling Stdev (30 Minute)</c:v>
                  </c:pt>
                  <c:pt idx="1756">
                    <c:v>Rolling Stdev (30 Minute)</c:v>
                  </c:pt>
                  <c:pt idx="1757">
                    <c:v>Rolling Stdev (30 Minute)</c:v>
                  </c:pt>
                  <c:pt idx="1758">
                    <c:v>Rolling Stdev (30 Minute)</c:v>
                  </c:pt>
                  <c:pt idx="1759">
                    <c:v>Rolling Stdev (30 Minute)</c:v>
                  </c:pt>
                  <c:pt idx="1760">
                    <c:v>Rolling Stdev (30 Minute)</c:v>
                  </c:pt>
                  <c:pt idx="1761">
                    <c:v>Rolling Stdev (30 Minute)</c:v>
                  </c:pt>
                  <c:pt idx="1762">
                    <c:v>Rolling Stdev (30 Minute)</c:v>
                  </c:pt>
                  <c:pt idx="1763">
                    <c:v>Rolling Stdev (30 Minute)</c:v>
                  </c:pt>
                  <c:pt idx="1764">
                    <c:v>Rolling Stdev (30 Minute)</c:v>
                  </c:pt>
                  <c:pt idx="1765">
                    <c:v>Rolling Stdev (30 Minute)</c:v>
                  </c:pt>
                  <c:pt idx="1766">
                    <c:v>Rolling Stdev (30 Minute)</c:v>
                  </c:pt>
                  <c:pt idx="1767">
                    <c:v>Rolling Stdev (30 Minute)</c:v>
                  </c:pt>
                  <c:pt idx="1768">
                    <c:v>Rolling Stdev (30 Minute)</c:v>
                  </c:pt>
                  <c:pt idx="1769">
                    <c:v>Rolling Stdev (30 Minute)</c:v>
                  </c:pt>
                  <c:pt idx="1770">
                    <c:v>Rolling Stdev (30 Minute)</c:v>
                  </c:pt>
                  <c:pt idx="1771">
                    <c:v>Rolling Stdev (30 Minute)</c:v>
                  </c:pt>
                  <c:pt idx="1772">
                    <c:v>Rolling Stdev (30 Minute)</c:v>
                  </c:pt>
                  <c:pt idx="1773">
                    <c:v>Rolling Stdev (30 Minute)</c:v>
                  </c:pt>
                  <c:pt idx="1774">
                    <c:v>Rolling Stdev (30 Minute)</c:v>
                  </c:pt>
                  <c:pt idx="1775">
                    <c:v>Rolling Stdev (30 Minute)</c:v>
                  </c:pt>
                  <c:pt idx="1776">
                    <c:v>Rolling Stdev (30 Minute)</c:v>
                  </c:pt>
                  <c:pt idx="1777">
                    <c:v>Rolling Stdev (30 Minute)</c:v>
                  </c:pt>
                  <c:pt idx="1778">
                    <c:v>Rolling Stdev (30 Minute)</c:v>
                  </c:pt>
                  <c:pt idx="1779">
                    <c:v>Rolling Stdev (30 Minute)</c:v>
                  </c:pt>
                  <c:pt idx="1780">
                    <c:v>Rolling Stdev (30 Minute)</c:v>
                  </c:pt>
                  <c:pt idx="1781">
                    <c:v>Rolling Stdev (30 Minute)</c:v>
                  </c:pt>
                  <c:pt idx="1782">
                    <c:v>Rolling Stdev (30 Minute)</c:v>
                  </c:pt>
                  <c:pt idx="1783">
                    <c:v>Rolling Stdev (30 Minute)</c:v>
                  </c:pt>
                  <c:pt idx="1784">
                    <c:v>Rolling Stdev (30 Minute)</c:v>
                  </c:pt>
                  <c:pt idx="1785">
                    <c:v>Rolling Stdev (30 Minute)</c:v>
                  </c:pt>
                  <c:pt idx="1786">
                    <c:v>Rolling Stdev (30 Minute)</c:v>
                  </c:pt>
                  <c:pt idx="1787">
                    <c:v>Rolling Stdev (30 Minute)</c:v>
                  </c:pt>
                  <c:pt idx="1788">
                    <c:v>Rolling Stdev (30 Minute)</c:v>
                  </c:pt>
                  <c:pt idx="1789">
                    <c:v>Rolling Stdev (30 Minute)</c:v>
                  </c:pt>
                  <c:pt idx="1790">
                    <c:v>Rolling Stdev (30 Minute)</c:v>
                  </c:pt>
                  <c:pt idx="1791">
                    <c:v>Rolling Stdev (30 Minute)</c:v>
                  </c:pt>
                  <c:pt idx="1792">
                    <c:v>Rolling Stdev (30 Minute)</c:v>
                  </c:pt>
                  <c:pt idx="1793">
                    <c:v>Rolling Stdev (30 Minute)</c:v>
                  </c:pt>
                  <c:pt idx="1794">
                    <c:v>Rolling Stdev (30 Minute)</c:v>
                  </c:pt>
                  <c:pt idx="1795">
                    <c:v>Rolling Stdev (30 Minute)</c:v>
                  </c:pt>
                  <c:pt idx="1796">
                    <c:v>Rolling Stdev (30 Minute)</c:v>
                  </c:pt>
                  <c:pt idx="1797">
                    <c:v>Rolling Stdev (30 Minute)</c:v>
                  </c:pt>
                  <c:pt idx="1798">
                    <c:v>Rolling Stdev (30 Minute)</c:v>
                  </c:pt>
                  <c:pt idx="1799">
                    <c:v>Rolling Stdev (30 Minute)</c:v>
                  </c:pt>
                  <c:pt idx="1800">
                    <c:v>Rolling Stdev (30 Minute)</c:v>
                  </c:pt>
                  <c:pt idx="1801">
                    <c:v>Rolling Stdev (30 Minute)</c:v>
                  </c:pt>
                  <c:pt idx="1802">
                    <c:v>Rolling Stdev (30 Minute)</c:v>
                  </c:pt>
                  <c:pt idx="1803">
                    <c:v>Rolling Stdev (30 Minute)</c:v>
                  </c:pt>
                  <c:pt idx="1804">
                    <c:v>Rolling Stdev (30 Minute)</c:v>
                  </c:pt>
                  <c:pt idx="1805">
                    <c:v>Rolling Stdev (30 Minute)</c:v>
                  </c:pt>
                  <c:pt idx="1806">
                    <c:v>Rolling Stdev (30 Minute)</c:v>
                  </c:pt>
                  <c:pt idx="1807">
                    <c:v>Rolling Stdev (30 Minute)</c:v>
                  </c:pt>
                  <c:pt idx="1808">
                    <c:v>Rolling Stdev (30 Minute)</c:v>
                  </c:pt>
                  <c:pt idx="1809">
                    <c:v>Rolling Stdev (30 Minute)</c:v>
                  </c:pt>
                  <c:pt idx="1810">
                    <c:v>Rolling Stdev (30 Minute)</c:v>
                  </c:pt>
                  <c:pt idx="1811">
                    <c:v>Rolling Stdev (30 Minute)</c:v>
                  </c:pt>
                  <c:pt idx="1812">
                    <c:v>Rolling Stdev (30 Minute)</c:v>
                  </c:pt>
                  <c:pt idx="1813">
                    <c:v>Rolling Stdev (30 Minute)</c:v>
                  </c:pt>
                  <c:pt idx="1814">
                    <c:v>Rolling Stdev (30 Minute)</c:v>
                  </c:pt>
                  <c:pt idx="1815">
                    <c:v>Rolling Stdev (30 Minute)</c:v>
                  </c:pt>
                  <c:pt idx="1816">
                    <c:v>Rolling Stdev (30 Minute)</c:v>
                  </c:pt>
                  <c:pt idx="1817">
                    <c:v>Rolling Stdev (30 Minute)</c:v>
                  </c:pt>
                  <c:pt idx="1818">
                    <c:v>Rolling Stdev (30 Minute)</c:v>
                  </c:pt>
                  <c:pt idx="1819">
                    <c:v>Rolling Stdev (30 Minute)</c:v>
                  </c:pt>
                  <c:pt idx="1820">
                    <c:v>Rolling Stdev (30 Minute)</c:v>
                  </c:pt>
                  <c:pt idx="1821">
                    <c:v>Rolling Stdev (30 Minute)</c:v>
                  </c:pt>
                  <c:pt idx="1822">
                    <c:v>Rolling Stdev (30 Minute)</c:v>
                  </c:pt>
                  <c:pt idx="1823">
                    <c:v>Rolling Stdev (30 Minute)</c:v>
                  </c:pt>
                  <c:pt idx="1824">
                    <c:v>Rolling Stdev (30 Minute)</c:v>
                  </c:pt>
                  <c:pt idx="1825">
                    <c:v>Rolling Stdev (30 Minute)</c:v>
                  </c:pt>
                  <c:pt idx="1826">
                    <c:v>Rolling Stdev (30 Minute)</c:v>
                  </c:pt>
                  <c:pt idx="1827">
                    <c:v>Rolling Stdev (30 Minute)</c:v>
                  </c:pt>
                  <c:pt idx="1828">
                    <c:v>Rolling Stdev (30 Minute)</c:v>
                  </c:pt>
                  <c:pt idx="1829">
                    <c:v>Rolling Stdev (30 Minute)</c:v>
                  </c:pt>
                  <c:pt idx="1830">
                    <c:v>Rolling Stdev (30 Minute)</c:v>
                  </c:pt>
                  <c:pt idx="1831">
                    <c:v>Rolling Stdev (30 Minute)</c:v>
                  </c:pt>
                  <c:pt idx="1832">
                    <c:v>Rolling Stdev (30 Minute)</c:v>
                  </c:pt>
                  <c:pt idx="1833">
                    <c:v>Rolling Stdev (30 Minute)</c:v>
                  </c:pt>
                  <c:pt idx="1834">
                    <c:v>Rolling Stdev (30 Minute)</c:v>
                  </c:pt>
                  <c:pt idx="1835">
                    <c:v>Rolling Stdev (30 Minute)</c:v>
                  </c:pt>
                  <c:pt idx="1836">
                    <c:v>Rolling Stdev (30 Minute)</c:v>
                  </c:pt>
                  <c:pt idx="1837">
                    <c:v>Rolling Stdev (30 Minute)</c:v>
                  </c:pt>
                  <c:pt idx="1838">
                    <c:v>Rolling Stdev (30 Minute)</c:v>
                  </c:pt>
                  <c:pt idx="1839">
                    <c:v>Rolling Stdev (30 Minute)</c:v>
                  </c:pt>
                  <c:pt idx="1840">
                    <c:v>Rolling Stdev (30 Minute)</c:v>
                  </c:pt>
                  <c:pt idx="1841">
                    <c:v>Rolling Stdev (30 Minute)</c:v>
                  </c:pt>
                  <c:pt idx="1842">
                    <c:v>Rolling Stdev (30 Minute)</c:v>
                  </c:pt>
                  <c:pt idx="1843">
                    <c:v>Rolling Stdev (30 Minute)</c:v>
                  </c:pt>
                  <c:pt idx="1844">
                    <c:v>Rolling Stdev (30 Minute)</c:v>
                  </c:pt>
                  <c:pt idx="1845">
                    <c:v>Rolling Stdev (30 Minute)</c:v>
                  </c:pt>
                  <c:pt idx="1846">
                    <c:v>Rolling Stdev (30 Minute)</c:v>
                  </c:pt>
                  <c:pt idx="1847">
                    <c:v>Rolling Stdev (30 Minute)</c:v>
                  </c:pt>
                  <c:pt idx="1848">
                    <c:v>Rolling Stdev (30 Minute)</c:v>
                  </c:pt>
                  <c:pt idx="1849">
                    <c:v>Rolling Stdev (30 Minute)</c:v>
                  </c:pt>
                  <c:pt idx="1850">
                    <c:v>Rolling Stdev (30 Minute)</c:v>
                  </c:pt>
                  <c:pt idx="1851">
                    <c:v>Rolling Stdev (30 Minute)</c:v>
                  </c:pt>
                  <c:pt idx="1852">
                    <c:v>Rolling Stdev (30 Minute)</c:v>
                  </c:pt>
                  <c:pt idx="1853">
                    <c:v>Rolling Stdev (30 Minute)</c:v>
                  </c:pt>
                  <c:pt idx="1854">
                    <c:v>Rolling Stdev (30 Minute)</c:v>
                  </c:pt>
                  <c:pt idx="1855">
                    <c:v>Rolling Stdev (30 Minute)</c:v>
                  </c:pt>
                  <c:pt idx="1856">
                    <c:v>Rolling Stdev (30 Minute)</c:v>
                  </c:pt>
                  <c:pt idx="1857">
                    <c:v>Rolling Stdev (30 Minute)</c:v>
                  </c:pt>
                  <c:pt idx="1858">
                    <c:v>Rolling Stdev (30 Minute)</c:v>
                  </c:pt>
                  <c:pt idx="1859">
                    <c:v>Rolling Stdev (30 Minute)</c:v>
                  </c:pt>
                  <c:pt idx="1860">
                    <c:v>Rolling Stdev (30 Minute)</c:v>
                  </c:pt>
                  <c:pt idx="1861">
                    <c:v>Rolling Stdev (30 Minute)</c:v>
                  </c:pt>
                  <c:pt idx="1862">
                    <c:v>Rolling Stdev (30 Minute)</c:v>
                  </c:pt>
                  <c:pt idx="1863">
                    <c:v>Rolling Stdev (30 Minute)</c:v>
                  </c:pt>
                  <c:pt idx="1864">
                    <c:v>Rolling Stdev (30 Minute)</c:v>
                  </c:pt>
                  <c:pt idx="1865">
                    <c:v>Rolling Stdev (30 Minute)</c:v>
                  </c:pt>
                  <c:pt idx="1866">
                    <c:v>Rolling Stdev (30 Minute)</c:v>
                  </c:pt>
                  <c:pt idx="1867">
                    <c:v>Rolling Stdev (30 Minute)</c:v>
                  </c:pt>
                  <c:pt idx="1868">
                    <c:v>Rolling Stdev (30 Minute)</c:v>
                  </c:pt>
                  <c:pt idx="1869">
                    <c:v>Rolling Stdev (30 Minute)</c:v>
                  </c:pt>
                  <c:pt idx="1870">
                    <c:v>Rolling Stdev (30 Minute)</c:v>
                  </c:pt>
                  <c:pt idx="1871">
                    <c:v>Rolling Stdev (30 Minute)</c:v>
                  </c:pt>
                  <c:pt idx="1872">
                    <c:v>Rolling Stdev (30 Minute)</c:v>
                  </c:pt>
                  <c:pt idx="1873">
                    <c:v>Rolling Stdev (30 Minute)</c:v>
                  </c:pt>
                  <c:pt idx="1874">
                    <c:v>Rolling Stdev (30 Minute)</c:v>
                  </c:pt>
                  <c:pt idx="1875">
                    <c:v>Rolling Stdev (30 Minute)</c:v>
                  </c:pt>
                  <c:pt idx="1876">
                    <c:v>Rolling Stdev (30 Minute)</c:v>
                  </c:pt>
                  <c:pt idx="1877">
                    <c:v>Rolling Stdev (30 Minute)</c:v>
                  </c:pt>
                  <c:pt idx="1878">
                    <c:v>Rolling Stdev (30 Minute)</c:v>
                  </c:pt>
                  <c:pt idx="1879">
                    <c:v>Rolling Stdev (30 Minute)</c:v>
                  </c:pt>
                  <c:pt idx="1880">
                    <c:v>Rolling Stdev (30 Minute)</c:v>
                  </c:pt>
                  <c:pt idx="1881">
                    <c:v>Rolling Stdev (30 Minute)</c:v>
                  </c:pt>
                  <c:pt idx="1882">
                    <c:v>Rolling Stdev (30 Minute)</c:v>
                  </c:pt>
                  <c:pt idx="1883">
                    <c:v>Rolling Stdev (30 Minute)</c:v>
                  </c:pt>
                  <c:pt idx="1884">
                    <c:v>Rolling Stdev (30 Minute)</c:v>
                  </c:pt>
                  <c:pt idx="1885">
                    <c:v>Rolling Stdev (30 Minute)</c:v>
                  </c:pt>
                  <c:pt idx="1886">
                    <c:v>Rolling Stdev (30 Minute)</c:v>
                  </c:pt>
                  <c:pt idx="1887">
                    <c:v>Rolling Stdev (30 Minute)</c:v>
                  </c:pt>
                  <c:pt idx="1888">
                    <c:v>Rolling Stdev (30 Minute)</c:v>
                  </c:pt>
                  <c:pt idx="1889">
                    <c:v>Rolling Stdev (30 Minute)</c:v>
                  </c:pt>
                  <c:pt idx="1890">
                    <c:v>Rolling Stdev (30 Minute)</c:v>
                  </c:pt>
                  <c:pt idx="1891">
                    <c:v>Rolling Stdev (30 Minute)</c:v>
                  </c:pt>
                  <c:pt idx="1892">
                    <c:v>Rolling Stdev (30 Minute)</c:v>
                  </c:pt>
                  <c:pt idx="1893">
                    <c:v>Rolling Stdev (30 Minute)</c:v>
                  </c:pt>
                  <c:pt idx="1894">
                    <c:v>Rolling Stdev (30 Minute)</c:v>
                  </c:pt>
                  <c:pt idx="1895">
                    <c:v>Rolling Stdev (30 Minute)</c:v>
                  </c:pt>
                  <c:pt idx="1896">
                    <c:v>Rolling Stdev (30 Minute)</c:v>
                  </c:pt>
                  <c:pt idx="1897">
                    <c:v>Rolling Stdev (30 Minute)</c:v>
                  </c:pt>
                  <c:pt idx="1898">
                    <c:v>Rolling Stdev (30 Minute)</c:v>
                  </c:pt>
                  <c:pt idx="1899">
                    <c:v>Rolling Stdev (30 Minute)</c:v>
                  </c:pt>
                  <c:pt idx="1900">
                    <c:v>Rolling Stdev (30 Minute)</c:v>
                  </c:pt>
                  <c:pt idx="1901">
                    <c:v>Rolling Stdev (30 Minute)</c:v>
                  </c:pt>
                  <c:pt idx="1902">
                    <c:v>Rolling Stdev (30 Minute)</c:v>
                  </c:pt>
                  <c:pt idx="1903">
                    <c:v>Rolling Stdev (30 Minute)</c:v>
                  </c:pt>
                  <c:pt idx="1904">
                    <c:v>Rolling Stdev (30 Minute)</c:v>
                  </c:pt>
                  <c:pt idx="1905">
                    <c:v>Rolling Stdev (30 Minute)</c:v>
                  </c:pt>
                  <c:pt idx="1906">
                    <c:v>Rolling Stdev (30 Minute)</c:v>
                  </c:pt>
                  <c:pt idx="1907">
                    <c:v>Rolling Stdev (30 Minute)</c:v>
                  </c:pt>
                  <c:pt idx="1908">
                    <c:v>Rolling Stdev (30 Minute)</c:v>
                  </c:pt>
                  <c:pt idx="1909">
                    <c:v>Rolling Stdev (30 Minute)</c:v>
                  </c:pt>
                  <c:pt idx="1910">
                    <c:v>Rolling Stdev (30 Minute)</c:v>
                  </c:pt>
                  <c:pt idx="1911">
                    <c:v>Rolling Stdev (30 Minute)</c:v>
                  </c:pt>
                  <c:pt idx="1912">
                    <c:v>Rolling Stdev (30 Minute)</c:v>
                  </c:pt>
                  <c:pt idx="1913">
                    <c:v>Rolling Stdev (30 Minute)</c:v>
                  </c:pt>
                  <c:pt idx="1914">
                    <c:v>Rolling Stdev (30 Minute)</c:v>
                  </c:pt>
                  <c:pt idx="1915">
                    <c:v>Rolling Stdev (30 Minute)</c:v>
                  </c:pt>
                  <c:pt idx="1916">
                    <c:v>Rolling Stdev (30 Minute)</c:v>
                  </c:pt>
                  <c:pt idx="1917">
                    <c:v>Rolling Stdev (30 Minute)</c:v>
                  </c:pt>
                  <c:pt idx="1918">
                    <c:v>Rolling Stdev (30 Minute)</c:v>
                  </c:pt>
                  <c:pt idx="1919">
                    <c:v>Rolling Stdev (30 Minute)</c:v>
                  </c:pt>
                  <c:pt idx="1920">
                    <c:v>Rolling Stdev (30 Minute)</c:v>
                  </c:pt>
                  <c:pt idx="1921">
                    <c:v>Rolling Stdev (30 Minute)</c:v>
                  </c:pt>
                  <c:pt idx="1922">
                    <c:v>Rolling Stdev (30 Minute)</c:v>
                  </c:pt>
                  <c:pt idx="1923">
                    <c:v>Rolling Stdev (30 Minute)</c:v>
                  </c:pt>
                  <c:pt idx="1924">
                    <c:v>Rolling Stdev (30 Minute)</c:v>
                  </c:pt>
                  <c:pt idx="1925">
                    <c:v>Rolling Stdev (30 Minute)</c:v>
                  </c:pt>
                  <c:pt idx="1926">
                    <c:v>Rolling Stdev (30 Minute)</c:v>
                  </c:pt>
                  <c:pt idx="1927">
                    <c:v>Rolling Stdev (30 Minute)</c:v>
                  </c:pt>
                  <c:pt idx="1928">
                    <c:v>Rolling Stdev (30 Minute)</c:v>
                  </c:pt>
                  <c:pt idx="1929">
                    <c:v>Rolling Stdev (30 Minute)</c:v>
                  </c:pt>
                  <c:pt idx="1930">
                    <c:v>Rolling Stdev (30 Minute)</c:v>
                  </c:pt>
                  <c:pt idx="1931">
                    <c:v>Rolling Stdev (30 Minute)</c:v>
                  </c:pt>
                  <c:pt idx="1932">
                    <c:v>Rolling Stdev (30 Minute)</c:v>
                  </c:pt>
                  <c:pt idx="1933">
                    <c:v>Rolling Stdev (30 Minute)</c:v>
                  </c:pt>
                  <c:pt idx="1934">
                    <c:v>Rolling Stdev (30 Minute)</c:v>
                  </c:pt>
                  <c:pt idx="1935">
                    <c:v>Rolling Stdev (30 Minute)</c:v>
                  </c:pt>
                  <c:pt idx="1936">
                    <c:v>Rolling Stdev (30 Minute)</c:v>
                  </c:pt>
                  <c:pt idx="1937">
                    <c:v>Rolling Stdev (30 Minute)</c:v>
                  </c:pt>
                  <c:pt idx="1938">
                    <c:v>Rolling Stdev (30 Minute)</c:v>
                  </c:pt>
                  <c:pt idx="1939">
                    <c:v>Rolling Stdev (30 Minute)</c:v>
                  </c:pt>
                  <c:pt idx="1940">
                    <c:v>Rolling Stdev (30 Minute)</c:v>
                  </c:pt>
                  <c:pt idx="1941">
                    <c:v>Rolling Stdev (30 Minute)</c:v>
                  </c:pt>
                  <c:pt idx="1942">
                    <c:v>Rolling Stdev (30 Minute)</c:v>
                  </c:pt>
                  <c:pt idx="1943">
                    <c:v>Rolling Stdev (30 Minute)</c:v>
                  </c:pt>
                  <c:pt idx="1944">
                    <c:v>Rolling Stdev (30 Minute)</c:v>
                  </c:pt>
                  <c:pt idx="1945">
                    <c:v>Rolling Stdev (30 Minute)</c:v>
                  </c:pt>
                  <c:pt idx="1946">
                    <c:v>Rolling Stdev (30 Minute)</c:v>
                  </c:pt>
                  <c:pt idx="1947">
                    <c:v>Rolling Stdev (30 Minute)</c:v>
                  </c:pt>
                  <c:pt idx="1948">
                    <c:v>Rolling Stdev (30 Minute)</c:v>
                  </c:pt>
                  <c:pt idx="1949">
                    <c:v>Rolling Stdev (30 Minute)</c:v>
                  </c:pt>
                  <c:pt idx="1950">
                    <c:v>Rolling Stdev (30 Minute)</c:v>
                  </c:pt>
                  <c:pt idx="1951">
                    <c:v>Rolling Stdev (30 Minute)</c:v>
                  </c:pt>
                  <c:pt idx="1952">
                    <c:v>Rolling Stdev (30 Minute)</c:v>
                  </c:pt>
                  <c:pt idx="1953">
                    <c:v>Rolling Stdev (30 Minute)</c:v>
                  </c:pt>
                  <c:pt idx="1954">
                    <c:v>Rolling Stdev (30 Minute)</c:v>
                  </c:pt>
                  <c:pt idx="1955">
                    <c:v>Rolling Stdev (30 Minute)</c:v>
                  </c:pt>
                  <c:pt idx="1956">
                    <c:v>Rolling Stdev (30 Minute)</c:v>
                  </c:pt>
                  <c:pt idx="1957">
                    <c:v>Rolling Stdev (30 Minute)</c:v>
                  </c:pt>
                  <c:pt idx="1958">
                    <c:v>Rolling Stdev (30 Minute)</c:v>
                  </c:pt>
                  <c:pt idx="1959">
                    <c:v>Rolling Stdev (30 Minute)</c:v>
                  </c:pt>
                  <c:pt idx="1960">
                    <c:v>Rolling Stdev (30 Minute)</c:v>
                  </c:pt>
                  <c:pt idx="1961">
                    <c:v>Rolling Stdev (30 Minute)</c:v>
                  </c:pt>
                  <c:pt idx="1962">
                    <c:v>Rolling Stdev (30 Minute)</c:v>
                  </c:pt>
                  <c:pt idx="1963">
                    <c:v>Rolling Stdev (30 Minute)</c:v>
                  </c:pt>
                  <c:pt idx="1964">
                    <c:v>Rolling Stdev (30 Minute)</c:v>
                  </c:pt>
                  <c:pt idx="1965">
                    <c:v>Rolling Stdev (30 Minute)</c:v>
                  </c:pt>
                  <c:pt idx="1966">
                    <c:v>Rolling Stdev (30 Minute)</c:v>
                  </c:pt>
                  <c:pt idx="1967">
                    <c:v>Rolling Stdev (30 Minute)</c:v>
                  </c:pt>
                  <c:pt idx="1968">
                    <c:v>Rolling Stdev (30 Minute)</c:v>
                  </c:pt>
                  <c:pt idx="1969">
                    <c:v>Rolling Stdev (30 Minute)</c:v>
                  </c:pt>
                  <c:pt idx="1970">
                    <c:v>Rolling Stdev (30 Minute)</c:v>
                  </c:pt>
                  <c:pt idx="1971">
                    <c:v>Rolling Stdev (30 Minute)</c:v>
                  </c:pt>
                  <c:pt idx="1972">
                    <c:v>Rolling Stdev (30 Minute)</c:v>
                  </c:pt>
                  <c:pt idx="1973">
                    <c:v>Rolling Stdev (30 Minute)</c:v>
                  </c:pt>
                  <c:pt idx="1974">
                    <c:v>Rolling Stdev (30 Minute)</c:v>
                  </c:pt>
                  <c:pt idx="1975">
                    <c:v>Rolling Stdev (30 Minute)</c:v>
                  </c:pt>
                  <c:pt idx="1976">
                    <c:v>Rolling Stdev (30 Minute)</c:v>
                  </c:pt>
                  <c:pt idx="1977">
                    <c:v>Rolling Stdev (30 Minute)</c:v>
                  </c:pt>
                  <c:pt idx="1978">
                    <c:v>Rolling Stdev (30 Minute)</c:v>
                  </c:pt>
                  <c:pt idx="1979">
                    <c:v>Rolling Stdev (30 Minute)</c:v>
                  </c:pt>
                  <c:pt idx="1980">
                    <c:v>Rolling Stdev (30 Minute)</c:v>
                  </c:pt>
                  <c:pt idx="1981">
                    <c:v>Rolling Stdev (30 Minute)</c:v>
                  </c:pt>
                  <c:pt idx="1982">
                    <c:v>Rolling Stdev (30 Minute)</c:v>
                  </c:pt>
                  <c:pt idx="1983">
                    <c:v>Rolling Stdev (30 Minute)</c:v>
                  </c:pt>
                  <c:pt idx="1984">
                    <c:v>Rolling Stdev (30 Minute)</c:v>
                  </c:pt>
                  <c:pt idx="1985">
                    <c:v>Rolling Stdev (30 Minute)</c:v>
                  </c:pt>
                  <c:pt idx="1986">
                    <c:v>Rolling Stdev (30 Minute)</c:v>
                  </c:pt>
                  <c:pt idx="1987">
                    <c:v>Rolling Stdev (30 Minute)</c:v>
                  </c:pt>
                  <c:pt idx="1988">
                    <c:v>Rolling Stdev (30 Minute)</c:v>
                  </c:pt>
                  <c:pt idx="1989">
                    <c:v>Rolling Stdev (30 Minute)</c:v>
                  </c:pt>
                  <c:pt idx="1990">
                    <c:v>Rolling Stdev (30 Minute)</c:v>
                  </c:pt>
                  <c:pt idx="1991">
                    <c:v>Rolling Stdev (30 Minute)</c:v>
                  </c:pt>
                  <c:pt idx="1992">
                    <c:v>Rolling Stdev (30 Minute)</c:v>
                  </c:pt>
                  <c:pt idx="1993">
                    <c:v>Rolling Stdev (30 Minute)</c:v>
                  </c:pt>
                  <c:pt idx="1994">
                    <c:v>Rolling Stdev (30 Minute)</c:v>
                  </c:pt>
                  <c:pt idx="1995">
                    <c:v>Rolling Stdev (30 Minute)</c:v>
                  </c:pt>
                  <c:pt idx="1996">
                    <c:v>Rolling Stdev (30 Minute)</c:v>
                  </c:pt>
                  <c:pt idx="1997">
                    <c:v>Rolling Stdev (30 Minute)</c:v>
                  </c:pt>
                  <c:pt idx="1998">
                    <c:v>Rolling Stdev (30 Minute)</c:v>
                  </c:pt>
                  <c:pt idx="1999">
                    <c:v>Rolling Stdev (30 Minute)</c:v>
                  </c:pt>
                  <c:pt idx="2000">
                    <c:v>Rolling Stdev (30 Minute)</c:v>
                  </c:pt>
                  <c:pt idx="2001">
                    <c:v>Rolling Stdev (30 Minute)</c:v>
                  </c:pt>
                  <c:pt idx="2002">
                    <c:v>Rolling Stdev (30 Minute)</c:v>
                  </c:pt>
                  <c:pt idx="2003">
                    <c:v>Rolling Stdev (30 Minute)</c:v>
                  </c:pt>
                  <c:pt idx="2004">
                    <c:v>Rolling Stdev (30 Minute)</c:v>
                  </c:pt>
                  <c:pt idx="2005">
                    <c:v>Rolling Stdev (30 Minute)</c:v>
                  </c:pt>
                  <c:pt idx="2006">
                    <c:v>Rolling Stdev (30 Minute)</c:v>
                  </c:pt>
                  <c:pt idx="2007">
                    <c:v>Rolling Stdev (30 Minute)</c:v>
                  </c:pt>
                  <c:pt idx="2008">
                    <c:v>Rolling Stdev (30 Minute)</c:v>
                  </c:pt>
                  <c:pt idx="2009">
                    <c:v>Rolling Stdev (30 Minute)</c:v>
                  </c:pt>
                  <c:pt idx="2010">
                    <c:v>Rolling Stdev (30 Minute)</c:v>
                  </c:pt>
                  <c:pt idx="2011">
                    <c:v>Rolling Stdev (30 Minute)</c:v>
                  </c:pt>
                  <c:pt idx="2012">
                    <c:v>Rolling Stdev (30 Minute)</c:v>
                  </c:pt>
                  <c:pt idx="2013">
                    <c:v>Rolling Stdev (30 Minute)</c:v>
                  </c:pt>
                  <c:pt idx="2014">
                    <c:v>Rolling Stdev (30 Minute)</c:v>
                  </c:pt>
                  <c:pt idx="2015">
                    <c:v>Rolling Stdev (30 Minute)</c:v>
                  </c:pt>
                  <c:pt idx="2016">
                    <c:v>Rolling Stdev (30 Minute)</c:v>
                  </c:pt>
                  <c:pt idx="2017">
                    <c:v>Rolling Stdev (30 Minute)</c:v>
                  </c:pt>
                  <c:pt idx="2018">
                    <c:v>Rolling Stdev (30 Minute)</c:v>
                  </c:pt>
                  <c:pt idx="2019">
                    <c:v>Rolling Stdev (30 Minute)</c:v>
                  </c:pt>
                  <c:pt idx="2020">
                    <c:v>Rolling Stdev (30 Minute)</c:v>
                  </c:pt>
                  <c:pt idx="2021">
                    <c:v>Rolling Stdev (30 Minute)</c:v>
                  </c:pt>
                  <c:pt idx="2022">
                    <c:v>Rolling Stdev (30 Minute)</c:v>
                  </c:pt>
                  <c:pt idx="2023">
                    <c:v>Rolling Stdev (30 Minute)</c:v>
                  </c:pt>
                  <c:pt idx="2024">
                    <c:v>Rolling Stdev (30 Minute)</c:v>
                  </c:pt>
                  <c:pt idx="2025">
                    <c:v>Rolling Stdev (30 Minute)</c:v>
                  </c:pt>
                  <c:pt idx="2026">
                    <c:v>Rolling Stdev (30 Minute)</c:v>
                  </c:pt>
                  <c:pt idx="2027">
                    <c:v>Rolling Stdev (30 Minute)</c:v>
                  </c:pt>
                  <c:pt idx="2028">
                    <c:v>Rolling Stdev (30 Minute)</c:v>
                  </c:pt>
                  <c:pt idx="2029">
                    <c:v>Rolling Stdev (30 Minute)</c:v>
                  </c:pt>
                  <c:pt idx="2030">
                    <c:v>Rolling Stdev (30 Minute)</c:v>
                  </c:pt>
                  <c:pt idx="2031">
                    <c:v>Rolling Stdev (30 Minute)</c:v>
                  </c:pt>
                  <c:pt idx="2032">
                    <c:v>Rolling Stdev (30 Minute)</c:v>
                  </c:pt>
                  <c:pt idx="2033">
                    <c:v>Rolling Stdev (30 Minute)</c:v>
                  </c:pt>
                  <c:pt idx="2034">
                    <c:v>Rolling Stdev (30 Minute)</c:v>
                  </c:pt>
                  <c:pt idx="2035">
                    <c:v>Rolling Stdev (30 Minute)</c:v>
                  </c:pt>
                  <c:pt idx="2036">
                    <c:v>Rolling Stdev (30 Minute)</c:v>
                  </c:pt>
                  <c:pt idx="2037">
                    <c:v>Rolling Stdev (30 Minute)</c:v>
                  </c:pt>
                  <c:pt idx="2038">
                    <c:v>Rolling Stdev (30 Minute)</c:v>
                  </c:pt>
                  <c:pt idx="2039">
                    <c:v>Rolling Stdev (30 Minute)</c:v>
                  </c:pt>
                  <c:pt idx="2040">
                    <c:v>Rolling Stdev (30 Minute)</c:v>
                  </c:pt>
                  <c:pt idx="2041">
                    <c:v>Rolling Stdev (30 Minute)</c:v>
                  </c:pt>
                  <c:pt idx="2042">
                    <c:v>Rolling Stdev (30 Minute)</c:v>
                  </c:pt>
                  <c:pt idx="2043">
                    <c:v>Rolling Stdev (30 Minute)</c:v>
                  </c:pt>
                  <c:pt idx="2044">
                    <c:v>Rolling Stdev (30 Minute)</c:v>
                  </c:pt>
                  <c:pt idx="2045">
                    <c:v>Rolling Stdev (30 Minute)</c:v>
                  </c:pt>
                  <c:pt idx="2046">
                    <c:v>Rolling Stdev (30 Minute)</c:v>
                  </c:pt>
                  <c:pt idx="2047">
                    <c:v>Rolling Stdev (30 Minute)</c:v>
                  </c:pt>
                  <c:pt idx="2048">
                    <c:v>Rolling Stdev (30 Minute)</c:v>
                  </c:pt>
                  <c:pt idx="2049">
                    <c:v>Rolling Stdev (30 Minute)</c:v>
                  </c:pt>
                  <c:pt idx="2050">
                    <c:v>Rolling Stdev (30 Minute)</c:v>
                  </c:pt>
                  <c:pt idx="2051">
                    <c:v>Rolling Stdev (30 Minute)</c:v>
                  </c:pt>
                  <c:pt idx="2052">
                    <c:v>Rolling Stdev (30 Minute)</c:v>
                  </c:pt>
                  <c:pt idx="2053">
                    <c:v>Rolling Stdev (30 Minute)</c:v>
                  </c:pt>
                  <c:pt idx="2054">
                    <c:v>Rolling Stdev (30 Minute)</c:v>
                  </c:pt>
                  <c:pt idx="2055">
                    <c:v>Rolling Stdev (30 Minute)</c:v>
                  </c:pt>
                  <c:pt idx="2056">
                    <c:v>Rolling Stdev (30 Minute)</c:v>
                  </c:pt>
                  <c:pt idx="2057">
                    <c:v>Rolling Stdev (30 Minute)</c:v>
                  </c:pt>
                  <c:pt idx="2058">
                    <c:v>Rolling Stdev (30 Minute)</c:v>
                  </c:pt>
                  <c:pt idx="2059">
                    <c:v>Rolling Stdev (30 Minute)</c:v>
                  </c:pt>
                  <c:pt idx="2060">
                    <c:v>Rolling Stdev (30 Minute)</c:v>
                  </c:pt>
                  <c:pt idx="2061">
                    <c:v>Rolling Stdev (30 Minute)</c:v>
                  </c:pt>
                  <c:pt idx="2062">
                    <c:v>Rolling Stdev (30 Minute)</c:v>
                  </c:pt>
                  <c:pt idx="2063">
                    <c:v>Rolling Stdev (30 Minute)</c:v>
                  </c:pt>
                  <c:pt idx="2064">
                    <c:v>Rolling Stdev (30 Minute)</c:v>
                  </c:pt>
                  <c:pt idx="2065">
                    <c:v>Rolling Stdev (30 Minute)</c:v>
                  </c:pt>
                  <c:pt idx="2066">
                    <c:v>Rolling Stdev (30 Minute)</c:v>
                  </c:pt>
                  <c:pt idx="2067">
                    <c:v>Rolling Stdev (30 Minute)</c:v>
                  </c:pt>
                  <c:pt idx="2068">
                    <c:v>Rolling Stdev (30 Minute)</c:v>
                  </c:pt>
                  <c:pt idx="2069">
                    <c:v>Rolling Stdev (30 Minute)</c:v>
                  </c:pt>
                  <c:pt idx="2070">
                    <c:v>Rolling Stdev (30 Minute)</c:v>
                  </c:pt>
                  <c:pt idx="2071">
                    <c:v>Rolling Stdev (30 Minute)</c:v>
                  </c:pt>
                  <c:pt idx="2072">
                    <c:v>Rolling Stdev (30 Minute)</c:v>
                  </c:pt>
                  <c:pt idx="2073">
                    <c:v>Rolling Stdev (30 Minute)</c:v>
                  </c:pt>
                  <c:pt idx="2074">
                    <c:v>Rolling Stdev (30 Minute)</c:v>
                  </c:pt>
                  <c:pt idx="2075">
                    <c:v>Rolling Stdev (30 Minute)</c:v>
                  </c:pt>
                  <c:pt idx="2076">
                    <c:v>Rolling Stdev (30 Minute)</c:v>
                  </c:pt>
                  <c:pt idx="2077">
                    <c:v>Rolling Stdev (30 Minute)</c:v>
                  </c:pt>
                  <c:pt idx="2078">
                    <c:v>Rolling Stdev (30 Minute)</c:v>
                  </c:pt>
                  <c:pt idx="2079">
                    <c:v>Rolling Stdev (30 Minute)</c:v>
                  </c:pt>
                  <c:pt idx="2080">
                    <c:v>Rolling Stdev (30 Minute)</c:v>
                  </c:pt>
                  <c:pt idx="2081">
                    <c:v>Rolling Stdev (30 Minute)</c:v>
                  </c:pt>
                  <c:pt idx="2082">
                    <c:v>Rolling Stdev (30 Minute)</c:v>
                  </c:pt>
                  <c:pt idx="2083">
                    <c:v>Rolling Stdev (30 Minute)</c:v>
                  </c:pt>
                  <c:pt idx="2084">
                    <c:v>Rolling Stdev (30 Minute)</c:v>
                  </c:pt>
                  <c:pt idx="2085">
                    <c:v>Rolling Stdev (30 Minute)</c:v>
                  </c:pt>
                  <c:pt idx="2086">
                    <c:v>Rolling Stdev (30 Minute)</c:v>
                  </c:pt>
                  <c:pt idx="2087">
                    <c:v>Rolling Stdev (30 Minute)</c:v>
                  </c:pt>
                  <c:pt idx="2088">
                    <c:v>Rolling Stdev (30 Minute)</c:v>
                  </c:pt>
                  <c:pt idx="2089">
                    <c:v>Rolling Stdev (30 Minute)</c:v>
                  </c:pt>
                  <c:pt idx="2090">
                    <c:v>Rolling Stdev (30 Minute)</c:v>
                  </c:pt>
                  <c:pt idx="2091">
                    <c:v>Rolling Stdev (30 Minute)</c:v>
                  </c:pt>
                  <c:pt idx="2092">
                    <c:v>Rolling Stdev (30 Minute)</c:v>
                  </c:pt>
                  <c:pt idx="2093">
                    <c:v>Rolling Stdev (30 Minute)</c:v>
                  </c:pt>
                  <c:pt idx="2094">
                    <c:v>Rolling Stdev (30 Minute)</c:v>
                  </c:pt>
                  <c:pt idx="2095">
                    <c:v>Rolling Stdev (30 Minute)</c:v>
                  </c:pt>
                  <c:pt idx="2096">
                    <c:v>Rolling Stdev (30 Minute)</c:v>
                  </c:pt>
                  <c:pt idx="2097">
                    <c:v>Rolling Stdev (30 Minute)</c:v>
                  </c:pt>
                  <c:pt idx="2098">
                    <c:v>Rolling Stdev (30 Minute)</c:v>
                  </c:pt>
                  <c:pt idx="2099">
                    <c:v>Rolling Stdev (30 Minute)</c:v>
                  </c:pt>
                  <c:pt idx="2100">
                    <c:v>Rolling Stdev (30 Minute)</c:v>
                  </c:pt>
                  <c:pt idx="2101">
                    <c:v>Rolling Stdev (30 Minute)</c:v>
                  </c:pt>
                  <c:pt idx="2102">
                    <c:v>Rolling Stdev (30 Minute)</c:v>
                  </c:pt>
                  <c:pt idx="2103">
                    <c:v>Rolling Stdev (30 Minute)</c:v>
                  </c:pt>
                  <c:pt idx="2104">
                    <c:v>Rolling Stdev (30 Minute)</c:v>
                  </c:pt>
                  <c:pt idx="2105">
                    <c:v>Rolling Stdev (30 Minute)</c:v>
                  </c:pt>
                  <c:pt idx="2106">
                    <c:v>Rolling Stdev (30 Minute)</c:v>
                  </c:pt>
                  <c:pt idx="2107">
                    <c:v>Rolling Stdev (30 Minute)</c:v>
                  </c:pt>
                  <c:pt idx="2108">
                    <c:v>Rolling Stdev (30 Minute)</c:v>
                  </c:pt>
                  <c:pt idx="2109">
                    <c:v>Rolling Stdev (30 Minute)</c:v>
                  </c:pt>
                  <c:pt idx="2110">
                    <c:v>Rolling Stdev (30 Minute)</c:v>
                  </c:pt>
                  <c:pt idx="2111">
                    <c:v>Rolling Stdev (30 Minute)</c:v>
                  </c:pt>
                  <c:pt idx="2112">
                    <c:v>Rolling Stdev (30 Minute)</c:v>
                  </c:pt>
                  <c:pt idx="2113">
                    <c:v>Rolling Stdev (30 Minute)</c:v>
                  </c:pt>
                  <c:pt idx="2114">
                    <c:v>Rolling Stdev (30 Minute)</c:v>
                  </c:pt>
                  <c:pt idx="2115">
                    <c:v>Rolling Stdev (30 Minute)</c:v>
                  </c:pt>
                  <c:pt idx="2116">
                    <c:v>Rolling Stdev (30 Minute)</c:v>
                  </c:pt>
                  <c:pt idx="2117">
                    <c:v>Rolling Stdev (30 Minute)</c:v>
                  </c:pt>
                  <c:pt idx="2118">
                    <c:v>Rolling Stdev (30 Minute)</c:v>
                  </c:pt>
                  <c:pt idx="2119">
                    <c:v>Rolling Stdev (30 Minute)</c:v>
                  </c:pt>
                  <c:pt idx="2120">
                    <c:v>Rolling Stdev (30 Minute)</c:v>
                  </c:pt>
                  <c:pt idx="2121">
                    <c:v>Rolling Stdev (30 Minute)</c:v>
                  </c:pt>
                  <c:pt idx="2122">
                    <c:v>Rolling Stdev (30 Minute)</c:v>
                  </c:pt>
                  <c:pt idx="2123">
                    <c:v>Rolling Stdev (30 Minute)</c:v>
                  </c:pt>
                  <c:pt idx="2124">
                    <c:v>Rolling Stdev (30 Minute)</c:v>
                  </c:pt>
                  <c:pt idx="2125">
                    <c:v>Rolling Stdev (30 Minute)</c:v>
                  </c:pt>
                  <c:pt idx="2126">
                    <c:v>Rolling Stdev (30 Minute)</c:v>
                  </c:pt>
                  <c:pt idx="2127">
                    <c:v>Rolling Stdev (30 Minute)</c:v>
                  </c:pt>
                  <c:pt idx="2128">
                    <c:v>Rolling Stdev (30 Minute)</c:v>
                  </c:pt>
                  <c:pt idx="2129">
                    <c:v>Rolling Stdev (30 Minute)</c:v>
                  </c:pt>
                  <c:pt idx="2130">
                    <c:v>Rolling Stdev (30 Minute)</c:v>
                  </c:pt>
                  <c:pt idx="2131">
                    <c:v>Rolling Stdev (30 Minute)</c:v>
                  </c:pt>
                  <c:pt idx="2132">
                    <c:v>Rolling Stdev (30 Minute)</c:v>
                  </c:pt>
                  <c:pt idx="2133">
                    <c:v>Rolling Stdev (30 Minute)</c:v>
                  </c:pt>
                  <c:pt idx="2134">
                    <c:v>Rolling Stdev (30 Minute)</c:v>
                  </c:pt>
                  <c:pt idx="2135">
                    <c:v>Rolling Stdev (30 Minute)</c:v>
                  </c:pt>
                  <c:pt idx="2136">
                    <c:v>Rolling Stdev (30 Minute)</c:v>
                  </c:pt>
                  <c:pt idx="2137">
                    <c:v>Rolling Stdev (30 Minute)</c:v>
                  </c:pt>
                  <c:pt idx="2138">
                    <c:v>Rolling Stdev (30 Minute)</c:v>
                  </c:pt>
                  <c:pt idx="2139">
                    <c:v>Rolling Stdev (30 Minute)</c:v>
                  </c:pt>
                  <c:pt idx="2140">
                    <c:v>Rolling Stdev (30 Minute)</c:v>
                  </c:pt>
                  <c:pt idx="2141">
                    <c:v>Rolling Stdev (30 Minute)</c:v>
                  </c:pt>
                  <c:pt idx="2142">
                    <c:v>Rolling Stdev (30 Minute)</c:v>
                  </c:pt>
                  <c:pt idx="2143">
                    <c:v>Rolling Stdev (30 Minute)</c:v>
                  </c:pt>
                  <c:pt idx="2144">
                    <c:v>Rolling Stdev (30 Minute)</c:v>
                  </c:pt>
                  <c:pt idx="2145">
                    <c:v>Rolling Stdev (30 Minute)</c:v>
                  </c:pt>
                  <c:pt idx="2146">
                    <c:v>Rolling Stdev (30 Minute)</c:v>
                  </c:pt>
                  <c:pt idx="2147">
                    <c:v>Rolling Stdev (30 Minute)</c:v>
                  </c:pt>
                  <c:pt idx="2148">
                    <c:v>Rolling Stdev (30 Minute)</c:v>
                  </c:pt>
                  <c:pt idx="2149">
                    <c:v>Rolling Stdev (30 Minute)</c:v>
                  </c:pt>
                  <c:pt idx="2150">
                    <c:v>Rolling Stdev (30 Minute)</c:v>
                  </c:pt>
                  <c:pt idx="2151">
                    <c:v>Rolling Stdev (30 Minute)</c:v>
                  </c:pt>
                  <c:pt idx="2152">
                    <c:v>Rolling Stdev (30 Minute)</c:v>
                  </c:pt>
                  <c:pt idx="2153">
                    <c:v>Rolling Stdev (30 Minute)</c:v>
                  </c:pt>
                  <c:pt idx="2154">
                    <c:v>Rolling Stdev (30 Minute)</c:v>
                  </c:pt>
                  <c:pt idx="2155">
                    <c:v>Rolling Stdev (30 Minute)</c:v>
                  </c:pt>
                  <c:pt idx="2156">
                    <c:v>Rolling Stdev (30 Minute)</c:v>
                  </c:pt>
                  <c:pt idx="2157">
                    <c:v>Rolling Stdev (30 Minute)</c:v>
                  </c:pt>
                  <c:pt idx="2158">
                    <c:v>Rolling Stdev (30 Minute)</c:v>
                  </c:pt>
                  <c:pt idx="2159">
                    <c:v>Rolling Stdev (30 Minute)</c:v>
                  </c:pt>
                  <c:pt idx="2160">
                    <c:v>Rolling Stdev (30 Minute)</c:v>
                  </c:pt>
                  <c:pt idx="2161">
                    <c:v>Rolling Stdev (30 Minute)</c:v>
                  </c:pt>
                  <c:pt idx="2162">
                    <c:v>Rolling Stdev (30 Minute)</c:v>
                  </c:pt>
                  <c:pt idx="2163">
                    <c:v>Rolling Stdev (30 Minute)</c:v>
                  </c:pt>
                  <c:pt idx="2164">
                    <c:v>Rolling Stdev (30 Minute)</c:v>
                  </c:pt>
                  <c:pt idx="2165">
                    <c:v>Rolling Stdev (30 Minute)</c:v>
                  </c:pt>
                  <c:pt idx="2166">
                    <c:v>Rolling Stdev (30 Minute)</c:v>
                  </c:pt>
                  <c:pt idx="2167">
                    <c:v>Rolling Stdev (30 Minute)</c:v>
                  </c:pt>
                  <c:pt idx="2168">
                    <c:v>Rolling Stdev (30 Minute)</c:v>
                  </c:pt>
                  <c:pt idx="2169">
                    <c:v>Rolling Stdev (30 Minute)</c:v>
                  </c:pt>
                  <c:pt idx="2170">
                    <c:v>Rolling Stdev (30 Minute)</c:v>
                  </c:pt>
                  <c:pt idx="2171">
                    <c:v>Rolling Stdev (30 Minute)</c:v>
                  </c:pt>
                  <c:pt idx="2172">
                    <c:v>Rolling Stdev (30 Minute)</c:v>
                  </c:pt>
                  <c:pt idx="2173">
                    <c:v>Rolling Stdev (30 Minute)</c:v>
                  </c:pt>
                  <c:pt idx="2174">
                    <c:v>Rolling Stdev (30 Minute)</c:v>
                  </c:pt>
                  <c:pt idx="2175">
                    <c:v>Rolling Stdev (30 Minute)</c:v>
                  </c:pt>
                  <c:pt idx="2176">
                    <c:v>Rolling Stdev (30 Minute)</c:v>
                  </c:pt>
                  <c:pt idx="2177">
                    <c:v>Rolling Stdev (30 Minute)</c:v>
                  </c:pt>
                  <c:pt idx="2178">
                    <c:v>Rolling Stdev (30 Minute)</c:v>
                  </c:pt>
                  <c:pt idx="2179">
                    <c:v>Rolling Stdev (30 Minute)</c:v>
                  </c:pt>
                  <c:pt idx="2180">
                    <c:v>Rolling Stdev (30 Minute)</c:v>
                  </c:pt>
                  <c:pt idx="2181">
                    <c:v>Rolling Stdev (30 Minute)</c:v>
                  </c:pt>
                  <c:pt idx="2182">
                    <c:v>Rolling Stdev (30 Minute)</c:v>
                  </c:pt>
                  <c:pt idx="2183">
                    <c:v>Rolling Stdev (30 Minute)</c:v>
                  </c:pt>
                  <c:pt idx="2184">
                    <c:v>Rolling Stdev (30 Minute)</c:v>
                  </c:pt>
                  <c:pt idx="2185">
                    <c:v>Rolling Stdev (30 Minute)</c:v>
                  </c:pt>
                  <c:pt idx="2186">
                    <c:v>Rolling Stdev (30 Minute)</c:v>
                  </c:pt>
                  <c:pt idx="2187">
                    <c:v>Rolling Stdev (30 Minute)</c:v>
                  </c:pt>
                  <c:pt idx="2188">
                    <c:v>Rolling Stdev (30 Minute)</c:v>
                  </c:pt>
                  <c:pt idx="2189">
                    <c:v>Rolling Stdev (30 Minute)</c:v>
                  </c:pt>
                  <c:pt idx="2190">
                    <c:v>Rolling Stdev (30 Minute)</c:v>
                  </c:pt>
                  <c:pt idx="2191">
                    <c:v>Rolling Stdev (30 Minute)</c:v>
                  </c:pt>
                  <c:pt idx="2192">
                    <c:v>Rolling Stdev (30 Minute)</c:v>
                  </c:pt>
                  <c:pt idx="2193">
                    <c:v>Rolling Stdev (30 Minute)</c:v>
                  </c:pt>
                  <c:pt idx="2194">
                    <c:v>Rolling Stdev (30 Minute)</c:v>
                  </c:pt>
                  <c:pt idx="2195">
                    <c:v>Rolling Stdev (30 Minute)</c:v>
                  </c:pt>
                  <c:pt idx="2196">
                    <c:v>Rolling Stdev (30 Minute)</c:v>
                  </c:pt>
                  <c:pt idx="2197">
                    <c:v>Rolling Stdev (30 Minute)</c:v>
                  </c:pt>
                  <c:pt idx="2198">
                    <c:v>Rolling Stdev (30 Minute)</c:v>
                  </c:pt>
                  <c:pt idx="2199">
                    <c:v>Rolling Stdev (30 Minute)</c:v>
                  </c:pt>
                  <c:pt idx="2200">
                    <c:v>Rolling Stdev (30 Minute)</c:v>
                  </c:pt>
                  <c:pt idx="2201">
                    <c:v>Rolling Stdev (30 Minute)</c:v>
                  </c:pt>
                  <c:pt idx="2202">
                    <c:v>Rolling Stdev (30 Minute)</c:v>
                  </c:pt>
                  <c:pt idx="2203">
                    <c:v>Rolling Stdev (30 Minute)</c:v>
                  </c:pt>
                  <c:pt idx="2204">
                    <c:v>Rolling Stdev (30 Minute)</c:v>
                  </c:pt>
                  <c:pt idx="2205">
                    <c:v>Rolling Stdev (30 Minute)</c:v>
                  </c:pt>
                  <c:pt idx="2206">
                    <c:v>Rolling Stdev (30 Minute)</c:v>
                  </c:pt>
                  <c:pt idx="2207">
                    <c:v>Rolling Stdev (30 Minute)</c:v>
                  </c:pt>
                  <c:pt idx="2208">
                    <c:v>Rolling Stdev (30 Minute)</c:v>
                  </c:pt>
                  <c:pt idx="2209">
                    <c:v>Rolling Stdev (30 Minute)</c:v>
                  </c:pt>
                  <c:pt idx="2210">
                    <c:v>Rolling Stdev (30 Minute)</c:v>
                  </c:pt>
                  <c:pt idx="2211">
                    <c:v>Rolling Stdev (30 Minute)</c:v>
                  </c:pt>
                  <c:pt idx="2212">
                    <c:v>Rolling Stdev (30 Minute)</c:v>
                  </c:pt>
                  <c:pt idx="2213">
                    <c:v>Rolling Stdev (30 Minute)</c:v>
                  </c:pt>
                  <c:pt idx="2214">
                    <c:v>Rolling Stdev (30 Minute)</c:v>
                  </c:pt>
                  <c:pt idx="2215">
                    <c:v>Rolling Stdev (30 Minute)</c:v>
                  </c:pt>
                  <c:pt idx="2216">
                    <c:v>Rolling Stdev (30 Minute)</c:v>
                  </c:pt>
                  <c:pt idx="2217">
                    <c:v>Rolling Stdev (30 Minute)</c:v>
                  </c:pt>
                  <c:pt idx="2218">
                    <c:v>Rolling Stdev (30 Minute)</c:v>
                  </c:pt>
                  <c:pt idx="2219">
                    <c:v>Rolling Stdev (30 Minute)</c:v>
                  </c:pt>
                  <c:pt idx="2220">
                    <c:v>Rolling Stdev (30 Minute)</c:v>
                  </c:pt>
                  <c:pt idx="2221">
                    <c:v>Rolling Stdev (30 Minute)</c:v>
                  </c:pt>
                  <c:pt idx="2222">
                    <c:v>Rolling Stdev (30 Minute)</c:v>
                  </c:pt>
                  <c:pt idx="2223">
                    <c:v>Rolling Stdev (30 Minute)</c:v>
                  </c:pt>
                  <c:pt idx="2224">
                    <c:v>Rolling Stdev (30 Minute)</c:v>
                  </c:pt>
                  <c:pt idx="2225">
                    <c:v>Rolling Stdev (30 Minute)</c:v>
                  </c:pt>
                  <c:pt idx="2226">
                    <c:v>Rolling Stdev (30 Minute)</c:v>
                  </c:pt>
                  <c:pt idx="2227">
                    <c:v>Rolling Stdev (30 Minute)</c:v>
                  </c:pt>
                  <c:pt idx="2228">
                    <c:v>Rolling Stdev (30 Minute)</c:v>
                  </c:pt>
                  <c:pt idx="2229">
                    <c:v>Rolling Stdev (30 Minute)</c:v>
                  </c:pt>
                  <c:pt idx="2230">
                    <c:v>Rolling Stdev (30 Minute)</c:v>
                  </c:pt>
                  <c:pt idx="2231">
                    <c:v>Rolling Stdev (30 Minute)</c:v>
                  </c:pt>
                  <c:pt idx="2232">
                    <c:v>Rolling Stdev (30 Minute)</c:v>
                  </c:pt>
                  <c:pt idx="2233">
                    <c:v>Rolling Stdev (30 Minute)</c:v>
                  </c:pt>
                  <c:pt idx="2234">
                    <c:v>Rolling Stdev (30 Minute)</c:v>
                  </c:pt>
                  <c:pt idx="2235">
                    <c:v>Rolling Stdev (30 Minute)</c:v>
                  </c:pt>
                  <c:pt idx="2236">
                    <c:v>Rolling Stdev (30 Minute)</c:v>
                  </c:pt>
                  <c:pt idx="2237">
                    <c:v>Rolling Stdev (30 Minute)</c:v>
                  </c:pt>
                  <c:pt idx="2238">
                    <c:v>Rolling Stdev (30 Minute)</c:v>
                  </c:pt>
                  <c:pt idx="2239">
                    <c:v>Rolling Stdev (30 Minute)</c:v>
                  </c:pt>
                  <c:pt idx="2240">
                    <c:v>Rolling Stdev (30 Minute)</c:v>
                  </c:pt>
                  <c:pt idx="2241">
                    <c:v>Rolling Stdev (30 Minute)</c:v>
                  </c:pt>
                  <c:pt idx="2242">
                    <c:v>Rolling Stdev (30 Minute)</c:v>
                  </c:pt>
                  <c:pt idx="2243">
                    <c:v>Rolling Stdev (30 Minute)</c:v>
                  </c:pt>
                  <c:pt idx="2244">
                    <c:v>Rolling Stdev (30 Minute)</c:v>
                  </c:pt>
                  <c:pt idx="2245">
                    <c:v>Rolling Stdev (30 Minute)</c:v>
                  </c:pt>
                  <c:pt idx="2246">
                    <c:v>Rolling Stdev (30 Minute)</c:v>
                  </c:pt>
                  <c:pt idx="2247">
                    <c:v>Rolling Stdev (30 Minute)</c:v>
                  </c:pt>
                  <c:pt idx="2248">
                    <c:v>Rolling Stdev (30 Minute)</c:v>
                  </c:pt>
                  <c:pt idx="2249">
                    <c:v>Rolling Stdev (30 Minute)</c:v>
                  </c:pt>
                  <c:pt idx="2250">
                    <c:v>Rolling Stdev (30 Minute)</c:v>
                  </c:pt>
                  <c:pt idx="2251">
                    <c:v>Rolling Stdev (30 Minute)</c:v>
                  </c:pt>
                  <c:pt idx="2252">
                    <c:v>Rolling Stdev (30 Minute)</c:v>
                  </c:pt>
                  <c:pt idx="2253">
                    <c:v>Rolling Stdev (30 Minute)</c:v>
                  </c:pt>
                  <c:pt idx="2254">
                    <c:v>Rolling Stdev (30 Minute)</c:v>
                  </c:pt>
                  <c:pt idx="2255">
                    <c:v>Rolling Stdev (30 Minute)</c:v>
                  </c:pt>
                  <c:pt idx="2256">
                    <c:v>Rolling Stdev (30 Minute)</c:v>
                  </c:pt>
                  <c:pt idx="2257">
                    <c:v>Rolling Stdev (30 Minute)</c:v>
                  </c:pt>
                  <c:pt idx="2258">
                    <c:v>Rolling Stdev (30 Minute)</c:v>
                  </c:pt>
                  <c:pt idx="2259">
                    <c:v>Rolling Stdev (30 Minute)</c:v>
                  </c:pt>
                  <c:pt idx="2260">
                    <c:v>Rolling Stdev (30 Minute)</c:v>
                  </c:pt>
                  <c:pt idx="2261">
                    <c:v>Rolling Stdev (30 Minute)</c:v>
                  </c:pt>
                  <c:pt idx="2262">
                    <c:v>Rolling Stdev (30 Minute)</c:v>
                  </c:pt>
                  <c:pt idx="2263">
                    <c:v>Rolling Stdev (30 Minute)</c:v>
                  </c:pt>
                  <c:pt idx="2264">
                    <c:v>Rolling Stdev (30 Minute)</c:v>
                  </c:pt>
                  <c:pt idx="2265">
                    <c:v>Rolling Stdev (30 Minute)</c:v>
                  </c:pt>
                  <c:pt idx="2266">
                    <c:v>Rolling Stdev (30 Minute)</c:v>
                  </c:pt>
                  <c:pt idx="2267">
                    <c:v>Rolling Stdev (30 Minute)</c:v>
                  </c:pt>
                  <c:pt idx="2268">
                    <c:v>Rolling Stdev (30 Minute)</c:v>
                  </c:pt>
                  <c:pt idx="2269">
                    <c:v>Rolling Stdev (30 Minute)</c:v>
                  </c:pt>
                  <c:pt idx="2270">
                    <c:v>Rolling Stdev (30 Minute)</c:v>
                  </c:pt>
                  <c:pt idx="2271">
                    <c:v>Rolling Stdev (30 Minute)</c:v>
                  </c:pt>
                  <c:pt idx="2272">
                    <c:v>Rolling Stdev (30 Minute)</c:v>
                  </c:pt>
                  <c:pt idx="2273">
                    <c:v>Rolling Stdev (30 Minute)</c:v>
                  </c:pt>
                  <c:pt idx="2274">
                    <c:v>Rolling Stdev (30 Minute)</c:v>
                  </c:pt>
                  <c:pt idx="2275">
                    <c:v>Rolling Stdev (30 Minute)</c:v>
                  </c:pt>
                  <c:pt idx="2276">
                    <c:v>Rolling Stdev (30 Minute)</c:v>
                  </c:pt>
                  <c:pt idx="2277">
                    <c:v>Rolling Stdev (30 Minute)</c:v>
                  </c:pt>
                  <c:pt idx="2278">
                    <c:v>Rolling Stdev (30 Minute)</c:v>
                  </c:pt>
                  <c:pt idx="2279">
                    <c:v>Rolling Stdev (30 Minute)</c:v>
                  </c:pt>
                  <c:pt idx="2280">
                    <c:v>Rolling Stdev (30 Minute)</c:v>
                  </c:pt>
                  <c:pt idx="2281">
                    <c:v>Rolling Stdev (30 Minute)</c:v>
                  </c:pt>
                  <c:pt idx="2282">
                    <c:v>Rolling Stdev (30 Minute)</c:v>
                  </c:pt>
                  <c:pt idx="2283">
                    <c:v>Rolling Stdev (30 Minute)</c:v>
                  </c:pt>
                  <c:pt idx="2284">
                    <c:v>Rolling Stdev (30 Minute)</c:v>
                  </c:pt>
                  <c:pt idx="2285">
                    <c:v>Rolling Stdev (30 Minute)</c:v>
                  </c:pt>
                  <c:pt idx="2286">
                    <c:v>Rolling Stdev (30 Minute)</c:v>
                  </c:pt>
                  <c:pt idx="2287">
                    <c:v>Rolling Stdev (30 Minute)</c:v>
                  </c:pt>
                  <c:pt idx="2288">
                    <c:v>Rolling Stdev (30 Minute)</c:v>
                  </c:pt>
                  <c:pt idx="2289">
                    <c:v>Rolling Stdev (30 Minute)</c:v>
                  </c:pt>
                  <c:pt idx="2290">
                    <c:v>Rolling Stdev (30 Minute)</c:v>
                  </c:pt>
                  <c:pt idx="2291">
                    <c:v>Rolling Stdev (30 Minute)</c:v>
                  </c:pt>
                  <c:pt idx="2292">
                    <c:v>Rolling Stdev (30 Minute)</c:v>
                  </c:pt>
                  <c:pt idx="2293">
                    <c:v>Rolling Stdev (30 Minute)</c:v>
                  </c:pt>
                  <c:pt idx="2294">
                    <c:v>Rolling Stdev (30 Minute)</c:v>
                  </c:pt>
                  <c:pt idx="2295">
                    <c:v>Rolling Stdev (30 Minute)</c:v>
                  </c:pt>
                  <c:pt idx="2296">
                    <c:v>Rolling Stdev (30 Minute)</c:v>
                  </c:pt>
                  <c:pt idx="2297">
                    <c:v>Rolling Stdev (30 Minute)</c:v>
                  </c:pt>
                  <c:pt idx="2298">
                    <c:v>Rolling Stdev (30 Minute)</c:v>
                  </c:pt>
                  <c:pt idx="2299">
                    <c:v>Rolling Stdev (30 Minute)</c:v>
                  </c:pt>
                  <c:pt idx="2300">
                    <c:v>Rolling Stdev (30 Minute)</c:v>
                  </c:pt>
                  <c:pt idx="2301">
                    <c:v>Rolling Stdev (30 Minute)</c:v>
                  </c:pt>
                  <c:pt idx="2302">
                    <c:v>Rolling Stdev (30 Minute)</c:v>
                  </c:pt>
                  <c:pt idx="2303">
                    <c:v>Rolling Stdev (30 Minute)</c:v>
                  </c:pt>
                  <c:pt idx="2304">
                    <c:v>Rolling Stdev (30 Minute)</c:v>
                  </c:pt>
                  <c:pt idx="2305">
                    <c:v>Rolling Stdev (30 Minute)</c:v>
                  </c:pt>
                  <c:pt idx="2306">
                    <c:v>Rolling Stdev (30 Minute)</c:v>
                  </c:pt>
                  <c:pt idx="2307">
                    <c:v>Rolling Stdev (30 Minute)</c:v>
                  </c:pt>
                  <c:pt idx="2308">
                    <c:v>Rolling Stdev (30 Minute)</c:v>
                  </c:pt>
                  <c:pt idx="2309">
                    <c:v>Rolling Stdev (30 Minute)</c:v>
                  </c:pt>
                  <c:pt idx="2310">
                    <c:v>Rolling Stdev (30 Minute)</c:v>
                  </c:pt>
                  <c:pt idx="2311">
                    <c:v>Rolling Stdev (30 Minute)</c:v>
                  </c:pt>
                  <c:pt idx="2312">
                    <c:v>Rolling Stdev (30 Minute)</c:v>
                  </c:pt>
                  <c:pt idx="2313">
                    <c:v>Rolling Stdev (30 Minute)</c:v>
                  </c:pt>
                  <c:pt idx="2314">
                    <c:v>Rolling Stdev (30 Minute)</c:v>
                  </c:pt>
                  <c:pt idx="2315">
                    <c:v>Rolling Stdev (30 Minute)</c:v>
                  </c:pt>
                  <c:pt idx="2316">
                    <c:v>Rolling Stdev (30 Minute)</c:v>
                  </c:pt>
                  <c:pt idx="2317">
                    <c:v>Rolling Stdev (30 Minute)</c:v>
                  </c:pt>
                  <c:pt idx="2318">
                    <c:v>Rolling Stdev (30 Minute)</c:v>
                  </c:pt>
                  <c:pt idx="2319">
                    <c:v>Rolling Stdev (30 Minute)</c:v>
                  </c:pt>
                  <c:pt idx="2320">
                    <c:v>Rolling Stdev (30 Minute)</c:v>
                  </c:pt>
                  <c:pt idx="2321">
                    <c:v>Rolling Stdev (30 Minute)</c:v>
                  </c:pt>
                  <c:pt idx="2322">
                    <c:v>Rolling Stdev (30 Minute)</c:v>
                  </c:pt>
                  <c:pt idx="2323">
                    <c:v>Rolling Stdev (30 Minute)</c:v>
                  </c:pt>
                  <c:pt idx="2324">
                    <c:v>Rolling Stdev (30 Minute)</c:v>
                  </c:pt>
                  <c:pt idx="2325">
                    <c:v>Rolling Stdev (30 Minute)</c:v>
                  </c:pt>
                  <c:pt idx="2326">
                    <c:v>Rolling Stdev (30 Minute)</c:v>
                  </c:pt>
                  <c:pt idx="2327">
                    <c:v>Rolling Stdev (30 Minute)</c:v>
                  </c:pt>
                  <c:pt idx="2328">
                    <c:v>Rolling Stdev (30 Minute)</c:v>
                  </c:pt>
                  <c:pt idx="2329">
                    <c:v>Rolling Stdev (30 Minute)</c:v>
                  </c:pt>
                  <c:pt idx="2330">
                    <c:v>Rolling Stdev (30 Minute)</c:v>
                  </c:pt>
                  <c:pt idx="2331">
                    <c:v>Rolling Stdev (30 Minute)</c:v>
                  </c:pt>
                  <c:pt idx="2332">
                    <c:v>Rolling Stdev (30 Minute)</c:v>
                  </c:pt>
                  <c:pt idx="2333">
                    <c:v>Rolling Stdev (30 Minute)</c:v>
                  </c:pt>
                  <c:pt idx="2334">
                    <c:v>Rolling Stdev (30 Minute)</c:v>
                  </c:pt>
                  <c:pt idx="2335">
                    <c:v>Rolling Stdev (30 Minute)</c:v>
                  </c:pt>
                  <c:pt idx="2336">
                    <c:v>Rolling Stdev (30 Minute)</c:v>
                  </c:pt>
                  <c:pt idx="2337">
                    <c:v>Rolling Stdev (30 Minute)</c:v>
                  </c:pt>
                  <c:pt idx="2338">
                    <c:v>Rolling Stdev (30 Minute)</c:v>
                  </c:pt>
                  <c:pt idx="2339">
                    <c:v>Rolling Stdev (30 Minute)</c:v>
                  </c:pt>
                  <c:pt idx="2340">
                    <c:v>Rolling Stdev (30 Minute)</c:v>
                  </c:pt>
                  <c:pt idx="2341">
                    <c:v>Rolling Stdev (30 Minute)</c:v>
                  </c:pt>
                  <c:pt idx="2342">
                    <c:v>Rolling Stdev (30 Minute)</c:v>
                  </c:pt>
                  <c:pt idx="2343">
                    <c:v>Rolling Stdev (30 Minute)</c:v>
                  </c:pt>
                  <c:pt idx="2344">
                    <c:v>Rolling Stdev (30 Minute)</c:v>
                  </c:pt>
                  <c:pt idx="2345">
                    <c:v>Rolling Stdev (30 Minute)</c:v>
                  </c:pt>
                  <c:pt idx="2346">
                    <c:v>Rolling Stdev (30 Minute)</c:v>
                  </c:pt>
                  <c:pt idx="2347">
                    <c:v>Rolling Stdev (30 Minute)</c:v>
                  </c:pt>
                  <c:pt idx="2348">
                    <c:v>Rolling Stdev (30 Minute)</c:v>
                  </c:pt>
                  <c:pt idx="2349">
                    <c:v>Rolling Stdev (30 Minute)</c:v>
                  </c:pt>
                  <c:pt idx="2350">
                    <c:v>Rolling Stdev (30 Minute)</c:v>
                  </c:pt>
                  <c:pt idx="2351">
                    <c:v>Rolling Stdev (30 Minute)</c:v>
                  </c:pt>
                  <c:pt idx="2352">
                    <c:v>Rolling Stdev (30 Minute)</c:v>
                  </c:pt>
                  <c:pt idx="2353">
                    <c:v>Rolling Stdev (30 Minute)</c:v>
                  </c:pt>
                  <c:pt idx="2354">
                    <c:v>Rolling Stdev (30 Minute)</c:v>
                  </c:pt>
                  <c:pt idx="2355">
                    <c:v>Rolling Stdev (30 Minute)</c:v>
                  </c:pt>
                  <c:pt idx="2356">
                    <c:v>Rolling Stdev (30 Minute)</c:v>
                  </c:pt>
                  <c:pt idx="2357">
                    <c:v>Rolling Stdev (30 Minute)</c:v>
                  </c:pt>
                  <c:pt idx="2358">
                    <c:v>Rolling Stdev (30 Minute)</c:v>
                  </c:pt>
                  <c:pt idx="2359">
                    <c:v>Rolling Stdev (30 Minute)</c:v>
                  </c:pt>
                  <c:pt idx="2360">
                    <c:v>Rolling Stdev (30 Minute)</c:v>
                  </c:pt>
                  <c:pt idx="2361">
                    <c:v>Rolling Stdev (30 Minute)</c:v>
                  </c:pt>
                  <c:pt idx="2362">
                    <c:v>Rolling Stdev (30 Minute)</c:v>
                  </c:pt>
                  <c:pt idx="2363">
                    <c:v>Rolling Stdev (30 Minute)</c:v>
                  </c:pt>
                  <c:pt idx="2364">
                    <c:v>Rolling Stdev (30 Minute)</c:v>
                  </c:pt>
                  <c:pt idx="2365">
                    <c:v>Rolling Stdev (30 Minute)</c:v>
                  </c:pt>
                  <c:pt idx="2366">
                    <c:v>Rolling Stdev (30 Minute)</c:v>
                  </c:pt>
                  <c:pt idx="2367">
                    <c:v>Rolling Stdev (30 Minute)</c:v>
                  </c:pt>
                  <c:pt idx="2368">
                    <c:v>Rolling Stdev (30 Minute)</c:v>
                  </c:pt>
                  <c:pt idx="2369">
                    <c:v>Rolling Stdev (30 Minute)</c:v>
                  </c:pt>
                  <c:pt idx="2370">
                    <c:v>Rolling Stdev (30 Minute)</c:v>
                  </c:pt>
                  <c:pt idx="2371">
                    <c:v>Rolling Stdev (30 Minute)</c:v>
                  </c:pt>
                  <c:pt idx="2372">
                    <c:v>Rolling Stdev (30 Minute)</c:v>
                  </c:pt>
                  <c:pt idx="2373">
                    <c:v>Rolling Stdev (30 Minute)</c:v>
                  </c:pt>
                  <c:pt idx="2374">
                    <c:v>Rolling Stdev (30 Minute)</c:v>
                  </c:pt>
                  <c:pt idx="2375">
                    <c:v>Rolling Stdev (30 Minute)</c:v>
                  </c:pt>
                  <c:pt idx="2376">
                    <c:v>Rolling Stdev (30 Minute)</c:v>
                  </c:pt>
                  <c:pt idx="2377">
                    <c:v>Rolling Stdev (30 Minute)</c:v>
                  </c:pt>
                  <c:pt idx="2378">
                    <c:v>Rolling Stdev (30 Minute)</c:v>
                  </c:pt>
                  <c:pt idx="2379">
                    <c:v>Rolling Stdev (30 Minute)</c:v>
                  </c:pt>
                  <c:pt idx="2380">
                    <c:v>Rolling Stdev (30 Minute)</c:v>
                  </c:pt>
                  <c:pt idx="2381">
                    <c:v>Rolling Stdev (30 Minute)</c:v>
                  </c:pt>
                  <c:pt idx="2382">
                    <c:v>Rolling Stdev (30 Minute)</c:v>
                  </c:pt>
                  <c:pt idx="2383">
                    <c:v>Rolling Stdev (30 Minute)</c:v>
                  </c:pt>
                  <c:pt idx="2384">
                    <c:v>Rolling Stdev (30 Minute)</c:v>
                  </c:pt>
                  <c:pt idx="2385">
                    <c:v>Rolling Stdev (30 Minute)</c:v>
                  </c:pt>
                  <c:pt idx="2386">
                    <c:v>Rolling Stdev (30 Minute)</c:v>
                  </c:pt>
                  <c:pt idx="2387">
                    <c:v>Rolling Stdev (30 Minute)</c:v>
                  </c:pt>
                  <c:pt idx="2388">
                    <c:v>Rolling Stdev (30 Minute)</c:v>
                  </c:pt>
                  <c:pt idx="2389">
                    <c:v>Rolling Stdev (30 Minute)</c:v>
                  </c:pt>
                  <c:pt idx="2390">
                    <c:v>Rolling Stdev (30 Minute)</c:v>
                  </c:pt>
                  <c:pt idx="2391">
                    <c:v>Rolling Stdev (30 Minute)</c:v>
                  </c:pt>
                  <c:pt idx="2392">
                    <c:v>Rolling Stdev (30 Minute)</c:v>
                  </c:pt>
                  <c:pt idx="2393">
                    <c:v>Rolling Stdev (30 Minute)</c:v>
                  </c:pt>
                  <c:pt idx="2394">
                    <c:v>Rolling Stdev (30 Minute)</c:v>
                  </c:pt>
                  <c:pt idx="2395">
                    <c:v>Rolling Stdev (30 Minute)</c:v>
                  </c:pt>
                  <c:pt idx="2396">
                    <c:v>Rolling Stdev (30 Minute)</c:v>
                  </c:pt>
                  <c:pt idx="2397">
                    <c:v>Rolling Stdev (30 Minute)</c:v>
                  </c:pt>
                  <c:pt idx="2398">
                    <c:v>Rolling Stdev (30 Minute)</c:v>
                  </c:pt>
                  <c:pt idx="2399">
                    <c:v>Rolling Stdev (30 Minute)</c:v>
                  </c:pt>
                  <c:pt idx="2400">
                    <c:v>Rolling Stdev (30 Minute)</c:v>
                  </c:pt>
                  <c:pt idx="2401">
                    <c:v>Rolling Stdev (30 Minute)</c:v>
                  </c:pt>
                  <c:pt idx="2402">
                    <c:v>Rolling Stdev (30 Minute)</c:v>
                  </c:pt>
                  <c:pt idx="2403">
                    <c:v>Rolling Stdev (30 Minute)</c:v>
                  </c:pt>
                  <c:pt idx="2404">
                    <c:v>Rolling Stdev (30 Minute)</c:v>
                  </c:pt>
                  <c:pt idx="2405">
                    <c:v>Rolling Stdev (30 Minute)</c:v>
                  </c:pt>
                  <c:pt idx="2406">
                    <c:v>Rolling Stdev (30 Minute)</c:v>
                  </c:pt>
                  <c:pt idx="2407">
                    <c:v>Rolling Stdev (30 Minute)</c:v>
                  </c:pt>
                  <c:pt idx="2408">
                    <c:v>Rolling Stdev (30 Minute)</c:v>
                  </c:pt>
                  <c:pt idx="2409">
                    <c:v>Rolling Stdev (30 Minute)</c:v>
                  </c:pt>
                  <c:pt idx="2410">
                    <c:v>Rolling Stdev (30 Minute)</c:v>
                  </c:pt>
                  <c:pt idx="2411">
                    <c:v>Rolling Stdev (30 Minute)</c:v>
                  </c:pt>
                  <c:pt idx="2412">
                    <c:v>Rolling Stdev (30 Minute)</c:v>
                  </c:pt>
                  <c:pt idx="2413">
                    <c:v>Rolling Stdev (30 Minute)</c:v>
                  </c:pt>
                  <c:pt idx="2414">
                    <c:v>Rolling Stdev (30 Minute)</c:v>
                  </c:pt>
                  <c:pt idx="2415">
                    <c:v>Rolling Stdev (30 Minute)</c:v>
                  </c:pt>
                  <c:pt idx="2416">
                    <c:v>Rolling Stdev (30 Minute)</c:v>
                  </c:pt>
                  <c:pt idx="2417">
                    <c:v>Rolling Stdev (30 Minute)</c:v>
                  </c:pt>
                  <c:pt idx="2418">
                    <c:v>Rolling Stdev (30 Minute)</c:v>
                  </c:pt>
                  <c:pt idx="2419">
                    <c:v>Rolling Stdev (30 Minute)</c:v>
                  </c:pt>
                  <c:pt idx="2420">
                    <c:v>Rolling Stdev (30 Minute)</c:v>
                  </c:pt>
                  <c:pt idx="2421">
                    <c:v>Rolling Stdev (30 Minute)</c:v>
                  </c:pt>
                  <c:pt idx="2422">
                    <c:v>Rolling Stdev (30 Minute)</c:v>
                  </c:pt>
                  <c:pt idx="2423">
                    <c:v>Rolling Stdev (30 Minute)</c:v>
                  </c:pt>
                  <c:pt idx="2424">
                    <c:v>Rolling Stdev (30 Minute)</c:v>
                  </c:pt>
                  <c:pt idx="2425">
                    <c:v>Rolling Stdev (30 Minute)</c:v>
                  </c:pt>
                  <c:pt idx="2426">
                    <c:v>Rolling Stdev (30 Minute)</c:v>
                  </c:pt>
                  <c:pt idx="2427">
                    <c:v>Rolling Stdev (30 Minute)</c:v>
                  </c:pt>
                  <c:pt idx="2428">
                    <c:v>Rolling Stdev (30 Minute)</c:v>
                  </c:pt>
                  <c:pt idx="2429">
                    <c:v>Rolling Stdev (30 Minute)</c:v>
                  </c:pt>
                  <c:pt idx="2430">
                    <c:v>Rolling Stdev (30 Minute)</c:v>
                  </c:pt>
                  <c:pt idx="2431">
                    <c:v>Rolling Stdev (30 Minute)</c:v>
                  </c:pt>
                  <c:pt idx="2432">
                    <c:v>Rolling Stdev (30 Minute)</c:v>
                  </c:pt>
                  <c:pt idx="2433">
                    <c:v>Rolling Stdev (30 Minute)</c:v>
                  </c:pt>
                  <c:pt idx="2434">
                    <c:v>Rolling Stdev (30 Minute)</c:v>
                  </c:pt>
                  <c:pt idx="2435">
                    <c:v>Rolling Stdev (30 Minute)</c:v>
                  </c:pt>
                  <c:pt idx="2436">
                    <c:v>Rolling Stdev (30 Minute)</c:v>
                  </c:pt>
                  <c:pt idx="2437">
                    <c:v>Rolling Stdev (30 Minute)</c:v>
                  </c:pt>
                  <c:pt idx="2438">
                    <c:v>Rolling Stdev (30 Minute)</c:v>
                  </c:pt>
                  <c:pt idx="2439">
                    <c:v>Rolling Stdev (30 Minute)</c:v>
                  </c:pt>
                  <c:pt idx="2440">
                    <c:v>Rolling Stdev (30 Minute)</c:v>
                  </c:pt>
                  <c:pt idx="2441">
                    <c:v>Rolling Stdev (30 Minute)</c:v>
                  </c:pt>
                  <c:pt idx="2442">
                    <c:v>Rolling Stdev (30 Minute)</c:v>
                  </c:pt>
                  <c:pt idx="2443">
                    <c:v>Rolling Stdev (30 Minute)</c:v>
                  </c:pt>
                  <c:pt idx="2444">
                    <c:v>Rolling Stdev (30 Minute)</c:v>
                  </c:pt>
                  <c:pt idx="2445">
                    <c:v>Rolling Stdev (30 Minute)</c:v>
                  </c:pt>
                  <c:pt idx="2446">
                    <c:v>Rolling Stdev (30 Minute)</c:v>
                  </c:pt>
                  <c:pt idx="2447">
                    <c:v>Rolling Stdev (30 Minute)</c:v>
                  </c:pt>
                  <c:pt idx="2448">
                    <c:v>Rolling Stdev (30 Minute)</c:v>
                  </c:pt>
                  <c:pt idx="2449">
                    <c:v>Rolling Stdev (30 Minute)</c:v>
                  </c:pt>
                  <c:pt idx="2450">
                    <c:v>Rolling Stdev (30 Minute)</c:v>
                  </c:pt>
                  <c:pt idx="2451">
                    <c:v>Rolling Stdev (30 Minute)</c:v>
                  </c:pt>
                </c:lvl>
              </c:multiLvlStrCache>
            </c:multiLvlStrRef>
          </c:cat>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6785-41B4-BCE1-ECD89FF12F5A}"/>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multiLvlStrRef>
              <c:f>'DRT Rolling Stdev'!$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Stdev (30 Minute)</c:v>
                  </c:pt>
                  <c:pt idx="1">
                    <c:v>Rolling Stdev (30 Minute)</c:v>
                  </c:pt>
                  <c:pt idx="2">
                    <c:v>Rolling Stdev (30 Minute)</c:v>
                  </c:pt>
                  <c:pt idx="3">
                    <c:v>Rolling Stdev (30 Minute)</c:v>
                  </c:pt>
                  <c:pt idx="4">
                    <c:v>Rolling Stdev (30 Minute)</c:v>
                  </c:pt>
                  <c:pt idx="5">
                    <c:v>Rolling Stdev (30 Minute)</c:v>
                  </c:pt>
                  <c:pt idx="6">
                    <c:v>Rolling Stdev (30 Minute)</c:v>
                  </c:pt>
                  <c:pt idx="7">
                    <c:v>Rolling Stdev (30 Minute)</c:v>
                  </c:pt>
                  <c:pt idx="8">
                    <c:v>Rolling Stdev (30 Minute)</c:v>
                  </c:pt>
                  <c:pt idx="9">
                    <c:v>Rolling Stdev (30 Minute)</c:v>
                  </c:pt>
                  <c:pt idx="10">
                    <c:v>Rolling Stdev (30 Minute)</c:v>
                  </c:pt>
                  <c:pt idx="11">
                    <c:v>Rolling Stdev (30 Minute)</c:v>
                  </c:pt>
                  <c:pt idx="12">
                    <c:v>Rolling Stdev (30 Minute)</c:v>
                  </c:pt>
                  <c:pt idx="13">
                    <c:v>Rolling Stdev (30 Minute)</c:v>
                  </c:pt>
                  <c:pt idx="14">
                    <c:v>Rolling Stdev (30 Minute)</c:v>
                  </c:pt>
                  <c:pt idx="15">
                    <c:v>Rolling Stdev (30 Minute)</c:v>
                  </c:pt>
                  <c:pt idx="16">
                    <c:v>Rolling Stdev (30 Minute)</c:v>
                  </c:pt>
                  <c:pt idx="17">
                    <c:v>Rolling Stdev (30 Minute)</c:v>
                  </c:pt>
                  <c:pt idx="18">
                    <c:v>Rolling Stdev (30 Minute)</c:v>
                  </c:pt>
                  <c:pt idx="19">
                    <c:v>Rolling Stdev (30 Minute)</c:v>
                  </c:pt>
                  <c:pt idx="20">
                    <c:v>Rolling Stdev (30 Minute)</c:v>
                  </c:pt>
                  <c:pt idx="21">
                    <c:v>Rolling Stdev (30 Minute)</c:v>
                  </c:pt>
                  <c:pt idx="22">
                    <c:v>Rolling Stdev (30 Minute)</c:v>
                  </c:pt>
                  <c:pt idx="23">
                    <c:v>Rolling Stdev (30 Minute)</c:v>
                  </c:pt>
                  <c:pt idx="24">
                    <c:v>Rolling Stdev (30 Minute)</c:v>
                  </c:pt>
                  <c:pt idx="25">
                    <c:v>Rolling Stdev (30 Minute)</c:v>
                  </c:pt>
                  <c:pt idx="26">
                    <c:v>Rolling Stdev (30 Minute)</c:v>
                  </c:pt>
                  <c:pt idx="27">
                    <c:v>Rolling Stdev (30 Minute)</c:v>
                  </c:pt>
                  <c:pt idx="28">
                    <c:v>Rolling Stdev (30 Minute)</c:v>
                  </c:pt>
                  <c:pt idx="29">
                    <c:v>Rolling Stdev (30 Minute)</c:v>
                  </c:pt>
                  <c:pt idx="30">
                    <c:v>Rolling Stdev (30 Minute)</c:v>
                  </c:pt>
                  <c:pt idx="31">
                    <c:v>Rolling Stdev (30 Minute)</c:v>
                  </c:pt>
                  <c:pt idx="32">
                    <c:v>Rolling Stdev (30 Minute)</c:v>
                  </c:pt>
                  <c:pt idx="33">
                    <c:v>Rolling Stdev (30 Minute)</c:v>
                  </c:pt>
                  <c:pt idx="34">
                    <c:v>Rolling Stdev (30 Minute)</c:v>
                  </c:pt>
                  <c:pt idx="35">
                    <c:v>Rolling Stdev (30 Minute)</c:v>
                  </c:pt>
                  <c:pt idx="36">
                    <c:v>Rolling Stdev (30 Minute)</c:v>
                  </c:pt>
                  <c:pt idx="37">
                    <c:v>Rolling Stdev (30 Minute)</c:v>
                  </c:pt>
                  <c:pt idx="38">
                    <c:v>Rolling Stdev (30 Minute)</c:v>
                  </c:pt>
                  <c:pt idx="39">
                    <c:v>Rolling Stdev (30 Minute)</c:v>
                  </c:pt>
                  <c:pt idx="40">
                    <c:v>Rolling Stdev (30 Minute)</c:v>
                  </c:pt>
                  <c:pt idx="41">
                    <c:v>Rolling Stdev (30 Minute)</c:v>
                  </c:pt>
                  <c:pt idx="42">
                    <c:v>Rolling Stdev (30 Minute)</c:v>
                  </c:pt>
                  <c:pt idx="43">
                    <c:v>Rolling Stdev (30 Minute)</c:v>
                  </c:pt>
                  <c:pt idx="44">
                    <c:v>Rolling Stdev (30 Minute)</c:v>
                  </c:pt>
                  <c:pt idx="45">
                    <c:v>Rolling Stdev (30 Minute)</c:v>
                  </c:pt>
                  <c:pt idx="46">
                    <c:v>Rolling Stdev (30 Minute)</c:v>
                  </c:pt>
                  <c:pt idx="47">
                    <c:v>Rolling Stdev (30 Minute)</c:v>
                  </c:pt>
                  <c:pt idx="48">
                    <c:v>Rolling Stdev (30 Minute)</c:v>
                  </c:pt>
                  <c:pt idx="49">
                    <c:v>Rolling Stdev (30 Minute)</c:v>
                  </c:pt>
                  <c:pt idx="50">
                    <c:v>Rolling Stdev (30 Minute)</c:v>
                  </c:pt>
                  <c:pt idx="51">
                    <c:v>Rolling Stdev (30 Minute)</c:v>
                  </c:pt>
                  <c:pt idx="52">
                    <c:v>Rolling Stdev (30 Minute)</c:v>
                  </c:pt>
                  <c:pt idx="53">
                    <c:v>Rolling Stdev (30 Minute)</c:v>
                  </c:pt>
                  <c:pt idx="54">
                    <c:v>Rolling Stdev (30 Minute)</c:v>
                  </c:pt>
                  <c:pt idx="55">
                    <c:v>Rolling Stdev (30 Minute)</c:v>
                  </c:pt>
                  <c:pt idx="56">
                    <c:v>Rolling Stdev (30 Minute)</c:v>
                  </c:pt>
                  <c:pt idx="57">
                    <c:v>Rolling Stdev (30 Minute)</c:v>
                  </c:pt>
                  <c:pt idx="58">
                    <c:v>Rolling Stdev (30 Minute)</c:v>
                  </c:pt>
                  <c:pt idx="59">
                    <c:v>Rolling Stdev (30 Minute)</c:v>
                  </c:pt>
                  <c:pt idx="60">
                    <c:v>Rolling Stdev (30 Minute)</c:v>
                  </c:pt>
                  <c:pt idx="61">
                    <c:v>Rolling Stdev (30 Minute)</c:v>
                  </c:pt>
                  <c:pt idx="62">
                    <c:v>Rolling Stdev (30 Minute)</c:v>
                  </c:pt>
                  <c:pt idx="63">
                    <c:v>Rolling Stdev (30 Minute)</c:v>
                  </c:pt>
                  <c:pt idx="64">
                    <c:v>Rolling Stdev (30 Minute)</c:v>
                  </c:pt>
                  <c:pt idx="65">
                    <c:v>Rolling Stdev (30 Minute)</c:v>
                  </c:pt>
                  <c:pt idx="66">
                    <c:v>Rolling Stdev (30 Minute)</c:v>
                  </c:pt>
                  <c:pt idx="67">
                    <c:v>Rolling Stdev (30 Minute)</c:v>
                  </c:pt>
                  <c:pt idx="68">
                    <c:v>Rolling Stdev (30 Minute)</c:v>
                  </c:pt>
                  <c:pt idx="69">
                    <c:v>Rolling Stdev (30 Minute)</c:v>
                  </c:pt>
                  <c:pt idx="70">
                    <c:v>Rolling Stdev (30 Minute)</c:v>
                  </c:pt>
                  <c:pt idx="71">
                    <c:v>Rolling Stdev (30 Minute)</c:v>
                  </c:pt>
                  <c:pt idx="72">
                    <c:v>Rolling Stdev (30 Minute)</c:v>
                  </c:pt>
                  <c:pt idx="73">
                    <c:v>Rolling Stdev (30 Minute)</c:v>
                  </c:pt>
                  <c:pt idx="74">
                    <c:v>Rolling Stdev (30 Minute)</c:v>
                  </c:pt>
                  <c:pt idx="75">
                    <c:v>Rolling Stdev (30 Minute)</c:v>
                  </c:pt>
                  <c:pt idx="76">
                    <c:v>Rolling Stdev (30 Minute)</c:v>
                  </c:pt>
                  <c:pt idx="77">
                    <c:v>Rolling Stdev (30 Minute)</c:v>
                  </c:pt>
                  <c:pt idx="78">
                    <c:v>Rolling Stdev (30 Minute)</c:v>
                  </c:pt>
                  <c:pt idx="79">
                    <c:v>Rolling Stdev (30 Minute)</c:v>
                  </c:pt>
                  <c:pt idx="80">
                    <c:v>Rolling Stdev (30 Minute)</c:v>
                  </c:pt>
                  <c:pt idx="81">
                    <c:v>Rolling Stdev (30 Minute)</c:v>
                  </c:pt>
                  <c:pt idx="82">
                    <c:v>Rolling Stdev (30 Minute)</c:v>
                  </c:pt>
                  <c:pt idx="83">
                    <c:v>Rolling Stdev (30 Minute)</c:v>
                  </c:pt>
                  <c:pt idx="84">
                    <c:v>Rolling Stdev (30 Minute)</c:v>
                  </c:pt>
                  <c:pt idx="85">
                    <c:v>Rolling Stdev (30 Minute)</c:v>
                  </c:pt>
                  <c:pt idx="86">
                    <c:v>Rolling Stdev (30 Minute)</c:v>
                  </c:pt>
                  <c:pt idx="87">
                    <c:v>Rolling Stdev (30 Minute)</c:v>
                  </c:pt>
                  <c:pt idx="88">
                    <c:v>Rolling Stdev (30 Minute)</c:v>
                  </c:pt>
                  <c:pt idx="89">
                    <c:v>Rolling Stdev (30 Minute)</c:v>
                  </c:pt>
                  <c:pt idx="90">
                    <c:v>Rolling Stdev (30 Minute)</c:v>
                  </c:pt>
                  <c:pt idx="91">
                    <c:v>Rolling Stdev (30 Minute)</c:v>
                  </c:pt>
                  <c:pt idx="92">
                    <c:v>Rolling Stdev (30 Minute)</c:v>
                  </c:pt>
                  <c:pt idx="93">
                    <c:v>Rolling Stdev (30 Minute)</c:v>
                  </c:pt>
                  <c:pt idx="94">
                    <c:v>Rolling Stdev (30 Minute)</c:v>
                  </c:pt>
                  <c:pt idx="95">
                    <c:v>Rolling Stdev (30 Minute)</c:v>
                  </c:pt>
                  <c:pt idx="96">
                    <c:v>Rolling Stdev (30 Minute)</c:v>
                  </c:pt>
                  <c:pt idx="97">
                    <c:v>Rolling Stdev (30 Minute)</c:v>
                  </c:pt>
                  <c:pt idx="98">
                    <c:v>Rolling Stdev (30 Minute)</c:v>
                  </c:pt>
                  <c:pt idx="99">
                    <c:v>Rolling Stdev (30 Minute)</c:v>
                  </c:pt>
                  <c:pt idx="100">
                    <c:v>Rolling Stdev (30 Minute)</c:v>
                  </c:pt>
                  <c:pt idx="101">
                    <c:v>Rolling Stdev (30 Minute)</c:v>
                  </c:pt>
                  <c:pt idx="102">
                    <c:v>Rolling Stdev (30 Minute)</c:v>
                  </c:pt>
                  <c:pt idx="103">
                    <c:v>Rolling Stdev (30 Minute)</c:v>
                  </c:pt>
                  <c:pt idx="104">
                    <c:v>Rolling Stdev (30 Minute)</c:v>
                  </c:pt>
                  <c:pt idx="105">
                    <c:v>Rolling Stdev (30 Minute)</c:v>
                  </c:pt>
                  <c:pt idx="106">
                    <c:v>Rolling Stdev (30 Minute)</c:v>
                  </c:pt>
                  <c:pt idx="107">
                    <c:v>Rolling Stdev (30 Minute)</c:v>
                  </c:pt>
                  <c:pt idx="108">
                    <c:v>Rolling Stdev (30 Minute)</c:v>
                  </c:pt>
                  <c:pt idx="109">
                    <c:v>Rolling Stdev (30 Minute)</c:v>
                  </c:pt>
                  <c:pt idx="110">
                    <c:v>Rolling Stdev (30 Minute)</c:v>
                  </c:pt>
                  <c:pt idx="111">
                    <c:v>Rolling Stdev (30 Minute)</c:v>
                  </c:pt>
                  <c:pt idx="112">
                    <c:v>Rolling Stdev (30 Minute)</c:v>
                  </c:pt>
                  <c:pt idx="113">
                    <c:v>Rolling Stdev (30 Minute)</c:v>
                  </c:pt>
                  <c:pt idx="114">
                    <c:v>Rolling Stdev (30 Minute)</c:v>
                  </c:pt>
                  <c:pt idx="115">
                    <c:v>Rolling Stdev (30 Minute)</c:v>
                  </c:pt>
                  <c:pt idx="116">
                    <c:v>Rolling Stdev (30 Minute)</c:v>
                  </c:pt>
                  <c:pt idx="117">
                    <c:v>Rolling Stdev (30 Minute)</c:v>
                  </c:pt>
                  <c:pt idx="118">
                    <c:v>Rolling Stdev (30 Minute)</c:v>
                  </c:pt>
                  <c:pt idx="119">
                    <c:v>Rolling Stdev (30 Minute)</c:v>
                  </c:pt>
                  <c:pt idx="120">
                    <c:v>Rolling Stdev (30 Minute)</c:v>
                  </c:pt>
                  <c:pt idx="121">
                    <c:v>Rolling Stdev (30 Minute)</c:v>
                  </c:pt>
                  <c:pt idx="122">
                    <c:v>Rolling Stdev (30 Minute)</c:v>
                  </c:pt>
                  <c:pt idx="123">
                    <c:v>Rolling Stdev (30 Minute)</c:v>
                  </c:pt>
                  <c:pt idx="124">
                    <c:v>Rolling Stdev (30 Minute)</c:v>
                  </c:pt>
                  <c:pt idx="125">
                    <c:v>Rolling Stdev (30 Minute)</c:v>
                  </c:pt>
                  <c:pt idx="126">
                    <c:v>Rolling Stdev (30 Minute)</c:v>
                  </c:pt>
                  <c:pt idx="127">
                    <c:v>Rolling Stdev (30 Minute)</c:v>
                  </c:pt>
                  <c:pt idx="128">
                    <c:v>Rolling Stdev (30 Minute)</c:v>
                  </c:pt>
                  <c:pt idx="129">
                    <c:v>Rolling Stdev (30 Minute)</c:v>
                  </c:pt>
                  <c:pt idx="130">
                    <c:v>Rolling Stdev (30 Minute)</c:v>
                  </c:pt>
                  <c:pt idx="131">
                    <c:v>Rolling Stdev (30 Minute)</c:v>
                  </c:pt>
                  <c:pt idx="132">
                    <c:v>Rolling Stdev (30 Minute)</c:v>
                  </c:pt>
                  <c:pt idx="133">
                    <c:v>Rolling Stdev (30 Minute)</c:v>
                  </c:pt>
                  <c:pt idx="134">
                    <c:v>Rolling Stdev (30 Minute)</c:v>
                  </c:pt>
                  <c:pt idx="135">
                    <c:v>Rolling Stdev (30 Minute)</c:v>
                  </c:pt>
                  <c:pt idx="136">
                    <c:v>Rolling Stdev (30 Minute)</c:v>
                  </c:pt>
                  <c:pt idx="137">
                    <c:v>Rolling Stdev (30 Minute)</c:v>
                  </c:pt>
                  <c:pt idx="138">
                    <c:v>Rolling Stdev (30 Minute)</c:v>
                  </c:pt>
                  <c:pt idx="139">
                    <c:v>Rolling Stdev (30 Minute)</c:v>
                  </c:pt>
                  <c:pt idx="140">
                    <c:v>Rolling Stdev (30 Minute)</c:v>
                  </c:pt>
                  <c:pt idx="141">
                    <c:v>Rolling Stdev (30 Minute)</c:v>
                  </c:pt>
                  <c:pt idx="142">
                    <c:v>Rolling Stdev (30 Minute)</c:v>
                  </c:pt>
                  <c:pt idx="143">
                    <c:v>Rolling Stdev (30 Minute)</c:v>
                  </c:pt>
                  <c:pt idx="144">
                    <c:v>Rolling Stdev (30 Minute)</c:v>
                  </c:pt>
                  <c:pt idx="145">
                    <c:v>Rolling Stdev (30 Minute)</c:v>
                  </c:pt>
                  <c:pt idx="146">
                    <c:v>Rolling Stdev (30 Minute)</c:v>
                  </c:pt>
                  <c:pt idx="147">
                    <c:v>Rolling Stdev (30 Minute)</c:v>
                  </c:pt>
                  <c:pt idx="148">
                    <c:v>Rolling Stdev (30 Minute)</c:v>
                  </c:pt>
                  <c:pt idx="149">
                    <c:v>Rolling Stdev (30 Minute)</c:v>
                  </c:pt>
                  <c:pt idx="150">
                    <c:v>Rolling Stdev (30 Minute)</c:v>
                  </c:pt>
                  <c:pt idx="151">
                    <c:v>Rolling Stdev (30 Minute)</c:v>
                  </c:pt>
                  <c:pt idx="152">
                    <c:v>Rolling Stdev (30 Minute)</c:v>
                  </c:pt>
                  <c:pt idx="153">
                    <c:v>Rolling Stdev (30 Minute)</c:v>
                  </c:pt>
                  <c:pt idx="154">
                    <c:v>Rolling Stdev (30 Minute)</c:v>
                  </c:pt>
                  <c:pt idx="155">
                    <c:v>Rolling Stdev (30 Minute)</c:v>
                  </c:pt>
                  <c:pt idx="156">
                    <c:v>Rolling Stdev (30 Minute)</c:v>
                  </c:pt>
                  <c:pt idx="157">
                    <c:v>Rolling Stdev (30 Minute)</c:v>
                  </c:pt>
                  <c:pt idx="158">
                    <c:v>Rolling Stdev (30 Minute)</c:v>
                  </c:pt>
                  <c:pt idx="159">
                    <c:v>Rolling Stdev (30 Minute)</c:v>
                  </c:pt>
                  <c:pt idx="160">
                    <c:v>Rolling Stdev (30 Minute)</c:v>
                  </c:pt>
                  <c:pt idx="161">
                    <c:v>Rolling Stdev (30 Minute)</c:v>
                  </c:pt>
                  <c:pt idx="162">
                    <c:v>Rolling Stdev (30 Minute)</c:v>
                  </c:pt>
                  <c:pt idx="163">
                    <c:v>Rolling Stdev (30 Minute)</c:v>
                  </c:pt>
                  <c:pt idx="164">
                    <c:v>Rolling Stdev (30 Minute)</c:v>
                  </c:pt>
                  <c:pt idx="165">
                    <c:v>Rolling Stdev (30 Minute)</c:v>
                  </c:pt>
                  <c:pt idx="166">
                    <c:v>Rolling Stdev (30 Minute)</c:v>
                  </c:pt>
                  <c:pt idx="167">
                    <c:v>Rolling Stdev (30 Minute)</c:v>
                  </c:pt>
                  <c:pt idx="168">
                    <c:v>Rolling Stdev (30 Minute)</c:v>
                  </c:pt>
                  <c:pt idx="169">
                    <c:v>Rolling Stdev (30 Minute)</c:v>
                  </c:pt>
                  <c:pt idx="170">
                    <c:v>Rolling Stdev (30 Minute)</c:v>
                  </c:pt>
                  <c:pt idx="171">
                    <c:v>Rolling Stdev (30 Minute)</c:v>
                  </c:pt>
                  <c:pt idx="172">
                    <c:v>Rolling Stdev (30 Minute)</c:v>
                  </c:pt>
                  <c:pt idx="173">
                    <c:v>Rolling Stdev (30 Minute)</c:v>
                  </c:pt>
                  <c:pt idx="174">
                    <c:v>Rolling Stdev (30 Minute)</c:v>
                  </c:pt>
                  <c:pt idx="175">
                    <c:v>Rolling Stdev (30 Minute)</c:v>
                  </c:pt>
                  <c:pt idx="176">
                    <c:v>Rolling Stdev (30 Minute)</c:v>
                  </c:pt>
                  <c:pt idx="177">
                    <c:v>Rolling Stdev (30 Minute)</c:v>
                  </c:pt>
                  <c:pt idx="178">
                    <c:v>Rolling Stdev (30 Minute)</c:v>
                  </c:pt>
                  <c:pt idx="179">
                    <c:v>Rolling Stdev (30 Minute)</c:v>
                  </c:pt>
                  <c:pt idx="180">
                    <c:v>Rolling Stdev (30 Minute)</c:v>
                  </c:pt>
                  <c:pt idx="181">
                    <c:v>Rolling Stdev (30 Minute)</c:v>
                  </c:pt>
                  <c:pt idx="182">
                    <c:v>Rolling Stdev (30 Minute)</c:v>
                  </c:pt>
                  <c:pt idx="183">
                    <c:v>Rolling Stdev (30 Minute)</c:v>
                  </c:pt>
                  <c:pt idx="184">
                    <c:v>Rolling Stdev (30 Minute)</c:v>
                  </c:pt>
                  <c:pt idx="185">
                    <c:v>Rolling Stdev (30 Minute)</c:v>
                  </c:pt>
                  <c:pt idx="186">
                    <c:v>Rolling Stdev (30 Minute)</c:v>
                  </c:pt>
                  <c:pt idx="187">
                    <c:v>Rolling Stdev (30 Minute)</c:v>
                  </c:pt>
                  <c:pt idx="188">
                    <c:v>Rolling Stdev (30 Minute)</c:v>
                  </c:pt>
                  <c:pt idx="189">
                    <c:v>Rolling Stdev (30 Minute)</c:v>
                  </c:pt>
                  <c:pt idx="190">
                    <c:v>Rolling Stdev (30 Minute)</c:v>
                  </c:pt>
                  <c:pt idx="191">
                    <c:v>Rolling Stdev (30 Minute)</c:v>
                  </c:pt>
                  <c:pt idx="192">
                    <c:v>Rolling Stdev (30 Minute)</c:v>
                  </c:pt>
                  <c:pt idx="193">
                    <c:v>Rolling Stdev (30 Minute)</c:v>
                  </c:pt>
                  <c:pt idx="194">
                    <c:v>Rolling Stdev (30 Minute)</c:v>
                  </c:pt>
                  <c:pt idx="195">
                    <c:v>Rolling Stdev (30 Minute)</c:v>
                  </c:pt>
                  <c:pt idx="196">
                    <c:v>Rolling Stdev (30 Minute)</c:v>
                  </c:pt>
                  <c:pt idx="197">
                    <c:v>Rolling Stdev (30 Minute)</c:v>
                  </c:pt>
                  <c:pt idx="198">
                    <c:v>Rolling Stdev (30 Minute)</c:v>
                  </c:pt>
                  <c:pt idx="199">
                    <c:v>Rolling Stdev (30 Minute)</c:v>
                  </c:pt>
                  <c:pt idx="200">
                    <c:v>Rolling Stdev (30 Minute)</c:v>
                  </c:pt>
                  <c:pt idx="201">
                    <c:v>Rolling Stdev (30 Minute)</c:v>
                  </c:pt>
                  <c:pt idx="202">
                    <c:v>Rolling Stdev (30 Minute)</c:v>
                  </c:pt>
                  <c:pt idx="203">
                    <c:v>Rolling Stdev (30 Minute)</c:v>
                  </c:pt>
                  <c:pt idx="204">
                    <c:v>Rolling Stdev (30 Minute)</c:v>
                  </c:pt>
                  <c:pt idx="205">
                    <c:v>Rolling Stdev (30 Minute)</c:v>
                  </c:pt>
                  <c:pt idx="206">
                    <c:v>Rolling Stdev (30 Minute)</c:v>
                  </c:pt>
                  <c:pt idx="207">
                    <c:v>Rolling Stdev (30 Minute)</c:v>
                  </c:pt>
                  <c:pt idx="208">
                    <c:v>Rolling Stdev (30 Minute)</c:v>
                  </c:pt>
                  <c:pt idx="209">
                    <c:v>Rolling Stdev (30 Minute)</c:v>
                  </c:pt>
                  <c:pt idx="210">
                    <c:v>Rolling Stdev (30 Minute)</c:v>
                  </c:pt>
                  <c:pt idx="211">
                    <c:v>Rolling Stdev (30 Minute)</c:v>
                  </c:pt>
                  <c:pt idx="212">
                    <c:v>Rolling Stdev (30 Minute)</c:v>
                  </c:pt>
                  <c:pt idx="213">
                    <c:v>Rolling Stdev (30 Minute)</c:v>
                  </c:pt>
                  <c:pt idx="214">
                    <c:v>Rolling Stdev (30 Minute)</c:v>
                  </c:pt>
                  <c:pt idx="215">
                    <c:v>Rolling Stdev (30 Minute)</c:v>
                  </c:pt>
                  <c:pt idx="216">
                    <c:v>Rolling Stdev (30 Minute)</c:v>
                  </c:pt>
                  <c:pt idx="217">
                    <c:v>Rolling Stdev (30 Minute)</c:v>
                  </c:pt>
                  <c:pt idx="218">
                    <c:v>Rolling Stdev (30 Minute)</c:v>
                  </c:pt>
                  <c:pt idx="219">
                    <c:v>Rolling Stdev (30 Minute)</c:v>
                  </c:pt>
                  <c:pt idx="220">
                    <c:v>Rolling Stdev (30 Minute)</c:v>
                  </c:pt>
                  <c:pt idx="221">
                    <c:v>Rolling Stdev (30 Minute)</c:v>
                  </c:pt>
                  <c:pt idx="222">
                    <c:v>Rolling Stdev (30 Minute)</c:v>
                  </c:pt>
                  <c:pt idx="223">
                    <c:v>Rolling Stdev (30 Minute)</c:v>
                  </c:pt>
                  <c:pt idx="224">
                    <c:v>Rolling Stdev (30 Minute)</c:v>
                  </c:pt>
                  <c:pt idx="225">
                    <c:v>Rolling Stdev (30 Minute)</c:v>
                  </c:pt>
                  <c:pt idx="226">
                    <c:v>Rolling Stdev (30 Minute)</c:v>
                  </c:pt>
                  <c:pt idx="227">
                    <c:v>Rolling Stdev (30 Minute)</c:v>
                  </c:pt>
                  <c:pt idx="228">
                    <c:v>Rolling Stdev (30 Minute)</c:v>
                  </c:pt>
                  <c:pt idx="229">
                    <c:v>Rolling Stdev (30 Minute)</c:v>
                  </c:pt>
                  <c:pt idx="230">
                    <c:v>Rolling Stdev (30 Minute)</c:v>
                  </c:pt>
                  <c:pt idx="231">
                    <c:v>Rolling Stdev (30 Minute)</c:v>
                  </c:pt>
                  <c:pt idx="232">
                    <c:v>Rolling Stdev (30 Minute)</c:v>
                  </c:pt>
                  <c:pt idx="233">
                    <c:v>Rolling Stdev (30 Minute)</c:v>
                  </c:pt>
                  <c:pt idx="234">
                    <c:v>Rolling Stdev (30 Minute)</c:v>
                  </c:pt>
                  <c:pt idx="235">
                    <c:v>Rolling Stdev (30 Minute)</c:v>
                  </c:pt>
                  <c:pt idx="236">
                    <c:v>Rolling Stdev (30 Minute)</c:v>
                  </c:pt>
                  <c:pt idx="237">
                    <c:v>Rolling Stdev (30 Minute)</c:v>
                  </c:pt>
                  <c:pt idx="238">
                    <c:v>Rolling Stdev (30 Minute)</c:v>
                  </c:pt>
                  <c:pt idx="239">
                    <c:v>Rolling Stdev (30 Minute)</c:v>
                  </c:pt>
                  <c:pt idx="240">
                    <c:v>Rolling Stdev (30 Minute)</c:v>
                  </c:pt>
                  <c:pt idx="241">
                    <c:v>Rolling Stdev (30 Minute)</c:v>
                  </c:pt>
                  <c:pt idx="242">
                    <c:v>Rolling Stdev (30 Minute)</c:v>
                  </c:pt>
                  <c:pt idx="243">
                    <c:v>Rolling Stdev (30 Minute)</c:v>
                  </c:pt>
                  <c:pt idx="244">
                    <c:v>Rolling Stdev (30 Minute)</c:v>
                  </c:pt>
                  <c:pt idx="245">
                    <c:v>Rolling Stdev (30 Minute)</c:v>
                  </c:pt>
                  <c:pt idx="246">
                    <c:v>Rolling Stdev (30 Minute)</c:v>
                  </c:pt>
                  <c:pt idx="247">
                    <c:v>Rolling Stdev (30 Minute)</c:v>
                  </c:pt>
                  <c:pt idx="248">
                    <c:v>Rolling Stdev (30 Minute)</c:v>
                  </c:pt>
                  <c:pt idx="249">
                    <c:v>Rolling Stdev (30 Minute)</c:v>
                  </c:pt>
                  <c:pt idx="250">
                    <c:v>Rolling Stdev (30 Minute)</c:v>
                  </c:pt>
                  <c:pt idx="251">
                    <c:v>Rolling Stdev (30 Minute)</c:v>
                  </c:pt>
                  <c:pt idx="252">
                    <c:v>Rolling Stdev (30 Minute)</c:v>
                  </c:pt>
                  <c:pt idx="253">
                    <c:v>Rolling Stdev (30 Minute)</c:v>
                  </c:pt>
                  <c:pt idx="254">
                    <c:v>Rolling Stdev (30 Minute)</c:v>
                  </c:pt>
                  <c:pt idx="255">
                    <c:v>Rolling Stdev (30 Minute)</c:v>
                  </c:pt>
                  <c:pt idx="256">
                    <c:v>Rolling Stdev (30 Minute)</c:v>
                  </c:pt>
                  <c:pt idx="257">
                    <c:v>Rolling Stdev (30 Minute)</c:v>
                  </c:pt>
                  <c:pt idx="258">
                    <c:v>Rolling Stdev (30 Minute)</c:v>
                  </c:pt>
                  <c:pt idx="259">
                    <c:v>Rolling Stdev (30 Minute)</c:v>
                  </c:pt>
                  <c:pt idx="260">
                    <c:v>Rolling Stdev (30 Minute)</c:v>
                  </c:pt>
                  <c:pt idx="261">
                    <c:v>Rolling Stdev (30 Minute)</c:v>
                  </c:pt>
                  <c:pt idx="262">
                    <c:v>Rolling Stdev (30 Minute)</c:v>
                  </c:pt>
                  <c:pt idx="263">
                    <c:v>Rolling Stdev (30 Minute)</c:v>
                  </c:pt>
                  <c:pt idx="264">
                    <c:v>Rolling Stdev (30 Minute)</c:v>
                  </c:pt>
                  <c:pt idx="265">
                    <c:v>Rolling Stdev (30 Minute)</c:v>
                  </c:pt>
                  <c:pt idx="266">
                    <c:v>Rolling Stdev (30 Minute)</c:v>
                  </c:pt>
                  <c:pt idx="267">
                    <c:v>Rolling Stdev (30 Minute)</c:v>
                  </c:pt>
                  <c:pt idx="268">
                    <c:v>Rolling Stdev (30 Minute)</c:v>
                  </c:pt>
                  <c:pt idx="269">
                    <c:v>Rolling Stdev (30 Minute)</c:v>
                  </c:pt>
                  <c:pt idx="270">
                    <c:v>Rolling Stdev (30 Minute)</c:v>
                  </c:pt>
                  <c:pt idx="271">
                    <c:v>Rolling Stdev (30 Minute)</c:v>
                  </c:pt>
                  <c:pt idx="272">
                    <c:v>Rolling Stdev (30 Minute)</c:v>
                  </c:pt>
                  <c:pt idx="273">
                    <c:v>Rolling Stdev (30 Minute)</c:v>
                  </c:pt>
                  <c:pt idx="274">
                    <c:v>Rolling Stdev (30 Minute)</c:v>
                  </c:pt>
                  <c:pt idx="275">
                    <c:v>Rolling Stdev (30 Minute)</c:v>
                  </c:pt>
                  <c:pt idx="276">
                    <c:v>Rolling Stdev (30 Minute)</c:v>
                  </c:pt>
                  <c:pt idx="277">
                    <c:v>Rolling Stdev (30 Minute)</c:v>
                  </c:pt>
                  <c:pt idx="278">
                    <c:v>Rolling Stdev (30 Minute)</c:v>
                  </c:pt>
                  <c:pt idx="279">
                    <c:v>Rolling Stdev (30 Minute)</c:v>
                  </c:pt>
                  <c:pt idx="280">
                    <c:v>Rolling Stdev (30 Minute)</c:v>
                  </c:pt>
                  <c:pt idx="281">
                    <c:v>Rolling Stdev (30 Minute)</c:v>
                  </c:pt>
                  <c:pt idx="282">
                    <c:v>Rolling Stdev (30 Minute)</c:v>
                  </c:pt>
                  <c:pt idx="283">
                    <c:v>Rolling Stdev (30 Minute)</c:v>
                  </c:pt>
                  <c:pt idx="284">
                    <c:v>Rolling Stdev (30 Minute)</c:v>
                  </c:pt>
                  <c:pt idx="285">
                    <c:v>Rolling Stdev (30 Minute)</c:v>
                  </c:pt>
                  <c:pt idx="286">
                    <c:v>Rolling Stdev (30 Minute)</c:v>
                  </c:pt>
                  <c:pt idx="287">
                    <c:v>Rolling Stdev (30 Minute)</c:v>
                  </c:pt>
                  <c:pt idx="288">
                    <c:v>Rolling Stdev (30 Minute)</c:v>
                  </c:pt>
                  <c:pt idx="289">
                    <c:v>Rolling Stdev (30 Minute)</c:v>
                  </c:pt>
                  <c:pt idx="290">
                    <c:v>Rolling Stdev (30 Minute)</c:v>
                  </c:pt>
                  <c:pt idx="291">
                    <c:v>Rolling Stdev (30 Minute)</c:v>
                  </c:pt>
                  <c:pt idx="292">
                    <c:v>Rolling Stdev (30 Minute)</c:v>
                  </c:pt>
                  <c:pt idx="293">
                    <c:v>Rolling Stdev (30 Minute)</c:v>
                  </c:pt>
                  <c:pt idx="294">
                    <c:v>Rolling Stdev (30 Minute)</c:v>
                  </c:pt>
                  <c:pt idx="295">
                    <c:v>Rolling Stdev (30 Minute)</c:v>
                  </c:pt>
                  <c:pt idx="296">
                    <c:v>Rolling Stdev (30 Minute)</c:v>
                  </c:pt>
                  <c:pt idx="297">
                    <c:v>Rolling Stdev (30 Minute)</c:v>
                  </c:pt>
                  <c:pt idx="298">
                    <c:v>Rolling Stdev (30 Minute)</c:v>
                  </c:pt>
                  <c:pt idx="299">
                    <c:v>Rolling Stdev (30 Minute)</c:v>
                  </c:pt>
                  <c:pt idx="300">
                    <c:v>Rolling Stdev (30 Minute)</c:v>
                  </c:pt>
                  <c:pt idx="301">
                    <c:v>Rolling Stdev (30 Minute)</c:v>
                  </c:pt>
                  <c:pt idx="302">
                    <c:v>Rolling Stdev (30 Minute)</c:v>
                  </c:pt>
                  <c:pt idx="303">
                    <c:v>Rolling Stdev (30 Minute)</c:v>
                  </c:pt>
                  <c:pt idx="304">
                    <c:v>Rolling Stdev (30 Minute)</c:v>
                  </c:pt>
                  <c:pt idx="305">
                    <c:v>Rolling Stdev (30 Minute)</c:v>
                  </c:pt>
                  <c:pt idx="306">
                    <c:v>Rolling Stdev (30 Minute)</c:v>
                  </c:pt>
                  <c:pt idx="307">
                    <c:v>Rolling Stdev (30 Minute)</c:v>
                  </c:pt>
                  <c:pt idx="308">
                    <c:v>Rolling Stdev (30 Minute)</c:v>
                  </c:pt>
                  <c:pt idx="309">
                    <c:v>Rolling Stdev (30 Minute)</c:v>
                  </c:pt>
                  <c:pt idx="310">
                    <c:v>Rolling Stdev (30 Minute)</c:v>
                  </c:pt>
                  <c:pt idx="311">
                    <c:v>Rolling Stdev (30 Minute)</c:v>
                  </c:pt>
                  <c:pt idx="312">
                    <c:v>Rolling Stdev (30 Minute)</c:v>
                  </c:pt>
                  <c:pt idx="313">
                    <c:v>Rolling Stdev (30 Minute)</c:v>
                  </c:pt>
                  <c:pt idx="314">
                    <c:v>Rolling Stdev (30 Minute)</c:v>
                  </c:pt>
                  <c:pt idx="315">
                    <c:v>Rolling Stdev (30 Minute)</c:v>
                  </c:pt>
                  <c:pt idx="316">
                    <c:v>Rolling Stdev (30 Minute)</c:v>
                  </c:pt>
                  <c:pt idx="317">
                    <c:v>Rolling Stdev (30 Minute)</c:v>
                  </c:pt>
                  <c:pt idx="318">
                    <c:v>Rolling Stdev (30 Minute)</c:v>
                  </c:pt>
                  <c:pt idx="319">
                    <c:v>Rolling Stdev (30 Minute)</c:v>
                  </c:pt>
                  <c:pt idx="320">
                    <c:v>Rolling Stdev (30 Minute)</c:v>
                  </c:pt>
                  <c:pt idx="321">
                    <c:v>Rolling Stdev (30 Minute)</c:v>
                  </c:pt>
                  <c:pt idx="322">
                    <c:v>Rolling Stdev (30 Minute)</c:v>
                  </c:pt>
                  <c:pt idx="323">
                    <c:v>Rolling Stdev (30 Minute)</c:v>
                  </c:pt>
                  <c:pt idx="324">
                    <c:v>Rolling Stdev (30 Minute)</c:v>
                  </c:pt>
                  <c:pt idx="325">
                    <c:v>Rolling Stdev (30 Minute)</c:v>
                  </c:pt>
                  <c:pt idx="326">
                    <c:v>Rolling Stdev (30 Minute)</c:v>
                  </c:pt>
                  <c:pt idx="327">
                    <c:v>Rolling Stdev (30 Minute)</c:v>
                  </c:pt>
                  <c:pt idx="328">
                    <c:v>Rolling Stdev (30 Minute)</c:v>
                  </c:pt>
                  <c:pt idx="329">
                    <c:v>Rolling Stdev (30 Minute)</c:v>
                  </c:pt>
                  <c:pt idx="330">
                    <c:v>Rolling Stdev (30 Minute)</c:v>
                  </c:pt>
                  <c:pt idx="331">
                    <c:v>Rolling Stdev (30 Minute)</c:v>
                  </c:pt>
                  <c:pt idx="332">
                    <c:v>Rolling Stdev (30 Minute)</c:v>
                  </c:pt>
                  <c:pt idx="333">
                    <c:v>Rolling Stdev (30 Minute)</c:v>
                  </c:pt>
                  <c:pt idx="334">
                    <c:v>Rolling Stdev (30 Minute)</c:v>
                  </c:pt>
                  <c:pt idx="335">
                    <c:v>Rolling Stdev (30 Minute)</c:v>
                  </c:pt>
                  <c:pt idx="336">
                    <c:v>Rolling Stdev (30 Minute)</c:v>
                  </c:pt>
                  <c:pt idx="337">
                    <c:v>Rolling Stdev (30 Minute)</c:v>
                  </c:pt>
                  <c:pt idx="338">
                    <c:v>Rolling Stdev (30 Minute)</c:v>
                  </c:pt>
                  <c:pt idx="339">
                    <c:v>Rolling Stdev (30 Minute)</c:v>
                  </c:pt>
                  <c:pt idx="340">
                    <c:v>Rolling Stdev (30 Minute)</c:v>
                  </c:pt>
                  <c:pt idx="341">
                    <c:v>Rolling Stdev (30 Minute)</c:v>
                  </c:pt>
                  <c:pt idx="342">
                    <c:v>Rolling Stdev (30 Minute)</c:v>
                  </c:pt>
                  <c:pt idx="343">
                    <c:v>Rolling Stdev (30 Minute)</c:v>
                  </c:pt>
                  <c:pt idx="344">
                    <c:v>Rolling Stdev (30 Minute)</c:v>
                  </c:pt>
                  <c:pt idx="345">
                    <c:v>Rolling Stdev (30 Minute)</c:v>
                  </c:pt>
                  <c:pt idx="346">
                    <c:v>Rolling Stdev (30 Minute)</c:v>
                  </c:pt>
                  <c:pt idx="347">
                    <c:v>Rolling Stdev (30 Minute)</c:v>
                  </c:pt>
                  <c:pt idx="348">
                    <c:v>Rolling Stdev (30 Minute)</c:v>
                  </c:pt>
                  <c:pt idx="349">
                    <c:v>Rolling Stdev (30 Minute)</c:v>
                  </c:pt>
                  <c:pt idx="350">
                    <c:v>Rolling Stdev (30 Minute)</c:v>
                  </c:pt>
                  <c:pt idx="351">
                    <c:v>Rolling Stdev (30 Minute)</c:v>
                  </c:pt>
                  <c:pt idx="352">
                    <c:v>Rolling Stdev (30 Minute)</c:v>
                  </c:pt>
                  <c:pt idx="353">
                    <c:v>Rolling Stdev (30 Minute)</c:v>
                  </c:pt>
                  <c:pt idx="354">
                    <c:v>Rolling Stdev (30 Minute)</c:v>
                  </c:pt>
                  <c:pt idx="355">
                    <c:v>Rolling Stdev (30 Minute)</c:v>
                  </c:pt>
                  <c:pt idx="356">
                    <c:v>Rolling Stdev (30 Minute)</c:v>
                  </c:pt>
                  <c:pt idx="357">
                    <c:v>Rolling Stdev (30 Minute)</c:v>
                  </c:pt>
                  <c:pt idx="358">
                    <c:v>Rolling Stdev (30 Minute)</c:v>
                  </c:pt>
                  <c:pt idx="359">
                    <c:v>Rolling Stdev (30 Minute)</c:v>
                  </c:pt>
                  <c:pt idx="360">
                    <c:v>Rolling Stdev (30 Minute)</c:v>
                  </c:pt>
                  <c:pt idx="361">
                    <c:v>Rolling Stdev (30 Minute)</c:v>
                  </c:pt>
                  <c:pt idx="362">
                    <c:v>Rolling Stdev (30 Minute)</c:v>
                  </c:pt>
                  <c:pt idx="363">
                    <c:v>Rolling Stdev (30 Minute)</c:v>
                  </c:pt>
                  <c:pt idx="364">
                    <c:v>Rolling Stdev (30 Minute)</c:v>
                  </c:pt>
                  <c:pt idx="365">
                    <c:v>Rolling Stdev (30 Minute)</c:v>
                  </c:pt>
                  <c:pt idx="366">
                    <c:v>Rolling Stdev (30 Minute)</c:v>
                  </c:pt>
                  <c:pt idx="367">
                    <c:v>Rolling Stdev (30 Minute)</c:v>
                  </c:pt>
                  <c:pt idx="368">
                    <c:v>Rolling Stdev (30 Minute)</c:v>
                  </c:pt>
                  <c:pt idx="369">
                    <c:v>Rolling Stdev (30 Minute)</c:v>
                  </c:pt>
                  <c:pt idx="370">
                    <c:v>Rolling Stdev (30 Minute)</c:v>
                  </c:pt>
                  <c:pt idx="371">
                    <c:v>Rolling Stdev (30 Minute)</c:v>
                  </c:pt>
                  <c:pt idx="372">
                    <c:v>Rolling Stdev (30 Minute)</c:v>
                  </c:pt>
                  <c:pt idx="373">
                    <c:v>Rolling Stdev (30 Minute)</c:v>
                  </c:pt>
                  <c:pt idx="374">
                    <c:v>Rolling Stdev (30 Minute)</c:v>
                  </c:pt>
                  <c:pt idx="375">
                    <c:v>Rolling Stdev (30 Minute)</c:v>
                  </c:pt>
                  <c:pt idx="376">
                    <c:v>Rolling Stdev (30 Minute)</c:v>
                  </c:pt>
                  <c:pt idx="377">
                    <c:v>Rolling Stdev (30 Minute)</c:v>
                  </c:pt>
                  <c:pt idx="378">
                    <c:v>Rolling Stdev (30 Minute)</c:v>
                  </c:pt>
                  <c:pt idx="379">
                    <c:v>Rolling Stdev (30 Minute)</c:v>
                  </c:pt>
                  <c:pt idx="380">
                    <c:v>Rolling Stdev (30 Minute)</c:v>
                  </c:pt>
                  <c:pt idx="381">
                    <c:v>Rolling Stdev (30 Minute)</c:v>
                  </c:pt>
                  <c:pt idx="382">
                    <c:v>Rolling Stdev (30 Minute)</c:v>
                  </c:pt>
                  <c:pt idx="383">
                    <c:v>Rolling Stdev (30 Minute)</c:v>
                  </c:pt>
                  <c:pt idx="384">
                    <c:v>Rolling Stdev (30 Minute)</c:v>
                  </c:pt>
                  <c:pt idx="385">
                    <c:v>Rolling Stdev (30 Minute)</c:v>
                  </c:pt>
                  <c:pt idx="386">
                    <c:v>Rolling Stdev (30 Minute)</c:v>
                  </c:pt>
                  <c:pt idx="387">
                    <c:v>Rolling Stdev (30 Minute)</c:v>
                  </c:pt>
                  <c:pt idx="388">
                    <c:v>Rolling Stdev (30 Minute)</c:v>
                  </c:pt>
                  <c:pt idx="389">
                    <c:v>Rolling Stdev (30 Minute)</c:v>
                  </c:pt>
                  <c:pt idx="390">
                    <c:v>Rolling Stdev (30 Minute)</c:v>
                  </c:pt>
                  <c:pt idx="391">
                    <c:v>Rolling Stdev (30 Minute)</c:v>
                  </c:pt>
                  <c:pt idx="392">
                    <c:v>Rolling Stdev (30 Minute)</c:v>
                  </c:pt>
                  <c:pt idx="393">
                    <c:v>Rolling Stdev (30 Minute)</c:v>
                  </c:pt>
                  <c:pt idx="394">
                    <c:v>Rolling Stdev (30 Minute)</c:v>
                  </c:pt>
                  <c:pt idx="395">
                    <c:v>Rolling Stdev (30 Minute)</c:v>
                  </c:pt>
                  <c:pt idx="396">
                    <c:v>Rolling Stdev (30 Minute)</c:v>
                  </c:pt>
                  <c:pt idx="397">
                    <c:v>Rolling Stdev (30 Minute)</c:v>
                  </c:pt>
                  <c:pt idx="398">
                    <c:v>Rolling Stdev (30 Minute)</c:v>
                  </c:pt>
                  <c:pt idx="399">
                    <c:v>Rolling Stdev (30 Minute)</c:v>
                  </c:pt>
                  <c:pt idx="400">
                    <c:v>Rolling Stdev (30 Minute)</c:v>
                  </c:pt>
                  <c:pt idx="401">
                    <c:v>Rolling Stdev (30 Minute)</c:v>
                  </c:pt>
                  <c:pt idx="402">
                    <c:v>Rolling Stdev (30 Minute)</c:v>
                  </c:pt>
                  <c:pt idx="403">
                    <c:v>Rolling Stdev (30 Minute)</c:v>
                  </c:pt>
                  <c:pt idx="404">
                    <c:v>Rolling Stdev (30 Minute)</c:v>
                  </c:pt>
                  <c:pt idx="405">
                    <c:v>Rolling Stdev (30 Minute)</c:v>
                  </c:pt>
                  <c:pt idx="406">
                    <c:v>Rolling Stdev (30 Minute)</c:v>
                  </c:pt>
                  <c:pt idx="407">
                    <c:v>Rolling Stdev (30 Minute)</c:v>
                  </c:pt>
                  <c:pt idx="408">
                    <c:v>Rolling Stdev (30 Minute)</c:v>
                  </c:pt>
                  <c:pt idx="409">
                    <c:v>Rolling Stdev (30 Minute)</c:v>
                  </c:pt>
                  <c:pt idx="410">
                    <c:v>Rolling Stdev (30 Minute)</c:v>
                  </c:pt>
                  <c:pt idx="411">
                    <c:v>Rolling Stdev (30 Minute)</c:v>
                  </c:pt>
                  <c:pt idx="412">
                    <c:v>Rolling Stdev (30 Minute)</c:v>
                  </c:pt>
                  <c:pt idx="413">
                    <c:v>Rolling Stdev (30 Minute)</c:v>
                  </c:pt>
                  <c:pt idx="414">
                    <c:v>Rolling Stdev (30 Minute)</c:v>
                  </c:pt>
                  <c:pt idx="415">
                    <c:v>Rolling Stdev (30 Minute)</c:v>
                  </c:pt>
                  <c:pt idx="416">
                    <c:v>Rolling Stdev (30 Minute)</c:v>
                  </c:pt>
                  <c:pt idx="417">
                    <c:v>Rolling Stdev (30 Minute)</c:v>
                  </c:pt>
                  <c:pt idx="418">
                    <c:v>Rolling Stdev (30 Minute)</c:v>
                  </c:pt>
                  <c:pt idx="419">
                    <c:v>Rolling Stdev (30 Minute)</c:v>
                  </c:pt>
                  <c:pt idx="420">
                    <c:v>Rolling Stdev (30 Minute)</c:v>
                  </c:pt>
                  <c:pt idx="421">
                    <c:v>Rolling Stdev (30 Minute)</c:v>
                  </c:pt>
                  <c:pt idx="422">
                    <c:v>Rolling Stdev (30 Minute)</c:v>
                  </c:pt>
                  <c:pt idx="423">
                    <c:v>Rolling Stdev (30 Minute)</c:v>
                  </c:pt>
                  <c:pt idx="424">
                    <c:v>Rolling Stdev (30 Minute)</c:v>
                  </c:pt>
                  <c:pt idx="425">
                    <c:v>Rolling Stdev (30 Minute)</c:v>
                  </c:pt>
                  <c:pt idx="426">
                    <c:v>Rolling Stdev (30 Minute)</c:v>
                  </c:pt>
                  <c:pt idx="427">
                    <c:v>Rolling Stdev (30 Minute)</c:v>
                  </c:pt>
                  <c:pt idx="428">
                    <c:v>Rolling Stdev (30 Minute)</c:v>
                  </c:pt>
                  <c:pt idx="429">
                    <c:v>Rolling Stdev (30 Minute)</c:v>
                  </c:pt>
                  <c:pt idx="430">
                    <c:v>Rolling Stdev (30 Minute)</c:v>
                  </c:pt>
                  <c:pt idx="431">
                    <c:v>Rolling Stdev (30 Minute)</c:v>
                  </c:pt>
                  <c:pt idx="432">
                    <c:v>Rolling Stdev (30 Minute)</c:v>
                  </c:pt>
                  <c:pt idx="433">
                    <c:v>Rolling Stdev (30 Minute)</c:v>
                  </c:pt>
                  <c:pt idx="434">
                    <c:v>Rolling Stdev (30 Minute)</c:v>
                  </c:pt>
                  <c:pt idx="435">
                    <c:v>Rolling Stdev (30 Minute)</c:v>
                  </c:pt>
                  <c:pt idx="436">
                    <c:v>Rolling Stdev (30 Minute)</c:v>
                  </c:pt>
                  <c:pt idx="437">
                    <c:v>Rolling Stdev (30 Minute)</c:v>
                  </c:pt>
                  <c:pt idx="438">
                    <c:v>Rolling Stdev (30 Minute)</c:v>
                  </c:pt>
                  <c:pt idx="439">
                    <c:v>Rolling Stdev (30 Minute)</c:v>
                  </c:pt>
                  <c:pt idx="440">
                    <c:v>Rolling Stdev (30 Minute)</c:v>
                  </c:pt>
                  <c:pt idx="441">
                    <c:v>Rolling Stdev (30 Minute)</c:v>
                  </c:pt>
                  <c:pt idx="442">
                    <c:v>Rolling Stdev (30 Minute)</c:v>
                  </c:pt>
                  <c:pt idx="443">
                    <c:v>Rolling Stdev (30 Minute)</c:v>
                  </c:pt>
                  <c:pt idx="444">
                    <c:v>Rolling Stdev (30 Minute)</c:v>
                  </c:pt>
                  <c:pt idx="445">
                    <c:v>Rolling Stdev (30 Minute)</c:v>
                  </c:pt>
                  <c:pt idx="446">
                    <c:v>Rolling Stdev (30 Minute)</c:v>
                  </c:pt>
                  <c:pt idx="447">
                    <c:v>Rolling Stdev (30 Minute)</c:v>
                  </c:pt>
                  <c:pt idx="448">
                    <c:v>Rolling Stdev (30 Minute)</c:v>
                  </c:pt>
                  <c:pt idx="449">
                    <c:v>Rolling Stdev (30 Minute)</c:v>
                  </c:pt>
                  <c:pt idx="450">
                    <c:v>Rolling Stdev (30 Minute)</c:v>
                  </c:pt>
                  <c:pt idx="451">
                    <c:v>Rolling Stdev (30 Minute)</c:v>
                  </c:pt>
                  <c:pt idx="452">
                    <c:v>Rolling Stdev (30 Minute)</c:v>
                  </c:pt>
                  <c:pt idx="453">
                    <c:v>Rolling Stdev (30 Minute)</c:v>
                  </c:pt>
                  <c:pt idx="454">
                    <c:v>Rolling Stdev (30 Minute)</c:v>
                  </c:pt>
                  <c:pt idx="455">
                    <c:v>Rolling Stdev (30 Minute)</c:v>
                  </c:pt>
                  <c:pt idx="456">
                    <c:v>Rolling Stdev (30 Minute)</c:v>
                  </c:pt>
                  <c:pt idx="457">
                    <c:v>Rolling Stdev (30 Minute)</c:v>
                  </c:pt>
                  <c:pt idx="458">
                    <c:v>Rolling Stdev (30 Minute)</c:v>
                  </c:pt>
                  <c:pt idx="459">
                    <c:v>Rolling Stdev (30 Minute)</c:v>
                  </c:pt>
                  <c:pt idx="460">
                    <c:v>Rolling Stdev (30 Minute)</c:v>
                  </c:pt>
                  <c:pt idx="461">
                    <c:v>Rolling Stdev (30 Minute)</c:v>
                  </c:pt>
                  <c:pt idx="462">
                    <c:v>Rolling Stdev (30 Minute)</c:v>
                  </c:pt>
                  <c:pt idx="463">
                    <c:v>Rolling Stdev (30 Minute)</c:v>
                  </c:pt>
                  <c:pt idx="464">
                    <c:v>Rolling Stdev (30 Minute)</c:v>
                  </c:pt>
                  <c:pt idx="465">
                    <c:v>Rolling Stdev (30 Minute)</c:v>
                  </c:pt>
                  <c:pt idx="466">
                    <c:v>Rolling Stdev (30 Minute)</c:v>
                  </c:pt>
                  <c:pt idx="467">
                    <c:v>Rolling Stdev (30 Minute)</c:v>
                  </c:pt>
                  <c:pt idx="468">
                    <c:v>Rolling Stdev (30 Minute)</c:v>
                  </c:pt>
                  <c:pt idx="469">
                    <c:v>Rolling Stdev (30 Minute)</c:v>
                  </c:pt>
                  <c:pt idx="470">
                    <c:v>Rolling Stdev (30 Minute)</c:v>
                  </c:pt>
                  <c:pt idx="471">
                    <c:v>Rolling Stdev (30 Minute)</c:v>
                  </c:pt>
                  <c:pt idx="472">
                    <c:v>Rolling Stdev (30 Minute)</c:v>
                  </c:pt>
                  <c:pt idx="473">
                    <c:v>Rolling Stdev (30 Minute)</c:v>
                  </c:pt>
                  <c:pt idx="474">
                    <c:v>Rolling Stdev (30 Minute)</c:v>
                  </c:pt>
                  <c:pt idx="475">
                    <c:v>Rolling Stdev (30 Minute)</c:v>
                  </c:pt>
                  <c:pt idx="476">
                    <c:v>Rolling Stdev (30 Minute)</c:v>
                  </c:pt>
                  <c:pt idx="477">
                    <c:v>Rolling Stdev (30 Minute)</c:v>
                  </c:pt>
                  <c:pt idx="478">
                    <c:v>Rolling Stdev (30 Minute)</c:v>
                  </c:pt>
                  <c:pt idx="479">
                    <c:v>Rolling Stdev (30 Minute)</c:v>
                  </c:pt>
                  <c:pt idx="480">
                    <c:v>Rolling Stdev (30 Minute)</c:v>
                  </c:pt>
                  <c:pt idx="481">
                    <c:v>Rolling Stdev (30 Minute)</c:v>
                  </c:pt>
                  <c:pt idx="482">
                    <c:v>Rolling Stdev (30 Minute)</c:v>
                  </c:pt>
                  <c:pt idx="483">
                    <c:v>Rolling Stdev (30 Minute)</c:v>
                  </c:pt>
                  <c:pt idx="484">
                    <c:v>Rolling Stdev (30 Minute)</c:v>
                  </c:pt>
                  <c:pt idx="485">
                    <c:v>Rolling Stdev (30 Minute)</c:v>
                  </c:pt>
                  <c:pt idx="486">
                    <c:v>Rolling Stdev (30 Minute)</c:v>
                  </c:pt>
                  <c:pt idx="487">
                    <c:v>Rolling Stdev (30 Minute)</c:v>
                  </c:pt>
                  <c:pt idx="488">
                    <c:v>Rolling Stdev (30 Minute)</c:v>
                  </c:pt>
                  <c:pt idx="489">
                    <c:v>Rolling Stdev (30 Minute)</c:v>
                  </c:pt>
                  <c:pt idx="490">
                    <c:v>Rolling Stdev (30 Minute)</c:v>
                  </c:pt>
                  <c:pt idx="491">
                    <c:v>Rolling Stdev (30 Minute)</c:v>
                  </c:pt>
                  <c:pt idx="492">
                    <c:v>Rolling Stdev (30 Minute)</c:v>
                  </c:pt>
                  <c:pt idx="493">
                    <c:v>Rolling Stdev (30 Minute)</c:v>
                  </c:pt>
                  <c:pt idx="494">
                    <c:v>Rolling Stdev (30 Minute)</c:v>
                  </c:pt>
                  <c:pt idx="495">
                    <c:v>Rolling Stdev (30 Minute)</c:v>
                  </c:pt>
                  <c:pt idx="496">
                    <c:v>Rolling Stdev (30 Minute)</c:v>
                  </c:pt>
                  <c:pt idx="497">
                    <c:v>Rolling Stdev (30 Minute)</c:v>
                  </c:pt>
                  <c:pt idx="498">
                    <c:v>Rolling Stdev (30 Minute)</c:v>
                  </c:pt>
                  <c:pt idx="499">
                    <c:v>Rolling Stdev (30 Minute)</c:v>
                  </c:pt>
                  <c:pt idx="500">
                    <c:v>Rolling Stdev (30 Minute)</c:v>
                  </c:pt>
                  <c:pt idx="501">
                    <c:v>Rolling Stdev (30 Minute)</c:v>
                  </c:pt>
                  <c:pt idx="502">
                    <c:v>Rolling Stdev (30 Minute)</c:v>
                  </c:pt>
                  <c:pt idx="503">
                    <c:v>Rolling Stdev (30 Minute)</c:v>
                  </c:pt>
                  <c:pt idx="504">
                    <c:v>Rolling Stdev (30 Minute)</c:v>
                  </c:pt>
                  <c:pt idx="505">
                    <c:v>Rolling Stdev (30 Minute)</c:v>
                  </c:pt>
                  <c:pt idx="506">
                    <c:v>Rolling Stdev (30 Minute)</c:v>
                  </c:pt>
                  <c:pt idx="507">
                    <c:v>Rolling Stdev (30 Minute)</c:v>
                  </c:pt>
                  <c:pt idx="508">
                    <c:v>Rolling Stdev (30 Minute)</c:v>
                  </c:pt>
                  <c:pt idx="509">
                    <c:v>Rolling Stdev (30 Minute)</c:v>
                  </c:pt>
                  <c:pt idx="510">
                    <c:v>Rolling Stdev (30 Minute)</c:v>
                  </c:pt>
                  <c:pt idx="511">
                    <c:v>Rolling Stdev (30 Minute)</c:v>
                  </c:pt>
                  <c:pt idx="512">
                    <c:v>Rolling Stdev (30 Minute)</c:v>
                  </c:pt>
                  <c:pt idx="513">
                    <c:v>Rolling Stdev (30 Minute)</c:v>
                  </c:pt>
                  <c:pt idx="514">
                    <c:v>Rolling Stdev (30 Minute)</c:v>
                  </c:pt>
                  <c:pt idx="515">
                    <c:v>Rolling Stdev (30 Minute)</c:v>
                  </c:pt>
                  <c:pt idx="516">
                    <c:v>Rolling Stdev (30 Minute)</c:v>
                  </c:pt>
                  <c:pt idx="517">
                    <c:v>Rolling Stdev (30 Minute)</c:v>
                  </c:pt>
                  <c:pt idx="518">
                    <c:v>Rolling Stdev (30 Minute)</c:v>
                  </c:pt>
                  <c:pt idx="519">
                    <c:v>Rolling Stdev (30 Minute)</c:v>
                  </c:pt>
                  <c:pt idx="520">
                    <c:v>Rolling Stdev (30 Minute)</c:v>
                  </c:pt>
                  <c:pt idx="521">
                    <c:v>Rolling Stdev (30 Minute)</c:v>
                  </c:pt>
                  <c:pt idx="522">
                    <c:v>Rolling Stdev (30 Minute)</c:v>
                  </c:pt>
                  <c:pt idx="523">
                    <c:v>Rolling Stdev (30 Minute)</c:v>
                  </c:pt>
                  <c:pt idx="524">
                    <c:v>Rolling Stdev (30 Minute)</c:v>
                  </c:pt>
                  <c:pt idx="525">
                    <c:v>Rolling Stdev (30 Minute)</c:v>
                  </c:pt>
                  <c:pt idx="526">
                    <c:v>Rolling Stdev (30 Minute)</c:v>
                  </c:pt>
                  <c:pt idx="527">
                    <c:v>Rolling Stdev (30 Minute)</c:v>
                  </c:pt>
                  <c:pt idx="528">
                    <c:v>Rolling Stdev (30 Minute)</c:v>
                  </c:pt>
                  <c:pt idx="529">
                    <c:v>Rolling Stdev (30 Minute)</c:v>
                  </c:pt>
                  <c:pt idx="530">
                    <c:v>Rolling Stdev (30 Minute)</c:v>
                  </c:pt>
                  <c:pt idx="531">
                    <c:v>Rolling Stdev (30 Minute)</c:v>
                  </c:pt>
                  <c:pt idx="532">
                    <c:v>Rolling Stdev (30 Minute)</c:v>
                  </c:pt>
                  <c:pt idx="533">
                    <c:v>Rolling Stdev (30 Minute)</c:v>
                  </c:pt>
                  <c:pt idx="534">
                    <c:v>Rolling Stdev (30 Minute)</c:v>
                  </c:pt>
                  <c:pt idx="535">
                    <c:v>Rolling Stdev (30 Minute)</c:v>
                  </c:pt>
                  <c:pt idx="536">
                    <c:v>Rolling Stdev (30 Minute)</c:v>
                  </c:pt>
                  <c:pt idx="537">
                    <c:v>Rolling Stdev (30 Minute)</c:v>
                  </c:pt>
                  <c:pt idx="538">
                    <c:v>Rolling Stdev (30 Minute)</c:v>
                  </c:pt>
                  <c:pt idx="539">
                    <c:v>Rolling Stdev (30 Minute)</c:v>
                  </c:pt>
                  <c:pt idx="540">
                    <c:v>Rolling Stdev (30 Minute)</c:v>
                  </c:pt>
                  <c:pt idx="541">
                    <c:v>Rolling Stdev (30 Minute)</c:v>
                  </c:pt>
                  <c:pt idx="542">
                    <c:v>Rolling Stdev (30 Minute)</c:v>
                  </c:pt>
                  <c:pt idx="543">
                    <c:v>Rolling Stdev (30 Minute)</c:v>
                  </c:pt>
                  <c:pt idx="544">
                    <c:v>Rolling Stdev (30 Minute)</c:v>
                  </c:pt>
                  <c:pt idx="545">
                    <c:v>Rolling Stdev (30 Minute)</c:v>
                  </c:pt>
                  <c:pt idx="546">
                    <c:v>Rolling Stdev (30 Minute)</c:v>
                  </c:pt>
                  <c:pt idx="547">
                    <c:v>Rolling Stdev (30 Minute)</c:v>
                  </c:pt>
                  <c:pt idx="548">
                    <c:v>Rolling Stdev (30 Minute)</c:v>
                  </c:pt>
                  <c:pt idx="549">
                    <c:v>Rolling Stdev (30 Minute)</c:v>
                  </c:pt>
                  <c:pt idx="550">
                    <c:v>Rolling Stdev (30 Minute)</c:v>
                  </c:pt>
                  <c:pt idx="551">
                    <c:v>Rolling Stdev (30 Minute)</c:v>
                  </c:pt>
                  <c:pt idx="552">
                    <c:v>Rolling Stdev (30 Minute)</c:v>
                  </c:pt>
                  <c:pt idx="553">
                    <c:v>Rolling Stdev (30 Minute)</c:v>
                  </c:pt>
                  <c:pt idx="554">
                    <c:v>Rolling Stdev (30 Minute)</c:v>
                  </c:pt>
                  <c:pt idx="555">
                    <c:v>Rolling Stdev (30 Minute)</c:v>
                  </c:pt>
                  <c:pt idx="556">
                    <c:v>Rolling Stdev (30 Minute)</c:v>
                  </c:pt>
                  <c:pt idx="557">
                    <c:v>Rolling Stdev (30 Minute)</c:v>
                  </c:pt>
                  <c:pt idx="558">
                    <c:v>Rolling Stdev (30 Minute)</c:v>
                  </c:pt>
                  <c:pt idx="559">
                    <c:v>Rolling Stdev (30 Minute)</c:v>
                  </c:pt>
                  <c:pt idx="560">
                    <c:v>Rolling Stdev (30 Minute)</c:v>
                  </c:pt>
                  <c:pt idx="561">
                    <c:v>Rolling Stdev (30 Minute)</c:v>
                  </c:pt>
                  <c:pt idx="562">
                    <c:v>Rolling Stdev (30 Minute)</c:v>
                  </c:pt>
                  <c:pt idx="563">
                    <c:v>Rolling Stdev (30 Minute)</c:v>
                  </c:pt>
                  <c:pt idx="564">
                    <c:v>Rolling Stdev (30 Minute)</c:v>
                  </c:pt>
                  <c:pt idx="565">
                    <c:v>Rolling Stdev (30 Minute)</c:v>
                  </c:pt>
                  <c:pt idx="566">
                    <c:v>Rolling Stdev (30 Minute)</c:v>
                  </c:pt>
                  <c:pt idx="567">
                    <c:v>Rolling Stdev (30 Minute)</c:v>
                  </c:pt>
                  <c:pt idx="568">
                    <c:v>Rolling Stdev (30 Minute)</c:v>
                  </c:pt>
                  <c:pt idx="569">
                    <c:v>Rolling Stdev (30 Minute)</c:v>
                  </c:pt>
                  <c:pt idx="570">
                    <c:v>Rolling Stdev (30 Minute)</c:v>
                  </c:pt>
                  <c:pt idx="571">
                    <c:v>Rolling Stdev (30 Minute)</c:v>
                  </c:pt>
                  <c:pt idx="572">
                    <c:v>Rolling Stdev (30 Minute)</c:v>
                  </c:pt>
                  <c:pt idx="573">
                    <c:v>Rolling Stdev (30 Minute)</c:v>
                  </c:pt>
                  <c:pt idx="574">
                    <c:v>Rolling Stdev (30 Minute)</c:v>
                  </c:pt>
                  <c:pt idx="575">
                    <c:v>Rolling Stdev (30 Minute)</c:v>
                  </c:pt>
                  <c:pt idx="576">
                    <c:v>Rolling Stdev (30 Minute)</c:v>
                  </c:pt>
                  <c:pt idx="577">
                    <c:v>Rolling Stdev (30 Minute)</c:v>
                  </c:pt>
                  <c:pt idx="578">
                    <c:v>Rolling Stdev (30 Minute)</c:v>
                  </c:pt>
                  <c:pt idx="579">
                    <c:v>Rolling Stdev (30 Minute)</c:v>
                  </c:pt>
                  <c:pt idx="580">
                    <c:v>Rolling Stdev (30 Minute)</c:v>
                  </c:pt>
                  <c:pt idx="581">
                    <c:v>Rolling Stdev (30 Minute)</c:v>
                  </c:pt>
                  <c:pt idx="582">
                    <c:v>Rolling Stdev (30 Minute)</c:v>
                  </c:pt>
                  <c:pt idx="583">
                    <c:v>Rolling Stdev (30 Minute)</c:v>
                  </c:pt>
                  <c:pt idx="584">
                    <c:v>Rolling Stdev (30 Minute)</c:v>
                  </c:pt>
                  <c:pt idx="585">
                    <c:v>Rolling Stdev (30 Minute)</c:v>
                  </c:pt>
                  <c:pt idx="586">
                    <c:v>Rolling Stdev (30 Minute)</c:v>
                  </c:pt>
                  <c:pt idx="587">
                    <c:v>Rolling Stdev (30 Minute)</c:v>
                  </c:pt>
                  <c:pt idx="588">
                    <c:v>Rolling Stdev (30 Minute)</c:v>
                  </c:pt>
                  <c:pt idx="589">
                    <c:v>Rolling Stdev (30 Minute)</c:v>
                  </c:pt>
                  <c:pt idx="590">
                    <c:v>Rolling Stdev (30 Minute)</c:v>
                  </c:pt>
                  <c:pt idx="591">
                    <c:v>Rolling Stdev (30 Minute)</c:v>
                  </c:pt>
                  <c:pt idx="592">
                    <c:v>Rolling Stdev (30 Minute)</c:v>
                  </c:pt>
                  <c:pt idx="593">
                    <c:v>Rolling Stdev (30 Minute)</c:v>
                  </c:pt>
                  <c:pt idx="594">
                    <c:v>Rolling Stdev (30 Minute)</c:v>
                  </c:pt>
                  <c:pt idx="595">
                    <c:v>Rolling Stdev (30 Minute)</c:v>
                  </c:pt>
                  <c:pt idx="596">
                    <c:v>Rolling Stdev (30 Minute)</c:v>
                  </c:pt>
                  <c:pt idx="597">
                    <c:v>Rolling Stdev (30 Minute)</c:v>
                  </c:pt>
                  <c:pt idx="598">
                    <c:v>Rolling Stdev (30 Minute)</c:v>
                  </c:pt>
                  <c:pt idx="599">
                    <c:v>Rolling Stdev (30 Minute)</c:v>
                  </c:pt>
                  <c:pt idx="600">
                    <c:v>Rolling Stdev (30 Minute)</c:v>
                  </c:pt>
                  <c:pt idx="601">
                    <c:v>Rolling Stdev (30 Minute)</c:v>
                  </c:pt>
                  <c:pt idx="602">
                    <c:v>Rolling Stdev (30 Minute)</c:v>
                  </c:pt>
                  <c:pt idx="603">
                    <c:v>Rolling Stdev (30 Minute)</c:v>
                  </c:pt>
                  <c:pt idx="604">
                    <c:v>Rolling Stdev (30 Minute)</c:v>
                  </c:pt>
                  <c:pt idx="605">
                    <c:v>Rolling Stdev (30 Minute)</c:v>
                  </c:pt>
                  <c:pt idx="606">
                    <c:v>Rolling Stdev (30 Minute)</c:v>
                  </c:pt>
                  <c:pt idx="607">
                    <c:v>Rolling Stdev (30 Minute)</c:v>
                  </c:pt>
                  <c:pt idx="608">
                    <c:v>Rolling Stdev (30 Minute)</c:v>
                  </c:pt>
                  <c:pt idx="609">
                    <c:v>Rolling Stdev (30 Minute)</c:v>
                  </c:pt>
                  <c:pt idx="610">
                    <c:v>Rolling Stdev (30 Minute)</c:v>
                  </c:pt>
                  <c:pt idx="611">
                    <c:v>Rolling Stdev (30 Minute)</c:v>
                  </c:pt>
                  <c:pt idx="612">
                    <c:v>Rolling Stdev (30 Minute)</c:v>
                  </c:pt>
                  <c:pt idx="613">
                    <c:v>Rolling Stdev (30 Minute)</c:v>
                  </c:pt>
                  <c:pt idx="614">
                    <c:v>Rolling Stdev (30 Minute)</c:v>
                  </c:pt>
                  <c:pt idx="615">
                    <c:v>Rolling Stdev (30 Minute)</c:v>
                  </c:pt>
                  <c:pt idx="616">
                    <c:v>Rolling Stdev (30 Minute)</c:v>
                  </c:pt>
                  <c:pt idx="617">
                    <c:v>Rolling Stdev (30 Minute)</c:v>
                  </c:pt>
                  <c:pt idx="618">
                    <c:v>Rolling Stdev (30 Minute)</c:v>
                  </c:pt>
                  <c:pt idx="619">
                    <c:v>Rolling Stdev (30 Minute)</c:v>
                  </c:pt>
                  <c:pt idx="620">
                    <c:v>Rolling Stdev (30 Minute)</c:v>
                  </c:pt>
                  <c:pt idx="621">
                    <c:v>Rolling Stdev (30 Minute)</c:v>
                  </c:pt>
                  <c:pt idx="622">
                    <c:v>Rolling Stdev (30 Minute)</c:v>
                  </c:pt>
                  <c:pt idx="623">
                    <c:v>Rolling Stdev (30 Minute)</c:v>
                  </c:pt>
                  <c:pt idx="624">
                    <c:v>Rolling Stdev (30 Minute)</c:v>
                  </c:pt>
                  <c:pt idx="625">
                    <c:v>Rolling Stdev (30 Minute)</c:v>
                  </c:pt>
                  <c:pt idx="626">
                    <c:v>Rolling Stdev (30 Minute)</c:v>
                  </c:pt>
                  <c:pt idx="627">
                    <c:v>Rolling Stdev (30 Minute)</c:v>
                  </c:pt>
                  <c:pt idx="628">
                    <c:v>Rolling Stdev (30 Minute)</c:v>
                  </c:pt>
                  <c:pt idx="629">
                    <c:v>Rolling Stdev (30 Minute)</c:v>
                  </c:pt>
                  <c:pt idx="630">
                    <c:v>Rolling Stdev (30 Minute)</c:v>
                  </c:pt>
                  <c:pt idx="631">
                    <c:v>Rolling Stdev (30 Minute)</c:v>
                  </c:pt>
                  <c:pt idx="632">
                    <c:v>Rolling Stdev (30 Minute)</c:v>
                  </c:pt>
                  <c:pt idx="633">
                    <c:v>Rolling Stdev (30 Minute)</c:v>
                  </c:pt>
                  <c:pt idx="634">
                    <c:v>Rolling Stdev (30 Minute)</c:v>
                  </c:pt>
                  <c:pt idx="635">
                    <c:v>Rolling Stdev (30 Minute)</c:v>
                  </c:pt>
                  <c:pt idx="636">
                    <c:v>Rolling Stdev (30 Minute)</c:v>
                  </c:pt>
                  <c:pt idx="637">
                    <c:v>Rolling Stdev (30 Minute)</c:v>
                  </c:pt>
                  <c:pt idx="638">
                    <c:v>Rolling Stdev (30 Minute)</c:v>
                  </c:pt>
                  <c:pt idx="639">
                    <c:v>Rolling Stdev (30 Minute)</c:v>
                  </c:pt>
                  <c:pt idx="640">
                    <c:v>Rolling Stdev (30 Minute)</c:v>
                  </c:pt>
                  <c:pt idx="641">
                    <c:v>Rolling Stdev (30 Minute)</c:v>
                  </c:pt>
                  <c:pt idx="642">
                    <c:v>Rolling Stdev (30 Minute)</c:v>
                  </c:pt>
                  <c:pt idx="643">
                    <c:v>Rolling Stdev (30 Minute)</c:v>
                  </c:pt>
                  <c:pt idx="644">
                    <c:v>Rolling Stdev (30 Minute)</c:v>
                  </c:pt>
                  <c:pt idx="645">
                    <c:v>Rolling Stdev (30 Minute)</c:v>
                  </c:pt>
                  <c:pt idx="646">
                    <c:v>Rolling Stdev (30 Minute)</c:v>
                  </c:pt>
                  <c:pt idx="647">
                    <c:v>Rolling Stdev (30 Minute)</c:v>
                  </c:pt>
                  <c:pt idx="648">
                    <c:v>Rolling Stdev (30 Minute)</c:v>
                  </c:pt>
                  <c:pt idx="649">
                    <c:v>Rolling Stdev (30 Minute)</c:v>
                  </c:pt>
                  <c:pt idx="650">
                    <c:v>Rolling Stdev (30 Minute)</c:v>
                  </c:pt>
                  <c:pt idx="651">
                    <c:v>Rolling Stdev (30 Minute)</c:v>
                  </c:pt>
                  <c:pt idx="652">
                    <c:v>Rolling Stdev (30 Minute)</c:v>
                  </c:pt>
                  <c:pt idx="653">
                    <c:v>Rolling Stdev (30 Minute)</c:v>
                  </c:pt>
                  <c:pt idx="654">
                    <c:v>Rolling Stdev (30 Minute)</c:v>
                  </c:pt>
                  <c:pt idx="655">
                    <c:v>Rolling Stdev (30 Minute)</c:v>
                  </c:pt>
                  <c:pt idx="656">
                    <c:v>Rolling Stdev (30 Minute)</c:v>
                  </c:pt>
                  <c:pt idx="657">
                    <c:v>Rolling Stdev (30 Minute)</c:v>
                  </c:pt>
                  <c:pt idx="658">
                    <c:v>Rolling Stdev (30 Minute)</c:v>
                  </c:pt>
                  <c:pt idx="659">
                    <c:v>Rolling Stdev (30 Minute)</c:v>
                  </c:pt>
                  <c:pt idx="660">
                    <c:v>Rolling Stdev (30 Minute)</c:v>
                  </c:pt>
                  <c:pt idx="661">
                    <c:v>Rolling Stdev (30 Minute)</c:v>
                  </c:pt>
                  <c:pt idx="662">
                    <c:v>Rolling Stdev (30 Minute)</c:v>
                  </c:pt>
                  <c:pt idx="663">
                    <c:v>Rolling Stdev (30 Minute)</c:v>
                  </c:pt>
                  <c:pt idx="664">
                    <c:v>Rolling Stdev (30 Minute)</c:v>
                  </c:pt>
                  <c:pt idx="665">
                    <c:v>Rolling Stdev (30 Minute)</c:v>
                  </c:pt>
                  <c:pt idx="666">
                    <c:v>Rolling Stdev (30 Minute)</c:v>
                  </c:pt>
                  <c:pt idx="667">
                    <c:v>Rolling Stdev (30 Minute)</c:v>
                  </c:pt>
                  <c:pt idx="668">
                    <c:v>Rolling Stdev (30 Minute)</c:v>
                  </c:pt>
                  <c:pt idx="669">
                    <c:v>Rolling Stdev (30 Minute)</c:v>
                  </c:pt>
                  <c:pt idx="670">
                    <c:v>Rolling Stdev (30 Minute)</c:v>
                  </c:pt>
                  <c:pt idx="671">
                    <c:v>Rolling Stdev (30 Minute)</c:v>
                  </c:pt>
                  <c:pt idx="672">
                    <c:v>Rolling Stdev (30 Minute)</c:v>
                  </c:pt>
                  <c:pt idx="673">
                    <c:v>Rolling Stdev (30 Minute)</c:v>
                  </c:pt>
                  <c:pt idx="674">
                    <c:v>Rolling Stdev (30 Minute)</c:v>
                  </c:pt>
                  <c:pt idx="675">
                    <c:v>Rolling Stdev (30 Minute)</c:v>
                  </c:pt>
                  <c:pt idx="676">
                    <c:v>Rolling Stdev (30 Minute)</c:v>
                  </c:pt>
                  <c:pt idx="677">
                    <c:v>Rolling Stdev (30 Minute)</c:v>
                  </c:pt>
                  <c:pt idx="678">
                    <c:v>Rolling Stdev (30 Minute)</c:v>
                  </c:pt>
                  <c:pt idx="679">
                    <c:v>Rolling Stdev (30 Minute)</c:v>
                  </c:pt>
                  <c:pt idx="680">
                    <c:v>Rolling Stdev (30 Minute)</c:v>
                  </c:pt>
                  <c:pt idx="681">
                    <c:v>Rolling Stdev (30 Minute)</c:v>
                  </c:pt>
                  <c:pt idx="682">
                    <c:v>Rolling Stdev (30 Minute)</c:v>
                  </c:pt>
                  <c:pt idx="683">
                    <c:v>Rolling Stdev (30 Minute)</c:v>
                  </c:pt>
                  <c:pt idx="684">
                    <c:v>Rolling Stdev (30 Minute)</c:v>
                  </c:pt>
                  <c:pt idx="685">
                    <c:v>Rolling Stdev (30 Minute)</c:v>
                  </c:pt>
                  <c:pt idx="686">
                    <c:v>Rolling Stdev (30 Minute)</c:v>
                  </c:pt>
                  <c:pt idx="687">
                    <c:v>Rolling Stdev (30 Minute)</c:v>
                  </c:pt>
                  <c:pt idx="688">
                    <c:v>Rolling Stdev (30 Minute)</c:v>
                  </c:pt>
                  <c:pt idx="689">
                    <c:v>Rolling Stdev (30 Minute)</c:v>
                  </c:pt>
                  <c:pt idx="690">
                    <c:v>Rolling Stdev (30 Minute)</c:v>
                  </c:pt>
                  <c:pt idx="691">
                    <c:v>Rolling Stdev (30 Minute)</c:v>
                  </c:pt>
                  <c:pt idx="692">
                    <c:v>Rolling Stdev (30 Minute)</c:v>
                  </c:pt>
                  <c:pt idx="693">
                    <c:v>Rolling Stdev (30 Minute)</c:v>
                  </c:pt>
                  <c:pt idx="694">
                    <c:v>Rolling Stdev (30 Minute)</c:v>
                  </c:pt>
                  <c:pt idx="695">
                    <c:v>Rolling Stdev (30 Minute)</c:v>
                  </c:pt>
                  <c:pt idx="696">
                    <c:v>Rolling Stdev (30 Minute)</c:v>
                  </c:pt>
                  <c:pt idx="697">
                    <c:v>Rolling Stdev (30 Minute)</c:v>
                  </c:pt>
                  <c:pt idx="698">
                    <c:v>Rolling Stdev (30 Minute)</c:v>
                  </c:pt>
                  <c:pt idx="699">
                    <c:v>Rolling Stdev (30 Minute)</c:v>
                  </c:pt>
                  <c:pt idx="700">
                    <c:v>Rolling Stdev (30 Minute)</c:v>
                  </c:pt>
                  <c:pt idx="701">
                    <c:v>Rolling Stdev (30 Minute)</c:v>
                  </c:pt>
                  <c:pt idx="702">
                    <c:v>Rolling Stdev (30 Minute)</c:v>
                  </c:pt>
                  <c:pt idx="703">
                    <c:v>Rolling Stdev (30 Minute)</c:v>
                  </c:pt>
                  <c:pt idx="704">
                    <c:v>Rolling Stdev (30 Minute)</c:v>
                  </c:pt>
                  <c:pt idx="705">
                    <c:v>Rolling Stdev (30 Minute)</c:v>
                  </c:pt>
                  <c:pt idx="706">
                    <c:v>Rolling Stdev (30 Minute)</c:v>
                  </c:pt>
                  <c:pt idx="707">
                    <c:v>Rolling Stdev (30 Minute)</c:v>
                  </c:pt>
                  <c:pt idx="708">
                    <c:v>Rolling Stdev (30 Minute)</c:v>
                  </c:pt>
                  <c:pt idx="709">
                    <c:v>Rolling Stdev (30 Minute)</c:v>
                  </c:pt>
                  <c:pt idx="710">
                    <c:v>Rolling Stdev (30 Minute)</c:v>
                  </c:pt>
                  <c:pt idx="711">
                    <c:v>Rolling Stdev (30 Minute)</c:v>
                  </c:pt>
                  <c:pt idx="712">
                    <c:v>Rolling Stdev (30 Minute)</c:v>
                  </c:pt>
                  <c:pt idx="713">
                    <c:v>Rolling Stdev (30 Minute)</c:v>
                  </c:pt>
                  <c:pt idx="714">
                    <c:v>Rolling Stdev (30 Minute)</c:v>
                  </c:pt>
                  <c:pt idx="715">
                    <c:v>Rolling Stdev (30 Minute)</c:v>
                  </c:pt>
                  <c:pt idx="716">
                    <c:v>Rolling Stdev (30 Minute)</c:v>
                  </c:pt>
                  <c:pt idx="717">
                    <c:v>Rolling Stdev (30 Minute)</c:v>
                  </c:pt>
                  <c:pt idx="718">
                    <c:v>Rolling Stdev (30 Minute)</c:v>
                  </c:pt>
                  <c:pt idx="719">
                    <c:v>Rolling Stdev (30 Minute)</c:v>
                  </c:pt>
                  <c:pt idx="720">
                    <c:v>Rolling Stdev (30 Minute)</c:v>
                  </c:pt>
                  <c:pt idx="721">
                    <c:v>Rolling Stdev (30 Minute)</c:v>
                  </c:pt>
                  <c:pt idx="722">
                    <c:v>Rolling Stdev (30 Minute)</c:v>
                  </c:pt>
                  <c:pt idx="723">
                    <c:v>Rolling Stdev (30 Minute)</c:v>
                  </c:pt>
                  <c:pt idx="724">
                    <c:v>Rolling Stdev (30 Minute)</c:v>
                  </c:pt>
                  <c:pt idx="725">
                    <c:v>Rolling Stdev (30 Minute)</c:v>
                  </c:pt>
                  <c:pt idx="726">
                    <c:v>Rolling Stdev (30 Minute)</c:v>
                  </c:pt>
                  <c:pt idx="727">
                    <c:v>Rolling Stdev (30 Minute)</c:v>
                  </c:pt>
                  <c:pt idx="728">
                    <c:v>Rolling Stdev (30 Minute)</c:v>
                  </c:pt>
                  <c:pt idx="729">
                    <c:v>Rolling Stdev (30 Minute)</c:v>
                  </c:pt>
                  <c:pt idx="730">
                    <c:v>Rolling Stdev (30 Minute)</c:v>
                  </c:pt>
                  <c:pt idx="731">
                    <c:v>Rolling Stdev (30 Minute)</c:v>
                  </c:pt>
                  <c:pt idx="732">
                    <c:v>Rolling Stdev (30 Minute)</c:v>
                  </c:pt>
                  <c:pt idx="733">
                    <c:v>Rolling Stdev (30 Minute)</c:v>
                  </c:pt>
                  <c:pt idx="734">
                    <c:v>Rolling Stdev (30 Minute)</c:v>
                  </c:pt>
                  <c:pt idx="735">
                    <c:v>Rolling Stdev (30 Minute)</c:v>
                  </c:pt>
                  <c:pt idx="736">
                    <c:v>Rolling Stdev (30 Minute)</c:v>
                  </c:pt>
                  <c:pt idx="737">
                    <c:v>Rolling Stdev (30 Minute)</c:v>
                  </c:pt>
                  <c:pt idx="738">
                    <c:v>Rolling Stdev (30 Minute)</c:v>
                  </c:pt>
                  <c:pt idx="739">
                    <c:v>Rolling Stdev (30 Minute)</c:v>
                  </c:pt>
                  <c:pt idx="740">
                    <c:v>Rolling Stdev (30 Minute)</c:v>
                  </c:pt>
                  <c:pt idx="741">
                    <c:v>Rolling Stdev (30 Minute)</c:v>
                  </c:pt>
                  <c:pt idx="742">
                    <c:v>Rolling Stdev (30 Minute)</c:v>
                  </c:pt>
                  <c:pt idx="743">
                    <c:v>Rolling Stdev (30 Minute)</c:v>
                  </c:pt>
                  <c:pt idx="744">
                    <c:v>Rolling Stdev (30 Minute)</c:v>
                  </c:pt>
                  <c:pt idx="745">
                    <c:v>Rolling Stdev (30 Minute)</c:v>
                  </c:pt>
                  <c:pt idx="746">
                    <c:v>Rolling Stdev (30 Minute)</c:v>
                  </c:pt>
                  <c:pt idx="747">
                    <c:v>Rolling Stdev (30 Minute)</c:v>
                  </c:pt>
                  <c:pt idx="748">
                    <c:v>Rolling Stdev (30 Minute)</c:v>
                  </c:pt>
                  <c:pt idx="749">
                    <c:v>Rolling Stdev (30 Minute)</c:v>
                  </c:pt>
                  <c:pt idx="750">
                    <c:v>Rolling Stdev (30 Minute)</c:v>
                  </c:pt>
                  <c:pt idx="751">
                    <c:v>Rolling Stdev (30 Minute)</c:v>
                  </c:pt>
                  <c:pt idx="752">
                    <c:v>Rolling Stdev (30 Minute)</c:v>
                  </c:pt>
                  <c:pt idx="753">
                    <c:v>Rolling Stdev (30 Minute)</c:v>
                  </c:pt>
                  <c:pt idx="754">
                    <c:v>Rolling Stdev (30 Minute)</c:v>
                  </c:pt>
                  <c:pt idx="755">
                    <c:v>Rolling Stdev (30 Minute)</c:v>
                  </c:pt>
                  <c:pt idx="756">
                    <c:v>Rolling Stdev (30 Minute)</c:v>
                  </c:pt>
                  <c:pt idx="757">
                    <c:v>Rolling Stdev (30 Minute)</c:v>
                  </c:pt>
                  <c:pt idx="758">
                    <c:v>Rolling Stdev (30 Minute)</c:v>
                  </c:pt>
                  <c:pt idx="759">
                    <c:v>Rolling Stdev (30 Minute)</c:v>
                  </c:pt>
                  <c:pt idx="760">
                    <c:v>Rolling Stdev (30 Minute)</c:v>
                  </c:pt>
                  <c:pt idx="761">
                    <c:v>Rolling Stdev (30 Minute)</c:v>
                  </c:pt>
                  <c:pt idx="762">
                    <c:v>Rolling Stdev (30 Minute)</c:v>
                  </c:pt>
                  <c:pt idx="763">
                    <c:v>Rolling Stdev (30 Minute)</c:v>
                  </c:pt>
                  <c:pt idx="764">
                    <c:v>Rolling Stdev (30 Minute)</c:v>
                  </c:pt>
                  <c:pt idx="765">
                    <c:v>Rolling Stdev (30 Minute)</c:v>
                  </c:pt>
                  <c:pt idx="766">
                    <c:v>Rolling Stdev (30 Minute)</c:v>
                  </c:pt>
                  <c:pt idx="767">
                    <c:v>Rolling Stdev (30 Minute)</c:v>
                  </c:pt>
                  <c:pt idx="768">
                    <c:v>Rolling Stdev (30 Minute)</c:v>
                  </c:pt>
                  <c:pt idx="769">
                    <c:v>Rolling Stdev (30 Minute)</c:v>
                  </c:pt>
                  <c:pt idx="770">
                    <c:v>Rolling Stdev (30 Minute)</c:v>
                  </c:pt>
                  <c:pt idx="771">
                    <c:v>Rolling Stdev (30 Minute)</c:v>
                  </c:pt>
                  <c:pt idx="772">
                    <c:v>Rolling Stdev (30 Minute)</c:v>
                  </c:pt>
                  <c:pt idx="773">
                    <c:v>Rolling Stdev (30 Minute)</c:v>
                  </c:pt>
                  <c:pt idx="774">
                    <c:v>Rolling Stdev (30 Minute)</c:v>
                  </c:pt>
                  <c:pt idx="775">
                    <c:v>Rolling Stdev (30 Minute)</c:v>
                  </c:pt>
                  <c:pt idx="776">
                    <c:v>Rolling Stdev (30 Minute)</c:v>
                  </c:pt>
                  <c:pt idx="777">
                    <c:v>Rolling Stdev (30 Minute)</c:v>
                  </c:pt>
                  <c:pt idx="778">
                    <c:v>Rolling Stdev (30 Minute)</c:v>
                  </c:pt>
                  <c:pt idx="779">
                    <c:v>Rolling Stdev (30 Minute)</c:v>
                  </c:pt>
                  <c:pt idx="780">
                    <c:v>Rolling Stdev (30 Minute)</c:v>
                  </c:pt>
                  <c:pt idx="781">
                    <c:v>Rolling Stdev (30 Minute)</c:v>
                  </c:pt>
                  <c:pt idx="782">
                    <c:v>Rolling Stdev (30 Minute)</c:v>
                  </c:pt>
                  <c:pt idx="783">
                    <c:v>Rolling Stdev (30 Minute)</c:v>
                  </c:pt>
                  <c:pt idx="784">
                    <c:v>Rolling Stdev (30 Minute)</c:v>
                  </c:pt>
                  <c:pt idx="785">
                    <c:v>Rolling Stdev (30 Minute)</c:v>
                  </c:pt>
                  <c:pt idx="786">
                    <c:v>Rolling Stdev (30 Minute)</c:v>
                  </c:pt>
                  <c:pt idx="787">
                    <c:v>Rolling Stdev (30 Minute)</c:v>
                  </c:pt>
                  <c:pt idx="788">
                    <c:v>Rolling Stdev (30 Minute)</c:v>
                  </c:pt>
                  <c:pt idx="789">
                    <c:v>Rolling Stdev (30 Minute)</c:v>
                  </c:pt>
                  <c:pt idx="790">
                    <c:v>Rolling Stdev (30 Minute)</c:v>
                  </c:pt>
                  <c:pt idx="791">
                    <c:v>Rolling Stdev (30 Minute)</c:v>
                  </c:pt>
                  <c:pt idx="792">
                    <c:v>Rolling Stdev (30 Minute)</c:v>
                  </c:pt>
                  <c:pt idx="793">
                    <c:v>Rolling Stdev (30 Minute)</c:v>
                  </c:pt>
                  <c:pt idx="794">
                    <c:v>Rolling Stdev (30 Minute)</c:v>
                  </c:pt>
                  <c:pt idx="795">
                    <c:v>Rolling Stdev (30 Minute)</c:v>
                  </c:pt>
                  <c:pt idx="796">
                    <c:v>Rolling Stdev (30 Minute)</c:v>
                  </c:pt>
                  <c:pt idx="797">
                    <c:v>Rolling Stdev (30 Minute)</c:v>
                  </c:pt>
                  <c:pt idx="798">
                    <c:v>Rolling Stdev (30 Minute)</c:v>
                  </c:pt>
                  <c:pt idx="799">
                    <c:v>Rolling Stdev (30 Minute)</c:v>
                  </c:pt>
                  <c:pt idx="800">
                    <c:v>Rolling Stdev (30 Minute)</c:v>
                  </c:pt>
                  <c:pt idx="801">
                    <c:v>Rolling Stdev (30 Minute)</c:v>
                  </c:pt>
                  <c:pt idx="802">
                    <c:v>Rolling Stdev (30 Minute)</c:v>
                  </c:pt>
                  <c:pt idx="803">
                    <c:v>Rolling Stdev (30 Minute)</c:v>
                  </c:pt>
                  <c:pt idx="804">
                    <c:v>Rolling Stdev (30 Minute)</c:v>
                  </c:pt>
                  <c:pt idx="805">
                    <c:v>Rolling Stdev (30 Minute)</c:v>
                  </c:pt>
                  <c:pt idx="806">
                    <c:v>Rolling Stdev (30 Minute)</c:v>
                  </c:pt>
                  <c:pt idx="807">
                    <c:v>Rolling Stdev (30 Minute)</c:v>
                  </c:pt>
                  <c:pt idx="808">
                    <c:v>Rolling Stdev (30 Minute)</c:v>
                  </c:pt>
                  <c:pt idx="809">
                    <c:v>Rolling Stdev (30 Minute)</c:v>
                  </c:pt>
                  <c:pt idx="810">
                    <c:v>Rolling Stdev (30 Minute)</c:v>
                  </c:pt>
                  <c:pt idx="811">
                    <c:v>Rolling Stdev (30 Minute)</c:v>
                  </c:pt>
                  <c:pt idx="812">
                    <c:v>Rolling Stdev (30 Minute)</c:v>
                  </c:pt>
                  <c:pt idx="813">
                    <c:v>Rolling Stdev (30 Minute)</c:v>
                  </c:pt>
                  <c:pt idx="814">
                    <c:v>Rolling Stdev (30 Minute)</c:v>
                  </c:pt>
                  <c:pt idx="815">
                    <c:v>Rolling Stdev (30 Minute)</c:v>
                  </c:pt>
                  <c:pt idx="816">
                    <c:v>Rolling Stdev (30 Minute)</c:v>
                  </c:pt>
                  <c:pt idx="817">
                    <c:v>Rolling Stdev (30 Minute)</c:v>
                  </c:pt>
                  <c:pt idx="818">
                    <c:v>Rolling Stdev (30 Minute)</c:v>
                  </c:pt>
                  <c:pt idx="819">
                    <c:v>Rolling Stdev (30 Minute)</c:v>
                  </c:pt>
                  <c:pt idx="820">
                    <c:v>Rolling Stdev (30 Minute)</c:v>
                  </c:pt>
                  <c:pt idx="821">
                    <c:v>Rolling Stdev (30 Minute)</c:v>
                  </c:pt>
                  <c:pt idx="822">
                    <c:v>Rolling Stdev (30 Minute)</c:v>
                  </c:pt>
                  <c:pt idx="823">
                    <c:v>Rolling Stdev (30 Minute)</c:v>
                  </c:pt>
                  <c:pt idx="824">
                    <c:v>Rolling Stdev (30 Minute)</c:v>
                  </c:pt>
                  <c:pt idx="825">
                    <c:v>Rolling Stdev (30 Minute)</c:v>
                  </c:pt>
                  <c:pt idx="826">
                    <c:v>Rolling Stdev (30 Minute)</c:v>
                  </c:pt>
                  <c:pt idx="827">
                    <c:v>Rolling Stdev (30 Minute)</c:v>
                  </c:pt>
                  <c:pt idx="828">
                    <c:v>Rolling Stdev (30 Minute)</c:v>
                  </c:pt>
                  <c:pt idx="829">
                    <c:v>Rolling Stdev (30 Minute)</c:v>
                  </c:pt>
                  <c:pt idx="830">
                    <c:v>Rolling Stdev (30 Minute)</c:v>
                  </c:pt>
                  <c:pt idx="831">
                    <c:v>Rolling Stdev (30 Minute)</c:v>
                  </c:pt>
                  <c:pt idx="832">
                    <c:v>Rolling Stdev (30 Minute)</c:v>
                  </c:pt>
                  <c:pt idx="833">
                    <c:v>Rolling Stdev (30 Minute)</c:v>
                  </c:pt>
                  <c:pt idx="834">
                    <c:v>Rolling Stdev (30 Minute)</c:v>
                  </c:pt>
                  <c:pt idx="835">
                    <c:v>Rolling Stdev (30 Minute)</c:v>
                  </c:pt>
                  <c:pt idx="836">
                    <c:v>Rolling Stdev (30 Minute)</c:v>
                  </c:pt>
                  <c:pt idx="837">
                    <c:v>Rolling Stdev (30 Minute)</c:v>
                  </c:pt>
                  <c:pt idx="838">
                    <c:v>Rolling Stdev (30 Minute)</c:v>
                  </c:pt>
                  <c:pt idx="839">
                    <c:v>Rolling Stdev (30 Minute)</c:v>
                  </c:pt>
                  <c:pt idx="840">
                    <c:v>Rolling Stdev (30 Minute)</c:v>
                  </c:pt>
                  <c:pt idx="841">
                    <c:v>Rolling Stdev (30 Minute)</c:v>
                  </c:pt>
                  <c:pt idx="842">
                    <c:v>Rolling Stdev (30 Minute)</c:v>
                  </c:pt>
                  <c:pt idx="843">
                    <c:v>Rolling Stdev (30 Minute)</c:v>
                  </c:pt>
                  <c:pt idx="844">
                    <c:v>Rolling Stdev (30 Minute)</c:v>
                  </c:pt>
                  <c:pt idx="845">
                    <c:v>Rolling Stdev (30 Minute)</c:v>
                  </c:pt>
                  <c:pt idx="846">
                    <c:v>Rolling Stdev (30 Minute)</c:v>
                  </c:pt>
                  <c:pt idx="847">
                    <c:v>Rolling Stdev (30 Minute)</c:v>
                  </c:pt>
                  <c:pt idx="848">
                    <c:v>Rolling Stdev (30 Minute)</c:v>
                  </c:pt>
                  <c:pt idx="849">
                    <c:v>Rolling Stdev (30 Minute)</c:v>
                  </c:pt>
                  <c:pt idx="850">
                    <c:v>Rolling Stdev (30 Minute)</c:v>
                  </c:pt>
                  <c:pt idx="851">
                    <c:v>Rolling Stdev (30 Minute)</c:v>
                  </c:pt>
                  <c:pt idx="852">
                    <c:v>Rolling Stdev (30 Minute)</c:v>
                  </c:pt>
                  <c:pt idx="853">
                    <c:v>Rolling Stdev (30 Minute)</c:v>
                  </c:pt>
                  <c:pt idx="854">
                    <c:v>Rolling Stdev (30 Minute)</c:v>
                  </c:pt>
                  <c:pt idx="855">
                    <c:v>Rolling Stdev (30 Minute)</c:v>
                  </c:pt>
                  <c:pt idx="856">
                    <c:v>Rolling Stdev (30 Minute)</c:v>
                  </c:pt>
                  <c:pt idx="857">
                    <c:v>Rolling Stdev (30 Minute)</c:v>
                  </c:pt>
                  <c:pt idx="858">
                    <c:v>Rolling Stdev (30 Minute)</c:v>
                  </c:pt>
                  <c:pt idx="859">
                    <c:v>Rolling Stdev (30 Minute)</c:v>
                  </c:pt>
                  <c:pt idx="860">
                    <c:v>Rolling Stdev (30 Minute)</c:v>
                  </c:pt>
                  <c:pt idx="861">
                    <c:v>Rolling Stdev (30 Minute)</c:v>
                  </c:pt>
                  <c:pt idx="862">
                    <c:v>Rolling Stdev (30 Minute)</c:v>
                  </c:pt>
                  <c:pt idx="863">
                    <c:v>Rolling Stdev (30 Minute)</c:v>
                  </c:pt>
                  <c:pt idx="864">
                    <c:v>Rolling Stdev (30 Minute)</c:v>
                  </c:pt>
                  <c:pt idx="865">
                    <c:v>Rolling Stdev (30 Minute)</c:v>
                  </c:pt>
                  <c:pt idx="866">
                    <c:v>Rolling Stdev (30 Minute)</c:v>
                  </c:pt>
                  <c:pt idx="867">
                    <c:v>Rolling Stdev (30 Minute)</c:v>
                  </c:pt>
                  <c:pt idx="868">
                    <c:v>Rolling Stdev (30 Minute)</c:v>
                  </c:pt>
                  <c:pt idx="869">
                    <c:v>Rolling Stdev (30 Minute)</c:v>
                  </c:pt>
                  <c:pt idx="870">
                    <c:v>Rolling Stdev (30 Minute)</c:v>
                  </c:pt>
                  <c:pt idx="871">
                    <c:v>Rolling Stdev (30 Minute)</c:v>
                  </c:pt>
                  <c:pt idx="872">
                    <c:v>Rolling Stdev (30 Minute)</c:v>
                  </c:pt>
                  <c:pt idx="873">
                    <c:v>Rolling Stdev (30 Minute)</c:v>
                  </c:pt>
                  <c:pt idx="874">
                    <c:v>Rolling Stdev (30 Minute)</c:v>
                  </c:pt>
                  <c:pt idx="875">
                    <c:v>Rolling Stdev (30 Minute)</c:v>
                  </c:pt>
                  <c:pt idx="876">
                    <c:v>Rolling Stdev (30 Minute)</c:v>
                  </c:pt>
                  <c:pt idx="877">
                    <c:v>Rolling Stdev (30 Minute)</c:v>
                  </c:pt>
                  <c:pt idx="878">
                    <c:v>Rolling Stdev (30 Minute)</c:v>
                  </c:pt>
                  <c:pt idx="879">
                    <c:v>Rolling Stdev (30 Minute)</c:v>
                  </c:pt>
                  <c:pt idx="880">
                    <c:v>Rolling Stdev (30 Minute)</c:v>
                  </c:pt>
                  <c:pt idx="881">
                    <c:v>Rolling Stdev (30 Minute)</c:v>
                  </c:pt>
                  <c:pt idx="882">
                    <c:v>Rolling Stdev (30 Minute)</c:v>
                  </c:pt>
                  <c:pt idx="883">
                    <c:v>Rolling Stdev (30 Minute)</c:v>
                  </c:pt>
                  <c:pt idx="884">
                    <c:v>Rolling Stdev (30 Minute)</c:v>
                  </c:pt>
                  <c:pt idx="885">
                    <c:v>Rolling Stdev (30 Minute)</c:v>
                  </c:pt>
                  <c:pt idx="886">
                    <c:v>Rolling Stdev (30 Minute)</c:v>
                  </c:pt>
                  <c:pt idx="887">
                    <c:v>Rolling Stdev (30 Minute)</c:v>
                  </c:pt>
                  <c:pt idx="888">
                    <c:v>Rolling Stdev (30 Minute)</c:v>
                  </c:pt>
                  <c:pt idx="889">
                    <c:v>Rolling Stdev (30 Minute)</c:v>
                  </c:pt>
                  <c:pt idx="890">
                    <c:v>Rolling Stdev (30 Minute)</c:v>
                  </c:pt>
                  <c:pt idx="891">
                    <c:v>Rolling Stdev (30 Minute)</c:v>
                  </c:pt>
                  <c:pt idx="892">
                    <c:v>Rolling Stdev (30 Minute)</c:v>
                  </c:pt>
                  <c:pt idx="893">
                    <c:v>Rolling Stdev (30 Minute)</c:v>
                  </c:pt>
                  <c:pt idx="894">
                    <c:v>Rolling Stdev (30 Minute)</c:v>
                  </c:pt>
                  <c:pt idx="895">
                    <c:v>Rolling Stdev (30 Minute)</c:v>
                  </c:pt>
                  <c:pt idx="896">
                    <c:v>Rolling Stdev (30 Minute)</c:v>
                  </c:pt>
                  <c:pt idx="897">
                    <c:v>Rolling Stdev (30 Minute)</c:v>
                  </c:pt>
                  <c:pt idx="898">
                    <c:v>Rolling Stdev (30 Minute)</c:v>
                  </c:pt>
                  <c:pt idx="899">
                    <c:v>Rolling Stdev (30 Minute)</c:v>
                  </c:pt>
                  <c:pt idx="900">
                    <c:v>Rolling Stdev (30 Minute)</c:v>
                  </c:pt>
                  <c:pt idx="901">
                    <c:v>Rolling Stdev (30 Minute)</c:v>
                  </c:pt>
                  <c:pt idx="902">
                    <c:v>Rolling Stdev (30 Minute)</c:v>
                  </c:pt>
                  <c:pt idx="903">
                    <c:v>Rolling Stdev (30 Minute)</c:v>
                  </c:pt>
                  <c:pt idx="904">
                    <c:v>Rolling Stdev (30 Minute)</c:v>
                  </c:pt>
                  <c:pt idx="905">
                    <c:v>Rolling Stdev (30 Minute)</c:v>
                  </c:pt>
                  <c:pt idx="906">
                    <c:v>Rolling Stdev (30 Minute)</c:v>
                  </c:pt>
                  <c:pt idx="907">
                    <c:v>Rolling Stdev (30 Minute)</c:v>
                  </c:pt>
                  <c:pt idx="908">
                    <c:v>Rolling Stdev (30 Minute)</c:v>
                  </c:pt>
                  <c:pt idx="909">
                    <c:v>Rolling Stdev (30 Minute)</c:v>
                  </c:pt>
                  <c:pt idx="910">
                    <c:v>Rolling Stdev (30 Minute)</c:v>
                  </c:pt>
                  <c:pt idx="911">
                    <c:v>Rolling Stdev (30 Minute)</c:v>
                  </c:pt>
                  <c:pt idx="912">
                    <c:v>Rolling Stdev (30 Minute)</c:v>
                  </c:pt>
                  <c:pt idx="913">
                    <c:v>Rolling Stdev (30 Minute)</c:v>
                  </c:pt>
                  <c:pt idx="914">
                    <c:v>Rolling Stdev (30 Minute)</c:v>
                  </c:pt>
                  <c:pt idx="915">
                    <c:v>Rolling Stdev (30 Minute)</c:v>
                  </c:pt>
                  <c:pt idx="916">
                    <c:v>Rolling Stdev (30 Minute)</c:v>
                  </c:pt>
                  <c:pt idx="917">
                    <c:v>Rolling Stdev (30 Minute)</c:v>
                  </c:pt>
                  <c:pt idx="918">
                    <c:v>Rolling Stdev (30 Minute)</c:v>
                  </c:pt>
                  <c:pt idx="919">
                    <c:v>Rolling Stdev (30 Minute)</c:v>
                  </c:pt>
                  <c:pt idx="920">
                    <c:v>Rolling Stdev (30 Minute)</c:v>
                  </c:pt>
                  <c:pt idx="921">
                    <c:v>Rolling Stdev (30 Minute)</c:v>
                  </c:pt>
                  <c:pt idx="922">
                    <c:v>Rolling Stdev (30 Minute)</c:v>
                  </c:pt>
                  <c:pt idx="923">
                    <c:v>Rolling Stdev (30 Minute)</c:v>
                  </c:pt>
                  <c:pt idx="924">
                    <c:v>Rolling Stdev (30 Minute)</c:v>
                  </c:pt>
                  <c:pt idx="925">
                    <c:v>Rolling Stdev (30 Minute)</c:v>
                  </c:pt>
                  <c:pt idx="926">
                    <c:v>Rolling Stdev (30 Minute)</c:v>
                  </c:pt>
                  <c:pt idx="927">
                    <c:v>Rolling Stdev (30 Minute)</c:v>
                  </c:pt>
                  <c:pt idx="928">
                    <c:v>Rolling Stdev (30 Minute)</c:v>
                  </c:pt>
                  <c:pt idx="929">
                    <c:v>Rolling Stdev (30 Minute)</c:v>
                  </c:pt>
                  <c:pt idx="930">
                    <c:v>Rolling Stdev (30 Minute)</c:v>
                  </c:pt>
                  <c:pt idx="931">
                    <c:v>Rolling Stdev (30 Minute)</c:v>
                  </c:pt>
                  <c:pt idx="932">
                    <c:v>Rolling Stdev (30 Minute)</c:v>
                  </c:pt>
                  <c:pt idx="933">
                    <c:v>Rolling Stdev (30 Minute)</c:v>
                  </c:pt>
                  <c:pt idx="934">
                    <c:v>Rolling Stdev (30 Minute)</c:v>
                  </c:pt>
                  <c:pt idx="935">
                    <c:v>Rolling Stdev (30 Minute)</c:v>
                  </c:pt>
                  <c:pt idx="936">
                    <c:v>Rolling Stdev (30 Minute)</c:v>
                  </c:pt>
                  <c:pt idx="937">
                    <c:v>Rolling Stdev (30 Minute)</c:v>
                  </c:pt>
                  <c:pt idx="938">
                    <c:v>Rolling Stdev (30 Minute)</c:v>
                  </c:pt>
                  <c:pt idx="939">
                    <c:v>Rolling Stdev (30 Minute)</c:v>
                  </c:pt>
                  <c:pt idx="940">
                    <c:v>Rolling Stdev (30 Minute)</c:v>
                  </c:pt>
                  <c:pt idx="941">
                    <c:v>Rolling Stdev (30 Minute)</c:v>
                  </c:pt>
                  <c:pt idx="942">
                    <c:v>Rolling Stdev (30 Minute)</c:v>
                  </c:pt>
                  <c:pt idx="943">
                    <c:v>Rolling Stdev (30 Minute)</c:v>
                  </c:pt>
                  <c:pt idx="944">
                    <c:v>Rolling Stdev (30 Minute)</c:v>
                  </c:pt>
                  <c:pt idx="945">
                    <c:v>Rolling Stdev (30 Minute)</c:v>
                  </c:pt>
                  <c:pt idx="946">
                    <c:v>Rolling Stdev (30 Minute)</c:v>
                  </c:pt>
                  <c:pt idx="947">
                    <c:v>Rolling Stdev (30 Minute)</c:v>
                  </c:pt>
                  <c:pt idx="948">
                    <c:v>Rolling Stdev (30 Minute)</c:v>
                  </c:pt>
                  <c:pt idx="949">
                    <c:v>Rolling Stdev (30 Minute)</c:v>
                  </c:pt>
                  <c:pt idx="950">
                    <c:v>Rolling Stdev (30 Minute)</c:v>
                  </c:pt>
                  <c:pt idx="951">
                    <c:v>Rolling Stdev (30 Minute)</c:v>
                  </c:pt>
                  <c:pt idx="952">
                    <c:v>Rolling Stdev (30 Minute)</c:v>
                  </c:pt>
                  <c:pt idx="953">
                    <c:v>Rolling Stdev (30 Minute)</c:v>
                  </c:pt>
                  <c:pt idx="954">
                    <c:v>Rolling Stdev (30 Minute)</c:v>
                  </c:pt>
                  <c:pt idx="955">
                    <c:v>Rolling Stdev (30 Minute)</c:v>
                  </c:pt>
                  <c:pt idx="956">
                    <c:v>Rolling Stdev (30 Minute)</c:v>
                  </c:pt>
                  <c:pt idx="957">
                    <c:v>Rolling Stdev (30 Minute)</c:v>
                  </c:pt>
                  <c:pt idx="958">
                    <c:v>Rolling Stdev (30 Minute)</c:v>
                  </c:pt>
                  <c:pt idx="959">
                    <c:v>Rolling Stdev (30 Minute)</c:v>
                  </c:pt>
                  <c:pt idx="960">
                    <c:v>Rolling Stdev (30 Minute)</c:v>
                  </c:pt>
                  <c:pt idx="961">
                    <c:v>Rolling Stdev (30 Minute)</c:v>
                  </c:pt>
                  <c:pt idx="962">
                    <c:v>Rolling Stdev (30 Minute)</c:v>
                  </c:pt>
                  <c:pt idx="963">
                    <c:v>Rolling Stdev (30 Minute)</c:v>
                  </c:pt>
                  <c:pt idx="964">
                    <c:v>Rolling Stdev (30 Minute)</c:v>
                  </c:pt>
                  <c:pt idx="965">
                    <c:v>Rolling Stdev (30 Minute)</c:v>
                  </c:pt>
                  <c:pt idx="966">
                    <c:v>Rolling Stdev (30 Minute)</c:v>
                  </c:pt>
                  <c:pt idx="967">
                    <c:v>Rolling Stdev (30 Minute)</c:v>
                  </c:pt>
                  <c:pt idx="968">
                    <c:v>Rolling Stdev (30 Minute)</c:v>
                  </c:pt>
                  <c:pt idx="969">
                    <c:v>Rolling Stdev (30 Minute)</c:v>
                  </c:pt>
                  <c:pt idx="970">
                    <c:v>Rolling Stdev (30 Minute)</c:v>
                  </c:pt>
                  <c:pt idx="971">
                    <c:v>Rolling Stdev (30 Minute)</c:v>
                  </c:pt>
                  <c:pt idx="972">
                    <c:v>Rolling Stdev (30 Minute)</c:v>
                  </c:pt>
                  <c:pt idx="973">
                    <c:v>Rolling Stdev (30 Minute)</c:v>
                  </c:pt>
                  <c:pt idx="974">
                    <c:v>Rolling Stdev (30 Minute)</c:v>
                  </c:pt>
                  <c:pt idx="975">
                    <c:v>Rolling Stdev (30 Minute)</c:v>
                  </c:pt>
                  <c:pt idx="976">
                    <c:v>Rolling Stdev (30 Minute)</c:v>
                  </c:pt>
                  <c:pt idx="977">
                    <c:v>Rolling Stdev (30 Minute)</c:v>
                  </c:pt>
                  <c:pt idx="978">
                    <c:v>Rolling Stdev (30 Minute)</c:v>
                  </c:pt>
                  <c:pt idx="979">
                    <c:v>Rolling Stdev (30 Minute)</c:v>
                  </c:pt>
                  <c:pt idx="980">
                    <c:v>Rolling Stdev (30 Minute)</c:v>
                  </c:pt>
                  <c:pt idx="981">
                    <c:v>Rolling Stdev (30 Minute)</c:v>
                  </c:pt>
                  <c:pt idx="982">
                    <c:v>Rolling Stdev (30 Minute)</c:v>
                  </c:pt>
                  <c:pt idx="983">
                    <c:v>Rolling Stdev (30 Minute)</c:v>
                  </c:pt>
                  <c:pt idx="984">
                    <c:v>Rolling Stdev (30 Minute)</c:v>
                  </c:pt>
                  <c:pt idx="985">
                    <c:v>Rolling Stdev (30 Minute)</c:v>
                  </c:pt>
                  <c:pt idx="986">
                    <c:v>Rolling Stdev (30 Minute)</c:v>
                  </c:pt>
                  <c:pt idx="987">
                    <c:v>Rolling Stdev (30 Minute)</c:v>
                  </c:pt>
                  <c:pt idx="988">
                    <c:v>Rolling Stdev (30 Minute)</c:v>
                  </c:pt>
                  <c:pt idx="989">
                    <c:v>Rolling Stdev (30 Minute)</c:v>
                  </c:pt>
                  <c:pt idx="990">
                    <c:v>Rolling Stdev (30 Minute)</c:v>
                  </c:pt>
                  <c:pt idx="991">
                    <c:v>Rolling Stdev (30 Minute)</c:v>
                  </c:pt>
                  <c:pt idx="992">
                    <c:v>Rolling Stdev (30 Minute)</c:v>
                  </c:pt>
                  <c:pt idx="993">
                    <c:v>Rolling Stdev (30 Minute)</c:v>
                  </c:pt>
                  <c:pt idx="994">
                    <c:v>Rolling Stdev (30 Minute)</c:v>
                  </c:pt>
                  <c:pt idx="995">
                    <c:v>Rolling Stdev (30 Minute)</c:v>
                  </c:pt>
                  <c:pt idx="996">
                    <c:v>Rolling Stdev (30 Minute)</c:v>
                  </c:pt>
                  <c:pt idx="997">
                    <c:v>Rolling Stdev (30 Minute)</c:v>
                  </c:pt>
                  <c:pt idx="998">
                    <c:v>Rolling Stdev (30 Minute)</c:v>
                  </c:pt>
                  <c:pt idx="999">
                    <c:v>Rolling Stdev (30 Minute)</c:v>
                  </c:pt>
                  <c:pt idx="1000">
                    <c:v>Rolling Stdev (30 Minute)</c:v>
                  </c:pt>
                  <c:pt idx="1001">
                    <c:v>Rolling Stdev (30 Minute)</c:v>
                  </c:pt>
                  <c:pt idx="1002">
                    <c:v>Rolling Stdev (30 Minute)</c:v>
                  </c:pt>
                  <c:pt idx="1003">
                    <c:v>Rolling Stdev (30 Minute)</c:v>
                  </c:pt>
                  <c:pt idx="1004">
                    <c:v>Rolling Stdev (30 Minute)</c:v>
                  </c:pt>
                  <c:pt idx="1005">
                    <c:v>Rolling Stdev (30 Minute)</c:v>
                  </c:pt>
                  <c:pt idx="1006">
                    <c:v>Rolling Stdev (30 Minute)</c:v>
                  </c:pt>
                  <c:pt idx="1007">
                    <c:v>Rolling Stdev (30 Minute)</c:v>
                  </c:pt>
                  <c:pt idx="1008">
                    <c:v>Rolling Stdev (30 Minute)</c:v>
                  </c:pt>
                  <c:pt idx="1009">
                    <c:v>Rolling Stdev (30 Minute)</c:v>
                  </c:pt>
                  <c:pt idx="1010">
                    <c:v>Rolling Stdev (30 Minute)</c:v>
                  </c:pt>
                  <c:pt idx="1011">
                    <c:v>Rolling Stdev (30 Minute)</c:v>
                  </c:pt>
                  <c:pt idx="1012">
                    <c:v>Rolling Stdev (30 Minute)</c:v>
                  </c:pt>
                  <c:pt idx="1013">
                    <c:v>Rolling Stdev (30 Minute)</c:v>
                  </c:pt>
                  <c:pt idx="1014">
                    <c:v>Rolling Stdev (30 Minute)</c:v>
                  </c:pt>
                  <c:pt idx="1015">
                    <c:v>Rolling Stdev (30 Minute)</c:v>
                  </c:pt>
                  <c:pt idx="1016">
                    <c:v>Rolling Stdev (30 Minute)</c:v>
                  </c:pt>
                  <c:pt idx="1017">
                    <c:v>Rolling Stdev (30 Minute)</c:v>
                  </c:pt>
                  <c:pt idx="1018">
                    <c:v>Rolling Stdev (30 Minute)</c:v>
                  </c:pt>
                  <c:pt idx="1019">
                    <c:v>Rolling Stdev (30 Minute)</c:v>
                  </c:pt>
                  <c:pt idx="1020">
                    <c:v>Rolling Stdev (30 Minute)</c:v>
                  </c:pt>
                  <c:pt idx="1021">
                    <c:v>Rolling Stdev (30 Minute)</c:v>
                  </c:pt>
                  <c:pt idx="1022">
                    <c:v>Rolling Stdev (30 Minute)</c:v>
                  </c:pt>
                  <c:pt idx="1023">
                    <c:v>Rolling Stdev (30 Minute)</c:v>
                  </c:pt>
                  <c:pt idx="1024">
                    <c:v>Rolling Stdev (30 Minute)</c:v>
                  </c:pt>
                  <c:pt idx="1025">
                    <c:v>Rolling Stdev (30 Minute)</c:v>
                  </c:pt>
                  <c:pt idx="1026">
                    <c:v>Rolling Stdev (30 Minute)</c:v>
                  </c:pt>
                  <c:pt idx="1027">
                    <c:v>Rolling Stdev (30 Minute)</c:v>
                  </c:pt>
                  <c:pt idx="1028">
                    <c:v>Rolling Stdev (30 Minute)</c:v>
                  </c:pt>
                  <c:pt idx="1029">
                    <c:v>Rolling Stdev (30 Minute)</c:v>
                  </c:pt>
                  <c:pt idx="1030">
                    <c:v>Rolling Stdev (30 Minute)</c:v>
                  </c:pt>
                  <c:pt idx="1031">
                    <c:v>Rolling Stdev (30 Minute)</c:v>
                  </c:pt>
                  <c:pt idx="1032">
                    <c:v>Rolling Stdev (30 Minute)</c:v>
                  </c:pt>
                  <c:pt idx="1033">
                    <c:v>Rolling Stdev (30 Minute)</c:v>
                  </c:pt>
                  <c:pt idx="1034">
                    <c:v>Rolling Stdev (30 Minute)</c:v>
                  </c:pt>
                  <c:pt idx="1035">
                    <c:v>Rolling Stdev (30 Minute)</c:v>
                  </c:pt>
                  <c:pt idx="1036">
                    <c:v>Rolling Stdev (30 Minute)</c:v>
                  </c:pt>
                  <c:pt idx="1037">
                    <c:v>Rolling Stdev (30 Minute)</c:v>
                  </c:pt>
                  <c:pt idx="1038">
                    <c:v>Rolling Stdev (30 Minute)</c:v>
                  </c:pt>
                  <c:pt idx="1039">
                    <c:v>Rolling Stdev (30 Minute)</c:v>
                  </c:pt>
                  <c:pt idx="1040">
                    <c:v>Rolling Stdev (30 Minute)</c:v>
                  </c:pt>
                  <c:pt idx="1041">
                    <c:v>Rolling Stdev (30 Minute)</c:v>
                  </c:pt>
                  <c:pt idx="1042">
                    <c:v>Rolling Stdev (30 Minute)</c:v>
                  </c:pt>
                  <c:pt idx="1043">
                    <c:v>Rolling Stdev (30 Minute)</c:v>
                  </c:pt>
                  <c:pt idx="1044">
                    <c:v>Rolling Stdev (30 Minute)</c:v>
                  </c:pt>
                  <c:pt idx="1045">
                    <c:v>Rolling Stdev (30 Minute)</c:v>
                  </c:pt>
                  <c:pt idx="1046">
                    <c:v>Rolling Stdev (30 Minute)</c:v>
                  </c:pt>
                  <c:pt idx="1047">
                    <c:v>Rolling Stdev (30 Minute)</c:v>
                  </c:pt>
                  <c:pt idx="1048">
                    <c:v>Rolling Stdev (30 Minute)</c:v>
                  </c:pt>
                  <c:pt idx="1049">
                    <c:v>Rolling Stdev (30 Minute)</c:v>
                  </c:pt>
                  <c:pt idx="1050">
                    <c:v>Rolling Stdev (30 Minute)</c:v>
                  </c:pt>
                  <c:pt idx="1051">
                    <c:v>Rolling Stdev (30 Minute)</c:v>
                  </c:pt>
                  <c:pt idx="1052">
                    <c:v>Rolling Stdev (30 Minute)</c:v>
                  </c:pt>
                  <c:pt idx="1053">
                    <c:v>Rolling Stdev (30 Minute)</c:v>
                  </c:pt>
                  <c:pt idx="1054">
                    <c:v>Rolling Stdev (30 Minute)</c:v>
                  </c:pt>
                  <c:pt idx="1055">
                    <c:v>Rolling Stdev (30 Minute)</c:v>
                  </c:pt>
                  <c:pt idx="1056">
                    <c:v>Rolling Stdev (30 Minute)</c:v>
                  </c:pt>
                  <c:pt idx="1057">
                    <c:v>Rolling Stdev (30 Minute)</c:v>
                  </c:pt>
                  <c:pt idx="1058">
                    <c:v>Rolling Stdev (30 Minute)</c:v>
                  </c:pt>
                  <c:pt idx="1059">
                    <c:v>Rolling Stdev (30 Minute)</c:v>
                  </c:pt>
                  <c:pt idx="1060">
                    <c:v>Rolling Stdev (30 Minute)</c:v>
                  </c:pt>
                  <c:pt idx="1061">
                    <c:v>Rolling Stdev (30 Minute)</c:v>
                  </c:pt>
                  <c:pt idx="1062">
                    <c:v>Rolling Stdev (30 Minute)</c:v>
                  </c:pt>
                  <c:pt idx="1063">
                    <c:v>Rolling Stdev (30 Minute)</c:v>
                  </c:pt>
                  <c:pt idx="1064">
                    <c:v>Rolling Stdev (30 Minute)</c:v>
                  </c:pt>
                  <c:pt idx="1065">
                    <c:v>Rolling Stdev (30 Minute)</c:v>
                  </c:pt>
                  <c:pt idx="1066">
                    <c:v>Rolling Stdev (30 Minute)</c:v>
                  </c:pt>
                  <c:pt idx="1067">
                    <c:v>Rolling Stdev (30 Minute)</c:v>
                  </c:pt>
                  <c:pt idx="1068">
                    <c:v>Rolling Stdev (30 Minute)</c:v>
                  </c:pt>
                  <c:pt idx="1069">
                    <c:v>Rolling Stdev (30 Minute)</c:v>
                  </c:pt>
                  <c:pt idx="1070">
                    <c:v>Rolling Stdev (30 Minute)</c:v>
                  </c:pt>
                  <c:pt idx="1071">
                    <c:v>Rolling Stdev (30 Minute)</c:v>
                  </c:pt>
                  <c:pt idx="1072">
                    <c:v>Rolling Stdev (30 Minute)</c:v>
                  </c:pt>
                  <c:pt idx="1073">
                    <c:v>Rolling Stdev (30 Minute)</c:v>
                  </c:pt>
                  <c:pt idx="1074">
                    <c:v>Rolling Stdev (30 Minute)</c:v>
                  </c:pt>
                  <c:pt idx="1075">
                    <c:v>Rolling Stdev (30 Minute)</c:v>
                  </c:pt>
                  <c:pt idx="1076">
                    <c:v>Rolling Stdev (30 Minute)</c:v>
                  </c:pt>
                  <c:pt idx="1077">
                    <c:v>Rolling Stdev (30 Minute)</c:v>
                  </c:pt>
                  <c:pt idx="1078">
                    <c:v>Rolling Stdev (30 Minute)</c:v>
                  </c:pt>
                  <c:pt idx="1079">
                    <c:v>Rolling Stdev (30 Minute)</c:v>
                  </c:pt>
                  <c:pt idx="1080">
                    <c:v>Rolling Stdev (30 Minute)</c:v>
                  </c:pt>
                  <c:pt idx="1081">
                    <c:v>Rolling Stdev (30 Minute)</c:v>
                  </c:pt>
                  <c:pt idx="1082">
                    <c:v>Rolling Stdev (30 Minute)</c:v>
                  </c:pt>
                  <c:pt idx="1083">
                    <c:v>Rolling Stdev (30 Minute)</c:v>
                  </c:pt>
                  <c:pt idx="1084">
                    <c:v>Rolling Stdev (30 Minute)</c:v>
                  </c:pt>
                  <c:pt idx="1085">
                    <c:v>Rolling Stdev (30 Minute)</c:v>
                  </c:pt>
                  <c:pt idx="1086">
                    <c:v>Rolling Stdev (30 Minute)</c:v>
                  </c:pt>
                  <c:pt idx="1087">
                    <c:v>Rolling Stdev (30 Minute)</c:v>
                  </c:pt>
                  <c:pt idx="1088">
                    <c:v>Rolling Stdev (30 Minute)</c:v>
                  </c:pt>
                  <c:pt idx="1089">
                    <c:v>Rolling Stdev (30 Minute)</c:v>
                  </c:pt>
                  <c:pt idx="1090">
                    <c:v>Rolling Stdev (30 Minute)</c:v>
                  </c:pt>
                  <c:pt idx="1091">
                    <c:v>Rolling Stdev (30 Minute)</c:v>
                  </c:pt>
                  <c:pt idx="1092">
                    <c:v>Rolling Stdev (30 Minute)</c:v>
                  </c:pt>
                  <c:pt idx="1093">
                    <c:v>Rolling Stdev (30 Minute)</c:v>
                  </c:pt>
                  <c:pt idx="1094">
                    <c:v>Rolling Stdev (30 Minute)</c:v>
                  </c:pt>
                  <c:pt idx="1095">
                    <c:v>Rolling Stdev (30 Minute)</c:v>
                  </c:pt>
                  <c:pt idx="1096">
                    <c:v>Rolling Stdev (30 Minute)</c:v>
                  </c:pt>
                  <c:pt idx="1097">
                    <c:v>Rolling Stdev (30 Minute)</c:v>
                  </c:pt>
                  <c:pt idx="1098">
                    <c:v>Rolling Stdev (30 Minute)</c:v>
                  </c:pt>
                  <c:pt idx="1099">
                    <c:v>Rolling Stdev (30 Minute)</c:v>
                  </c:pt>
                  <c:pt idx="1100">
                    <c:v>Rolling Stdev (30 Minute)</c:v>
                  </c:pt>
                  <c:pt idx="1101">
                    <c:v>Rolling Stdev (30 Minute)</c:v>
                  </c:pt>
                  <c:pt idx="1102">
                    <c:v>Rolling Stdev (30 Minute)</c:v>
                  </c:pt>
                  <c:pt idx="1103">
                    <c:v>Rolling Stdev (30 Minute)</c:v>
                  </c:pt>
                  <c:pt idx="1104">
                    <c:v>Rolling Stdev (30 Minute)</c:v>
                  </c:pt>
                  <c:pt idx="1105">
                    <c:v>Rolling Stdev (30 Minute)</c:v>
                  </c:pt>
                  <c:pt idx="1106">
                    <c:v>Rolling Stdev (30 Minute)</c:v>
                  </c:pt>
                  <c:pt idx="1107">
                    <c:v>Rolling Stdev (30 Minute)</c:v>
                  </c:pt>
                  <c:pt idx="1108">
                    <c:v>Rolling Stdev (30 Minute)</c:v>
                  </c:pt>
                  <c:pt idx="1109">
                    <c:v>Rolling Stdev (30 Minute)</c:v>
                  </c:pt>
                  <c:pt idx="1110">
                    <c:v>Rolling Stdev (30 Minute)</c:v>
                  </c:pt>
                  <c:pt idx="1111">
                    <c:v>Rolling Stdev (30 Minute)</c:v>
                  </c:pt>
                  <c:pt idx="1112">
                    <c:v>Rolling Stdev (30 Minute)</c:v>
                  </c:pt>
                  <c:pt idx="1113">
                    <c:v>Rolling Stdev (30 Minute)</c:v>
                  </c:pt>
                  <c:pt idx="1114">
                    <c:v>Rolling Stdev (30 Minute)</c:v>
                  </c:pt>
                  <c:pt idx="1115">
                    <c:v>Rolling Stdev (30 Minute)</c:v>
                  </c:pt>
                  <c:pt idx="1116">
                    <c:v>Rolling Stdev (30 Minute)</c:v>
                  </c:pt>
                  <c:pt idx="1117">
                    <c:v>Rolling Stdev (30 Minute)</c:v>
                  </c:pt>
                  <c:pt idx="1118">
                    <c:v>Rolling Stdev (30 Minute)</c:v>
                  </c:pt>
                  <c:pt idx="1119">
                    <c:v>Rolling Stdev (30 Minute)</c:v>
                  </c:pt>
                  <c:pt idx="1120">
                    <c:v>Rolling Stdev (30 Minute)</c:v>
                  </c:pt>
                  <c:pt idx="1121">
                    <c:v>Rolling Stdev (30 Minute)</c:v>
                  </c:pt>
                  <c:pt idx="1122">
                    <c:v>Rolling Stdev (30 Minute)</c:v>
                  </c:pt>
                  <c:pt idx="1123">
                    <c:v>Rolling Stdev (30 Minute)</c:v>
                  </c:pt>
                  <c:pt idx="1124">
                    <c:v>Rolling Stdev (30 Minute)</c:v>
                  </c:pt>
                  <c:pt idx="1125">
                    <c:v>Rolling Stdev (30 Minute)</c:v>
                  </c:pt>
                  <c:pt idx="1126">
                    <c:v>Rolling Stdev (30 Minute)</c:v>
                  </c:pt>
                  <c:pt idx="1127">
                    <c:v>Rolling Stdev (30 Minute)</c:v>
                  </c:pt>
                  <c:pt idx="1128">
                    <c:v>Rolling Stdev (30 Minute)</c:v>
                  </c:pt>
                  <c:pt idx="1129">
                    <c:v>Rolling Stdev (30 Minute)</c:v>
                  </c:pt>
                  <c:pt idx="1130">
                    <c:v>Rolling Stdev (30 Minute)</c:v>
                  </c:pt>
                  <c:pt idx="1131">
                    <c:v>Rolling Stdev (30 Minute)</c:v>
                  </c:pt>
                  <c:pt idx="1132">
                    <c:v>Rolling Stdev (30 Minute)</c:v>
                  </c:pt>
                  <c:pt idx="1133">
                    <c:v>Rolling Stdev (30 Minute)</c:v>
                  </c:pt>
                  <c:pt idx="1134">
                    <c:v>Rolling Stdev (30 Minute)</c:v>
                  </c:pt>
                  <c:pt idx="1135">
                    <c:v>Rolling Stdev (30 Minute)</c:v>
                  </c:pt>
                  <c:pt idx="1136">
                    <c:v>Rolling Stdev (30 Minute)</c:v>
                  </c:pt>
                  <c:pt idx="1137">
                    <c:v>Rolling Stdev (30 Minute)</c:v>
                  </c:pt>
                  <c:pt idx="1138">
                    <c:v>Rolling Stdev (30 Minute)</c:v>
                  </c:pt>
                  <c:pt idx="1139">
                    <c:v>Rolling Stdev (30 Minute)</c:v>
                  </c:pt>
                  <c:pt idx="1140">
                    <c:v>Rolling Stdev (30 Minute)</c:v>
                  </c:pt>
                  <c:pt idx="1141">
                    <c:v>Rolling Stdev (30 Minute)</c:v>
                  </c:pt>
                  <c:pt idx="1142">
                    <c:v>Rolling Stdev (30 Minute)</c:v>
                  </c:pt>
                  <c:pt idx="1143">
                    <c:v>Rolling Stdev (30 Minute)</c:v>
                  </c:pt>
                  <c:pt idx="1144">
                    <c:v>Rolling Stdev (30 Minute)</c:v>
                  </c:pt>
                  <c:pt idx="1145">
                    <c:v>Rolling Stdev (30 Minute)</c:v>
                  </c:pt>
                  <c:pt idx="1146">
                    <c:v>Rolling Stdev (30 Minute)</c:v>
                  </c:pt>
                  <c:pt idx="1147">
                    <c:v>Rolling Stdev (30 Minute)</c:v>
                  </c:pt>
                  <c:pt idx="1148">
                    <c:v>Rolling Stdev (30 Minute)</c:v>
                  </c:pt>
                  <c:pt idx="1149">
                    <c:v>Rolling Stdev (30 Minute)</c:v>
                  </c:pt>
                  <c:pt idx="1150">
                    <c:v>Rolling Stdev (30 Minute)</c:v>
                  </c:pt>
                  <c:pt idx="1151">
                    <c:v>Rolling Stdev (30 Minute)</c:v>
                  </c:pt>
                  <c:pt idx="1152">
                    <c:v>Rolling Stdev (30 Minute)</c:v>
                  </c:pt>
                  <c:pt idx="1153">
                    <c:v>Rolling Stdev (30 Minute)</c:v>
                  </c:pt>
                  <c:pt idx="1154">
                    <c:v>Rolling Stdev (30 Minute)</c:v>
                  </c:pt>
                  <c:pt idx="1155">
                    <c:v>Rolling Stdev (30 Minute)</c:v>
                  </c:pt>
                  <c:pt idx="1156">
                    <c:v>Rolling Stdev (30 Minute)</c:v>
                  </c:pt>
                  <c:pt idx="1157">
                    <c:v>Rolling Stdev (30 Minute)</c:v>
                  </c:pt>
                  <c:pt idx="1158">
                    <c:v>Rolling Stdev (30 Minute)</c:v>
                  </c:pt>
                  <c:pt idx="1159">
                    <c:v>Rolling Stdev (30 Minute)</c:v>
                  </c:pt>
                  <c:pt idx="1160">
                    <c:v>Rolling Stdev (30 Minute)</c:v>
                  </c:pt>
                  <c:pt idx="1161">
                    <c:v>Rolling Stdev (30 Minute)</c:v>
                  </c:pt>
                  <c:pt idx="1162">
                    <c:v>Rolling Stdev (30 Minute)</c:v>
                  </c:pt>
                  <c:pt idx="1163">
                    <c:v>Rolling Stdev (30 Minute)</c:v>
                  </c:pt>
                  <c:pt idx="1164">
                    <c:v>Rolling Stdev (30 Minute)</c:v>
                  </c:pt>
                  <c:pt idx="1165">
                    <c:v>Rolling Stdev (30 Minute)</c:v>
                  </c:pt>
                  <c:pt idx="1166">
                    <c:v>Rolling Stdev (30 Minute)</c:v>
                  </c:pt>
                  <c:pt idx="1167">
                    <c:v>Rolling Stdev (30 Minute)</c:v>
                  </c:pt>
                  <c:pt idx="1168">
                    <c:v>Rolling Stdev (30 Minute)</c:v>
                  </c:pt>
                  <c:pt idx="1169">
                    <c:v>Rolling Stdev (30 Minute)</c:v>
                  </c:pt>
                  <c:pt idx="1170">
                    <c:v>Rolling Stdev (30 Minute)</c:v>
                  </c:pt>
                  <c:pt idx="1171">
                    <c:v>Rolling Stdev (30 Minute)</c:v>
                  </c:pt>
                  <c:pt idx="1172">
                    <c:v>Rolling Stdev (30 Minute)</c:v>
                  </c:pt>
                  <c:pt idx="1173">
                    <c:v>Rolling Stdev (30 Minute)</c:v>
                  </c:pt>
                  <c:pt idx="1174">
                    <c:v>Rolling Stdev (30 Minute)</c:v>
                  </c:pt>
                  <c:pt idx="1175">
                    <c:v>Rolling Stdev (30 Minute)</c:v>
                  </c:pt>
                  <c:pt idx="1176">
                    <c:v>Rolling Stdev (30 Minute)</c:v>
                  </c:pt>
                  <c:pt idx="1177">
                    <c:v>Rolling Stdev (30 Minute)</c:v>
                  </c:pt>
                  <c:pt idx="1178">
                    <c:v>Rolling Stdev (30 Minute)</c:v>
                  </c:pt>
                  <c:pt idx="1179">
                    <c:v>Rolling Stdev (30 Minute)</c:v>
                  </c:pt>
                  <c:pt idx="1180">
                    <c:v>Rolling Stdev (30 Minute)</c:v>
                  </c:pt>
                  <c:pt idx="1181">
                    <c:v>Rolling Stdev (30 Minute)</c:v>
                  </c:pt>
                  <c:pt idx="1182">
                    <c:v>Rolling Stdev (30 Minute)</c:v>
                  </c:pt>
                  <c:pt idx="1183">
                    <c:v>Rolling Stdev (30 Minute)</c:v>
                  </c:pt>
                  <c:pt idx="1184">
                    <c:v>Rolling Stdev (30 Minute)</c:v>
                  </c:pt>
                  <c:pt idx="1185">
                    <c:v>Rolling Stdev (30 Minute)</c:v>
                  </c:pt>
                  <c:pt idx="1186">
                    <c:v>Rolling Stdev (30 Minute)</c:v>
                  </c:pt>
                  <c:pt idx="1187">
                    <c:v>Rolling Stdev (30 Minute)</c:v>
                  </c:pt>
                  <c:pt idx="1188">
                    <c:v>Rolling Stdev (30 Minute)</c:v>
                  </c:pt>
                  <c:pt idx="1189">
                    <c:v>Rolling Stdev (30 Minute)</c:v>
                  </c:pt>
                  <c:pt idx="1190">
                    <c:v>Rolling Stdev (30 Minute)</c:v>
                  </c:pt>
                  <c:pt idx="1191">
                    <c:v>Rolling Stdev (30 Minute)</c:v>
                  </c:pt>
                  <c:pt idx="1192">
                    <c:v>Rolling Stdev (30 Minute)</c:v>
                  </c:pt>
                  <c:pt idx="1193">
                    <c:v>Rolling Stdev (30 Minute)</c:v>
                  </c:pt>
                  <c:pt idx="1194">
                    <c:v>Rolling Stdev (30 Minute)</c:v>
                  </c:pt>
                  <c:pt idx="1195">
                    <c:v>Rolling Stdev (30 Minute)</c:v>
                  </c:pt>
                  <c:pt idx="1196">
                    <c:v>Rolling Stdev (30 Minute)</c:v>
                  </c:pt>
                  <c:pt idx="1197">
                    <c:v>Rolling Stdev (30 Minute)</c:v>
                  </c:pt>
                  <c:pt idx="1198">
                    <c:v>Rolling Stdev (30 Minute)</c:v>
                  </c:pt>
                  <c:pt idx="1199">
                    <c:v>Rolling Stdev (30 Minute)</c:v>
                  </c:pt>
                  <c:pt idx="1200">
                    <c:v>Rolling Stdev (30 Minute)</c:v>
                  </c:pt>
                  <c:pt idx="1201">
                    <c:v>Rolling Stdev (30 Minute)</c:v>
                  </c:pt>
                  <c:pt idx="1202">
                    <c:v>Rolling Stdev (30 Minute)</c:v>
                  </c:pt>
                  <c:pt idx="1203">
                    <c:v>Rolling Stdev (30 Minute)</c:v>
                  </c:pt>
                  <c:pt idx="1204">
                    <c:v>Rolling Stdev (30 Minute)</c:v>
                  </c:pt>
                  <c:pt idx="1205">
                    <c:v>Rolling Stdev (30 Minute)</c:v>
                  </c:pt>
                  <c:pt idx="1206">
                    <c:v>Rolling Stdev (30 Minute)</c:v>
                  </c:pt>
                  <c:pt idx="1207">
                    <c:v>Rolling Stdev (30 Minute)</c:v>
                  </c:pt>
                  <c:pt idx="1208">
                    <c:v>Rolling Stdev (30 Minute)</c:v>
                  </c:pt>
                  <c:pt idx="1209">
                    <c:v>Rolling Stdev (30 Minute)</c:v>
                  </c:pt>
                  <c:pt idx="1210">
                    <c:v>Rolling Stdev (30 Minute)</c:v>
                  </c:pt>
                  <c:pt idx="1211">
                    <c:v>Rolling Stdev (30 Minute)</c:v>
                  </c:pt>
                  <c:pt idx="1212">
                    <c:v>Rolling Stdev (30 Minute)</c:v>
                  </c:pt>
                  <c:pt idx="1213">
                    <c:v>Rolling Stdev (30 Minute)</c:v>
                  </c:pt>
                  <c:pt idx="1214">
                    <c:v>Rolling Stdev (30 Minute)</c:v>
                  </c:pt>
                  <c:pt idx="1215">
                    <c:v>Rolling Stdev (30 Minute)</c:v>
                  </c:pt>
                  <c:pt idx="1216">
                    <c:v>Rolling Stdev (30 Minute)</c:v>
                  </c:pt>
                  <c:pt idx="1217">
                    <c:v>Rolling Stdev (30 Minute)</c:v>
                  </c:pt>
                  <c:pt idx="1218">
                    <c:v>Rolling Stdev (30 Minute)</c:v>
                  </c:pt>
                  <c:pt idx="1219">
                    <c:v>Rolling Stdev (30 Minute)</c:v>
                  </c:pt>
                  <c:pt idx="1220">
                    <c:v>Rolling Stdev (30 Minute)</c:v>
                  </c:pt>
                  <c:pt idx="1221">
                    <c:v>Rolling Stdev (30 Minute)</c:v>
                  </c:pt>
                  <c:pt idx="1222">
                    <c:v>Rolling Stdev (30 Minute)</c:v>
                  </c:pt>
                  <c:pt idx="1223">
                    <c:v>Rolling Stdev (30 Minute)</c:v>
                  </c:pt>
                  <c:pt idx="1224">
                    <c:v>Rolling Stdev (30 Minute)</c:v>
                  </c:pt>
                  <c:pt idx="1225">
                    <c:v>Rolling Stdev (30 Minute)</c:v>
                  </c:pt>
                  <c:pt idx="1226">
                    <c:v>Rolling Stdev (30 Minute)</c:v>
                  </c:pt>
                  <c:pt idx="1227">
                    <c:v>Rolling Stdev (30 Minute)</c:v>
                  </c:pt>
                  <c:pt idx="1228">
                    <c:v>Rolling Stdev (30 Minute)</c:v>
                  </c:pt>
                  <c:pt idx="1229">
                    <c:v>Rolling Stdev (30 Minute)</c:v>
                  </c:pt>
                  <c:pt idx="1230">
                    <c:v>Rolling Stdev (30 Minute)</c:v>
                  </c:pt>
                  <c:pt idx="1231">
                    <c:v>Rolling Stdev (30 Minute)</c:v>
                  </c:pt>
                  <c:pt idx="1232">
                    <c:v>Rolling Stdev (30 Minute)</c:v>
                  </c:pt>
                  <c:pt idx="1233">
                    <c:v>Rolling Stdev (30 Minute)</c:v>
                  </c:pt>
                  <c:pt idx="1234">
                    <c:v>Rolling Stdev (30 Minute)</c:v>
                  </c:pt>
                  <c:pt idx="1235">
                    <c:v>Rolling Stdev (30 Minute)</c:v>
                  </c:pt>
                  <c:pt idx="1236">
                    <c:v>Rolling Stdev (30 Minute)</c:v>
                  </c:pt>
                  <c:pt idx="1237">
                    <c:v>Rolling Stdev (30 Minute)</c:v>
                  </c:pt>
                  <c:pt idx="1238">
                    <c:v>Rolling Stdev (30 Minute)</c:v>
                  </c:pt>
                  <c:pt idx="1239">
                    <c:v>Rolling Stdev (30 Minute)</c:v>
                  </c:pt>
                  <c:pt idx="1240">
                    <c:v>Rolling Stdev (30 Minute)</c:v>
                  </c:pt>
                  <c:pt idx="1241">
                    <c:v>Rolling Stdev (30 Minute)</c:v>
                  </c:pt>
                  <c:pt idx="1242">
                    <c:v>Rolling Stdev (30 Minute)</c:v>
                  </c:pt>
                  <c:pt idx="1243">
                    <c:v>Rolling Stdev (30 Minute)</c:v>
                  </c:pt>
                  <c:pt idx="1244">
                    <c:v>Rolling Stdev (30 Minute)</c:v>
                  </c:pt>
                  <c:pt idx="1245">
                    <c:v>Rolling Stdev (30 Minute)</c:v>
                  </c:pt>
                  <c:pt idx="1246">
                    <c:v>Rolling Stdev (30 Minute)</c:v>
                  </c:pt>
                  <c:pt idx="1247">
                    <c:v>Rolling Stdev (30 Minute)</c:v>
                  </c:pt>
                  <c:pt idx="1248">
                    <c:v>Rolling Stdev (30 Minute)</c:v>
                  </c:pt>
                  <c:pt idx="1249">
                    <c:v>Rolling Stdev (30 Minute)</c:v>
                  </c:pt>
                  <c:pt idx="1250">
                    <c:v>Rolling Stdev (30 Minute)</c:v>
                  </c:pt>
                  <c:pt idx="1251">
                    <c:v>Rolling Stdev (30 Minute)</c:v>
                  </c:pt>
                  <c:pt idx="1252">
                    <c:v>Rolling Stdev (30 Minute)</c:v>
                  </c:pt>
                  <c:pt idx="1253">
                    <c:v>Rolling Stdev (30 Minute)</c:v>
                  </c:pt>
                  <c:pt idx="1254">
                    <c:v>Rolling Stdev (30 Minute)</c:v>
                  </c:pt>
                  <c:pt idx="1255">
                    <c:v>Rolling Stdev (30 Minute)</c:v>
                  </c:pt>
                  <c:pt idx="1256">
                    <c:v>Rolling Stdev (30 Minute)</c:v>
                  </c:pt>
                  <c:pt idx="1257">
                    <c:v>Rolling Stdev (30 Minute)</c:v>
                  </c:pt>
                  <c:pt idx="1258">
                    <c:v>Rolling Stdev (30 Minute)</c:v>
                  </c:pt>
                  <c:pt idx="1259">
                    <c:v>Rolling Stdev (30 Minute)</c:v>
                  </c:pt>
                  <c:pt idx="1260">
                    <c:v>Rolling Stdev (30 Minute)</c:v>
                  </c:pt>
                  <c:pt idx="1261">
                    <c:v>Rolling Stdev (30 Minute)</c:v>
                  </c:pt>
                  <c:pt idx="1262">
                    <c:v>Rolling Stdev (30 Minute)</c:v>
                  </c:pt>
                  <c:pt idx="1263">
                    <c:v>Rolling Stdev (30 Minute)</c:v>
                  </c:pt>
                  <c:pt idx="1264">
                    <c:v>Rolling Stdev (30 Minute)</c:v>
                  </c:pt>
                  <c:pt idx="1265">
                    <c:v>Rolling Stdev (30 Minute)</c:v>
                  </c:pt>
                  <c:pt idx="1266">
                    <c:v>Rolling Stdev (30 Minute)</c:v>
                  </c:pt>
                  <c:pt idx="1267">
                    <c:v>Rolling Stdev (30 Minute)</c:v>
                  </c:pt>
                  <c:pt idx="1268">
                    <c:v>Rolling Stdev (30 Minute)</c:v>
                  </c:pt>
                  <c:pt idx="1269">
                    <c:v>Rolling Stdev (30 Minute)</c:v>
                  </c:pt>
                  <c:pt idx="1270">
                    <c:v>Rolling Stdev (30 Minute)</c:v>
                  </c:pt>
                  <c:pt idx="1271">
                    <c:v>Rolling Stdev (30 Minute)</c:v>
                  </c:pt>
                  <c:pt idx="1272">
                    <c:v>Rolling Stdev (30 Minute)</c:v>
                  </c:pt>
                  <c:pt idx="1273">
                    <c:v>Rolling Stdev (30 Minute)</c:v>
                  </c:pt>
                  <c:pt idx="1274">
                    <c:v>Rolling Stdev (30 Minute)</c:v>
                  </c:pt>
                  <c:pt idx="1275">
                    <c:v>Rolling Stdev (30 Minute)</c:v>
                  </c:pt>
                  <c:pt idx="1276">
                    <c:v>Rolling Stdev (30 Minute)</c:v>
                  </c:pt>
                  <c:pt idx="1277">
                    <c:v>Rolling Stdev (30 Minute)</c:v>
                  </c:pt>
                  <c:pt idx="1278">
                    <c:v>Rolling Stdev (30 Minute)</c:v>
                  </c:pt>
                  <c:pt idx="1279">
                    <c:v>Rolling Stdev (30 Minute)</c:v>
                  </c:pt>
                  <c:pt idx="1280">
                    <c:v>Rolling Stdev (30 Minute)</c:v>
                  </c:pt>
                  <c:pt idx="1281">
                    <c:v>Rolling Stdev (30 Minute)</c:v>
                  </c:pt>
                  <c:pt idx="1282">
                    <c:v>Rolling Stdev (30 Minute)</c:v>
                  </c:pt>
                  <c:pt idx="1283">
                    <c:v>Rolling Stdev (30 Minute)</c:v>
                  </c:pt>
                  <c:pt idx="1284">
                    <c:v>Rolling Stdev (30 Minute)</c:v>
                  </c:pt>
                  <c:pt idx="1285">
                    <c:v>Rolling Stdev (30 Minute)</c:v>
                  </c:pt>
                  <c:pt idx="1286">
                    <c:v>Rolling Stdev (30 Minute)</c:v>
                  </c:pt>
                  <c:pt idx="1287">
                    <c:v>Rolling Stdev (30 Minute)</c:v>
                  </c:pt>
                  <c:pt idx="1288">
                    <c:v>Rolling Stdev (30 Minute)</c:v>
                  </c:pt>
                  <c:pt idx="1289">
                    <c:v>Rolling Stdev (30 Minute)</c:v>
                  </c:pt>
                  <c:pt idx="1290">
                    <c:v>Rolling Stdev (30 Minute)</c:v>
                  </c:pt>
                  <c:pt idx="1291">
                    <c:v>Rolling Stdev (30 Minute)</c:v>
                  </c:pt>
                  <c:pt idx="1292">
                    <c:v>Rolling Stdev (30 Minute)</c:v>
                  </c:pt>
                  <c:pt idx="1293">
                    <c:v>Rolling Stdev (30 Minute)</c:v>
                  </c:pt>
                  <c:pt idx="1294">
                    <c:v>Rolling Stdev (30 Minute)</c:v>
                  </c:pt>
                  <c:pt idx="1295">
                    <c:v>Rolling Stdev (30 Minute)</c:v>
                  </c:pt>
                  <c:pt idx="1296">
                    <c:v>Rolling Stdev (30 Minute)</c:v>
                  </c:pt>
                  <c:pt idx="1297">
                    <c:v>Rolling Stdev (30 Minute)</c:v>
                  </c:pt>
                  <c:pt idx="1298">
                    <c:v>Rolling Stdev (30 Minute)</c:v>
                  </c:pt>
                  <c:pt idx="1299">
                    <c:v>Rolling Stdev (30 Minute)</c:v>
                  </c:pt>
                  <c:pt idx="1300">
                    <c:v>Rolling Stdev (30 Minute)</c:v>
                  </c:pt>
                  <c:pt idx="1301">
                    <c:v>Rolling Stdev (30 Minute)</c:v>
                  </c:pt>
                  <c:pt idx="1302">
                    <c:v>Rolling Stdev (30 Minute)</c:v>
                  </c:pt>
                  <c:pt idx="1303">
                    <c:v>Rolling Stdev (30 Minute)</c:v>
                  </c:pt>
                  <c:pt idx="1304">
                    <c:v>Rolling Stdev (30 Minute)</c:v>
                  </c:pt>
                  <c:pt idx="1305">
                    <c:v>Rolling Stdev (30 Minute)</c:v>
                  </c:pt>
                  <c:pt idx="1306">
                    <c:v>Rolling Stdev (30 Minute)</c:v>
                  </c:pt>
                  <c:pt idx="1307">
                    <c:v>Rolling Stdev (30 Minute)</c:v>
                  </c:pt>
                  <c:pt idx="1308">
                    <c:v>Rolling Stdev (30 Minute)</c:v>
                  </c:pt>
                  <c:pt idx="1309">
                    <c:v>Rolling Stdev (30 Minute)</c:v>
                  </c:pt>
                  <c:pt idx="1310">
                    <c:v>Rolling Stdev (30 Minute)</c:v>
                  </c:pt>
                  <c:pt idx="1311">
                    <c:v>Rolling Stdev (30 Minute)</c:v>
                  </c:pt>
                  <c:pt idx="1312">
                    <c:v>Rolling Stdev (30 Minute)</c:v>
                  </c:pt>
                  <c:pt idx="1313">
                    <c:v>Rolling Stdev (30 Minute)</c:v>
                  </c:pt>
                  <c:pt idx="1314">
                    <c:v>Rolling Stdev (30 Minute)</c:v>
                  </c:pt>
                  <c:pt idx="1315">
                    <c:v>Rolling Stdev (30 Minute)</c:v>
                  </c:pt>
                  <c:pt idx="1316">
                    <c:v>Rolling Stdev (30 Minute)</c:v>
                  </c:pt>
                  <c:pt idx="1317">
                    <c:v>Rolling Stdev (30 Minute)</c:v>
                  </c:pt>
                  <c:pt idx="1318">
                    <c:v>Rolling Stdev (30 Minute)</c:v>
                  </c:pt>
                  <c:pt idx="1319">
                    <c:v>Rolling Stdev (30 Minute)</c:v>
                  </c:pt>
                  <c:pt idx="1320">
                    <c:v>Rolling Stdev (30 Minute)</c:v>
                  </c:pt>
                  <c:pt idx="1321">
                    <c:v>Rolling Stdev (30 Minute)</c:v>
                  </c:pt>
                  <c:pt idx="1322">
                    <c:v>Rolling Stdev (30 Minute)</c:v>
                  </c:pt>
                  <c:pt idx="1323">
                    <c:v>Rolling Stdev (30 Minute)</c:v>
                  </c:pt>
                  <c:pt idx="1324">
                    <c:v>Rolling Stdev (30 Minute)</c:v>
                  </c:pt>
                  <c:pt idx="1325">
                    <c:v>Rolling Stdev (30 Minute)</c:v>
                  </c:pt>
                  <c:pt idx="1326">
                    <c:v>Rolling Stdev (30 Minute)</c:v>
                  </c:pt>
                  <c:pt idx="1327">
                    <c:v>Rolling Stdev (30 Minute)</c:v>
                  </c:pt>
                  <c:pt idx="1328">
                    <c:v>Rolling Stdev (30 Minute)</c:v>
                  </c:pt>
                  <c:pt idx="1329">
                    <c:v>Rolling Stdev (30 Minute)</c:v>
                  </c:pt>
                  <c:pt idx="1330">
                    <c:v>Rolling Stdev (30 Minute)</c:v>
                  </c:pt>
                  <c:pt idx="1331">
                    <c:v>Rolling Stdev (30 Minute)</c:v>
                  </c:pt>
                  <c:pt idx="1332">
                    <c:v>Rolling Stdev (30 Minute)</c:v>
                  </c:pt>
                  <c:pt idx="1333">
                    <c:v>Rolling Stdev (30 Minute)</c:v>
                  </c:pt>
                  <c:pt idx="1334">
                    <c:v>Rolling Stdev (30 Minute)</c:v>
                  </c:pt>
                  <c:pt idx="1335">
                    <c:v>Rolling Stdev (30 Minute)</c:v>
                  </c:pt>
                  <c:pt idx="1336">
                    <c:v>Rolling Stdev (30 Minute)</c:v>
                  </c:pt>
                  <c:pt idx="1337">
                    <c:v>Rolling Stdev (30 Minute)</c:v>
                  </c:pt>
                  <c:pt idx="1338">
                    <c:v>Rolling Stdev (30 Minute)</c:v>
                  </c:pt>
                  <c:pt idx="1339">
                    <c:v>Rolling Stdev (30 Minute)</c:v>
                  </c:pt>
                  <c:pt idx="1340">
                    <c:v>Rolling Stdev (30 Minute)</c:v>
                  </c:pt>
                  <c:pt idx="1341">
                    <c:v>Rolling Stdev (30 Minute)</c:v>
                  </c:pt>
                  <c:pt idx="1342">
                    <c:v>Rolling Stdev (30 Minute)</c:v>
                  </c:pt>
                  <c:pt idx="1343">
                    <c:v>Rolling Stdev (30 Minute)</c:v>
                  </c:pt>
                  <c:pt idx="1344">
                    <c:v>Rolling Stdev (30 Minute)</c:v>
                  </c:pt>
                  <c:pt idx="1345">
                    <c:v>Rolling Stdev (30 Minute)</c:v>
                  </c:pt>
                  <c:pt idx="1346">
                    <c:v>Rolling Stdev (30 Minute)</c:v>
                  </c:pt>
                  <c:pt idx="1347">
                    <c:v>Rolling Stdev (30 Minute)</c:v>
                  </c:pt>
                  <c:pt idx="1348">
                    <c:v>Rolling Stdev (30 Minute)</c:v>
                  </c:pt>
                  <c:pt idx="1349">
                    <c:v>Rolling Stdev (30 Minute)</c:v>
                  </c:pt>
                  <c:pt idx="1350">
                    <c:v>Rolling Stdev (30 Minute)</c:v>
                  </c:pt>
                  <c:pt idx="1351">
                    <c:v>Rolling Stdev (30 Minute)</c:v>
                  </c:pt>
                  <c:pt idx="1352">
                    <c:v>Rolling Stdev (30 Minute)</c:v>
                  </c:pt>
                  <c:pt idx="1353">
                    <c:v>Rolling Stdev (30 Minute)</c:v>
                  </c:pt>
                  <c:pt idx="1354">
                    <c:v>Rolling Stdev (30 Minute)</c:v>
                  </c:pt>
                  <c:pt idx="1355">
                    <c:v>Rolling Stdev (30 Minute)</c:v>
                  </c:pt>
                  <c:pt idx="1356">
                    <c:v>Rolling Stdev (30 Minute)</c:v>
                  </c:pt>
                  <c:pt idx="1357">
                    <c:v>Rolling Stdev (30 Minute)</c:v>
                  </c:pt>
                  <c:pt idx="1358">
                    <c:v>Rolling Stdev (30 Minute)</c:v>
                  </c:pt>
                  <c:pt idx="1359">
                    <c:v>Rolling Stdev (30 Minute)</c:v>
                  </c:pt>
                  <c:pt idx="1360">
                    <c:v>Rolling Stdev (30 Minute)</c:v>
                  </c:pt>
                  <c:pt idx="1361">
                    <c:v>Rolling Stdev (30 Minute)</c:v>
                  </c:pt>
                  <c:pt idx="1362">
                    <c:v>Rolling Stdev (30 Minute)</c:v>
                  </c:pt>
                  <c:pt idx="1363">
                    <c:v>Rolling Stdev (30 Minute)</c:v>
                  </c:pt>
                  <c:pt idx="1364">
                    <c:v>Rolling Stdev (30 Minute)</c:v>
                  </c:pt>
                  <c:pt idx="1365">
                    <c:v>Rolling Stdev (30 Minute)</c:v>
                  </c:pt>
                  <c:pt idx="1366">
                    <c:v>Rolling Stdev (30 Minute)</c:v>
                  </c:pt>
                  <c:pt idx="1367">
                    <c:v>Rolling Stdev (30 Minute)</c:v>
                  </c:pt>
                  <c:pt idx="1368">
                    <c:v>Rolling Stdev (30 Minute)</c:v>
                  </c:pt>
                  <c:pt idx="1369">
                    <c:v>Rolling Stdev (30 Minute)</c:v>
                  </c:pt>
                  <c:pt idx="1370">
                    <c:v>Rolling Stdev (30 Minute)</c:v>
                  </c:pt>
                  <c:pt idx="1371">
                    <c:v>Rolling Stdev (30 Minute)</c:v>
                  </c:pt>
                  <c:pt idx="1372">
                    <c:v>Rolling Stdev (30 Minute)</c:v>
                  </c:pt>
                  <c:pt idx="1373">
                    <c:v>Rolling Stdev (30 Minute)</c:v>
                  </c:pt>
                  <c:pt idx="1374">
                    <c:v>Rolling Stdev (30 Minute)</c:v>
                  </c:pt>
                  <c:pt idx="1375">
                    <c:v>Rolling Stdev (30 Minute)</c:v>
                  </c:pt>
                  <c:pt idx="1376">
                    <c:v>Rolling Stdev (30 Minute)</c:v>
                  </c:pt>
                  <c:pt idx="1377">
                    <c:v>Rolling Stdev (30 Minute)</c:v>
                  </c:pt>
                  <c:pt idx="1378">
                    <c:v>Rolling Stdev (30 Minute)</c:v>
                  </c:pt>
                  <c:pt idx="1379">
                    <c:v>Rolling Stdev (30 Minute)</c:v>
                  </c:pt>
                  <c:pt idx="1380">
                    <c:v>Rolling Stdev (30 Minute)</c:v>
                  </c:pt>
                  <c:pt idx="1381">
                    <c:v>Rolling Stdev (30 Minute)</c:v>
                  </c:pt>
                  <c:pt idx="1382">
                    <c:v>Rolling Stdev (30 Minute)</c:v>
                  </c:pt>
                  <c:pt idx="1383">
                    <c:v>Rolling Stdev (30 Minute)</c:v>
                  </c:pt>
                  <c:pt idx="1384">
                    <c:v>Rolling Stdev (30 Minute)</c:v>
                  </c:pt>
                  <c:pt idx="1385">
                    <c:v>Rolling Stdev (30 Minute)</c:v>
                  </c:pt>
                  <c:pt idx="1386">
                    <c:v>Rolling Stdev (30 Minute)</c:v>
                  </c:pt>
                  <c:pt idx="1387">
                    <c:v>Rolling Stdev (30 Minute)</c:v>
                  </c:pt>
                  <c:pt idx="1388">
                    <c:v>Rolling Stdev (30 Minute)</c:v>
                  </c:pt>
                  <c:pt idx="1389">
                    <c:v>Rolling Stdev (30 Minute)</c:v>
                  </c:pt>
                  <c:pt idx="1390">
                    <c:v>Rolling Stdev (30 Minute)</c:v>
                  </c:pt>
                  <c:pt idx="1391">
                    <c:v>Rolling Stdev (30 Minute)</c:v>
                  </c:pt>
                  <c:pt idx="1392">
                    <c:v>Rolling Stdev (30 Minute)</c:v>
                  </c:pt>
                  <c:pt idx="1393">
                    <c:v>Rolling Stdev (30 Minute)</c:v>
                  </c:pt>
                  <c:pt idx="1394">
                    <c:v>Rolling Stdev (30 Minute)</c:v>
                  </c:pt>
                  <c:pt idx="1395">
                    <c:v>Rolling Stdev (30 Minute)</c:v>
                  </c:pt>
                  <c:pt idx="1396">
                    <c:v>Rolling Stdev (30 Minute)</c:v>
                  </c:pt>
                  <c:pt idx="1397">
                    <c:v>Rolling Stdev (30 Minute)</c:v>
                  </c:pt>
                  <c:pt idx="1398">
                    <c:v>Rolling Stdev (30 Minute)</c:v>
                  </c:pt>
                  <c:pt idx="1399">
                    <c:v>Rolling Stdev (30 Minute)</c:v>
                  </c:pt>
                  <c:pt idx="1400">
                    <c:v>Rolling Stdev (30 Minute)</c:v>
                  </c:pt>
                  <c:pt idx="1401">
                    <c:v>Rolling Stdev (30 Minute)</c:v>
                  </c:pt>
                  <c:pt idx="1402">
                    <c:v>Rolling Stdev (30 Minute)</c:v>
                  </c:pt>
                  <c:pt idx="1403">
                    <c:v>Rolling Stdev (30 Minute)</c:v>
                  </c:pt>
                  <c:pt idx="1404">
                    <c:v>Rolling Stdev (30 Minute)</c:v>
                  </c:pt>
                  <c:pt idx="1405">
                    <c:v>Rolling Stdev (30 Minute)</c:v>
                  </c:pt>
                  <c:pt idx="1406">
                    <c:v>Rolling Stdev (30 Minute)</c:v>
                  </c:pt>
                  <c:pt idx="1407">
                    <c:v>Rolling Stdev (30 Minute)</c:v>
                  </c:pt>
                  <c:pt idx="1408">
                    <c:v>Rolling Stdev (30 Minute)</c:v>
                  </c:pt>
                  <c:pt idx="1409">
                    <c:v>Rolling Stdev (30 Minute)</c:v>
                  </c:pt>
                  <c:pt idx="1410">
                    <c:v>Rolling Stdev (30 Minute)</c:v>
                  </c:pt>
                  <c:pt idx="1411">
                    <c:v>Rolling Stdev (30 Minute)</c:v>
                  </c:pt>
                  <c:pt idx="1412">
                    <c:v>Rolling Stdev (30 Minute)</c:v>
                  </c:pt>
                  <c:pt idx="1413">
                    <c:v>Rolling Stdev (30 Minute)</c:v>
                  </c:pt>
                  <c:pt idx="1414">
                    <c:v>Rolling Stdev (30 Minute)</c:v>
                  </c:pt>
                  <c:pt idx="1415">
                    <c:v>Rolling Stdev (30 Minute)</c:v>
                  </c:pt>
                  <c:pt idx="1416">
                    <c:v>Rolling Stdev (30 Minute)</c:v>
                  </c:pt>
                  <c:pt idx="1417">
                    <c:v>Rolling Stdev (30 Minute)</c:v>
                  </c:pt>
                  <c:pt idx="1418">
                    <c:v>Rolling Stdev (30 Minute)</c:v>
                  </c:pt>
                  <c:pt idx="1419">
                    <c:v>Rolling Stdev (30 Minute)</c:v>
                  </c:pt>
                  <c:pt idx="1420">
                    <c:v>Rolling Stdev (30 Minute)</c:v>
                  </c:pt>
                  <c:pt idx="1421">
                    <c:v>Rolling Stdev (30 Minute)</c:v>
                  </c:pt>
                  <c:pt idx="1422">
                    <c:v>Rolling Stdev (30 Minute)</c:v>
                  </c:pt>
                  <c:pt idx="1423">
                    <c:v>Rolling Stdev (30 Minute)</c:v>
                  </c:pt>
                  <c:pt idx="1424">
                    <c:v>Rolling Stdev (30 Minute)</c:v>
                  </c:pt>
                  <c:pt idx="1425">
                    <c:v>Rolling Stdev (30 Minute)</c:v>
                  </c:pt>
                  <c:pt idx="1426">
                    <c:v>Rolling Stdev (30 Minute)</c:v>
                  </c:pt>
                  <c:pt idx="1427">
                    <c:v>Rolling Stdev (30 Minute)</c:v>
                  </c:pt>
                  <c:pt idx="1428">
                    <c:v>Rolling Stdev (30 Minute)</c:v>
                  </c:pt>
                  <c:pt idx="1429">
                    <c:v>Rolling Stdev (30 Minute)</c:v>
                  </c:pt>
                  <c:pt idx="1430">
                    <c:v>Rolling Stdev (30 Minute)</c:v>
                  </c:pt>
                  <c:pt idx="1431">
                    <c:v>Rolling Stdev (30 Minute)</c:v>
                  </c:pt>
                  <c:pt idx="1432">
                    <c:v>Rolling Stdev (30 Minute)</c:v>
                  </c:pt>
                  <c:pt idx="1433">
                    <c:v>Rolling Stdev (30 Minute)</c:v>
                  </c:pt>
                  <c:pt idx="1434">
                    <c:v>Rolling Stdev (30 Minute)</c:v>
                  </c:pt>
                  <c:pt idx="1435">
                    <c:v>Rolling Stdev (30 Minute)</c:v>
                  </c:pt>
                  <c:pt idx="1436">
                    <c:v>Rolling Stdev (30 Minute)</c:v>
                  </c:pt>
                  <c:pt idx="1437">
                    <c:v>Rolling Stdev (30 Minute)</c:v>
                  </c:pt>
                  <c:pt idx="1438">
                    <c:v>Rolling Stdev (30 Minute)</c:v>
                  </c:pt>
                  <c:pt idx="1439">
                    <c:v>Rolling Stdev (30 Minute)</c:v>
                  </c:pt>
                  <c:pt idx="1440">
                    <c:v>Rolling Stdev (30 Minute)</c:v>
                  </c:pt>
                  <c:pt idx="1441">
                    <c:v>Rolling Stdev (30 Minute)</c:v>
                  </c:pt>
                  <c:pt idx="1442">
                    <c:v>Rolling Stdev (30 Minute)</c:v>
                  </c:pt>
                  <c:pt idx="1443">
                    <c:v>Rolling Stdev (30 Minute)</c:v>
                  </c:pt>
                  <c:pt idx="1444">
                    <c:v>Rolling Stdev (30 Minute)</c:v>
                  </c:pt>
                  <c:pt idx="1445">
                    <c:v>Rolling Stdev (30 Minute)</c:v>
                  </c:pt>
                  <c:pt idx="1446">
                    <c:v>Rolling Stdev (30 Minute)</c:v>
                  </c:pt>
                  <c:pt idx="1447">
                    <c:v>Rolling Stdev (30 Minute)</c:v>
                  </c:pt>
                  <c:pt idx="1448">
                    <c:v>Rolling Stdev (30 Minute)</c:v>
                  </c:pt>
                  <c:pt idx="1449">
                    <c:v>Rolling Stdev (30 Minute)</c:v>
                  </c:pt>
                  <c:pt idx="1450">
                    <c:v>Rolling Stdev (30 Minute)</c:v>
                  </c:pt>
                  <c:pt idx="1451">
                    <c:v>Rolling Stdev (30 Minute)</c:v>
                  </c:pt>
                  <c:pt idx="1452">
                    <c:v>Rolling Stdev (30 Minute)</c:v>
                  </c:pt>
                  <c:pt idx="1453">
                    <c:v>Rolling Stdev (30 Minute)</c:v>
                  </c:pt>
                  <c:pt idx="1454">
                    <c:v>Rolling Stdev (30 Minute)</c:v>
                  </c:pt>
                  <c:pt idx="1455">
                    <c:v>Rolling Stdev (30 Minute)</c:v>
                  </c:pt>
                  <c:pt idx="1456">
                    <c:v>Rolling Stdev (30 Minute)</c:v>
                  </c:pt>
                  <c:pt idx="1457">
                    <c:v>Rolling Stdev (30 Minute)</c:v>
                  </c:pt>
                  <c:pt idx="1458">
                    <c:v>Rolling Stdev (30 Minute)</c:v>
                  </c:pt>
                  <c:pt idx="1459">
                    <c:v>Rolling Stdev (30 Minute)</c:v>
                  </c:pt>
                  <c:pt idx="1460">
                    <c:v>Rolling Stdev (30 Minute)</c:v>
                  </c:pt>
                  <c:pt idx="1461">
                    <c:v>Rolling Stdev (30 Minute)</c:v>
                  </c:pt>
                  <c:pt idx="1462">
                    <c:v>Rolling Stdev (30 Minute)</c:v>
                  </c:pt>
                  <c:pt idx="1463">
                    <c:v>Rolling Stdev (30 Minute)</c:v>
                  </c:pt>
                  <c:pt idx="1464">
                    <c:v>Rolling Stdev (30 Minute)</c:v>
                  </c:pt>
                  <c:pt idx="1465">
                    <c:v>Rolling Stdev (30 Minute)</c:v>
                  </c:pt>
                  <c:pt idx="1466">
                    <c:v>Rolling Stdev (30 Minute)</c:v>
                  </c:pt>
                  <c:pt idx="1467">
                    <c:v>Rolling Stdev (30 Minute)</c:v>
                  </c:pt>
                  <c:pt idx="1468">
                    <c:v>Rolling Stdev (30 Minute)</c:v>
                  </c:pt>
                  <c:pt idx="1469">
                    <c:v>Rolling Stdev (30 Minute)</c:v>
                  </c:pt>
                  <c:pt idx="1470">
                    <c:v>Rolling Stdev (30 Minute)</c:v>
                  </c:pt>
                  <c:pt idx="1471">
                    <c:v>Rolling Stdev (30 Minute)</c:v>
                  </c:pt>
                  <c:pt idx="1472">
                    <c:v>Rolling Stdev (30 Minute)</c:v>
                  </c:pt>
                  <c:pt idx="1473">
                    <c:v>Rolling Stdev (30 Minute)</c:v>
                  </c:pt>
                  <c:pt idx="1474">
                    <c:v>Rolling Stdev (30 Minute)</c:v>
                  </c:pt>
                  <c:pt idx="1475">
                    <c:v>Rolling Stdev (30 Minute)</c:v>
                  </c:pt>
                  <c:pt idx="1476">
                    <c:v>Rolling Stdev (30 Minute)</c:v>
                  </c:pt>
                  <c:pt idx="1477">
                    <c:v>Rolling Stdev (30 Minute)</c:v>
                  </c:pt>
                  <c:pt idx="1478">
                    <c:v>Rolling Stdev (30 Minute)</c:v>
                  </c:pt>
                  <c:pt idx="1479">
                    <c:v>Rolling Stdev (30 Minute)</c:v>
                  </c:pt>
                  <c:pt idx="1480">
                    <c:v>Rolling Stdev (30 Minute)</c:v>
                  </c:pt>
                  <c:pt idx="1481">
                    <c:v>Rolling Stdev (30 Minute)</c:v>
                  </c:pt>
                  <c:pt idx="1482">
                    <c:v>Rolling Stdev (30 Minute)</c:v>
                  </c:pt>
                  <c:pt idx="1483">
                    <c:v>Rolling Stdev (30 Minute)</c:v>
                  </c:pt>
                  <c:pt idx="1484">
                    <c:v>Rolling Stdev (30 Minute)</c:v>
                  </c:pt>
                  <c:pt idx="1485">
                    <c:v>Rolling Stdev (30 Minute)</c:v>
                  </c:pt>
                  <c:pt idx="1486">
                    <c:v>Rolling Stdev (30 Minute)</c:v>
                  </c:pt>
                  <c:pt idx="1487">
                    <c:v>Rolling Stdev (30 Minute)</c:v>
                  </c:pt>
                  <c:pt idx="1488">
                    <c:v>Rolling Stdev (30 Minute)</c:v>
                  </c:pt>
                  <c:pt idx="1489">
                    <c:v>Rolling Stdev (30 Minute)</c:v>
                  </c:pt>
                  <c:pt idx="1490">
                    <c:v>Rolling Stdev (30 Minute)</c:v>
                  </c:pt>
                  <c:pt idx="1491">
                    <c:v>Rolling Stdev (30 Minute)</c:v>
                  </c:pt>
                  <c:pt idx="1492">
                    <c:v>Rolling Stdev (30 Minute)</c:v>
                  </c:pt>
                  <c:pt idx="1493">
                    <c:v>Rolling Stdev (30 Minute)</c:v>
                  </c:pt>
                  <c:pt idx="1494">
                    <c:v>Rolling Stdev (30 Minute)</c:v>
                  </c:pt>
                  <c:pt idx="1495">
                    <c:v>Rolling Stdev (30 Minute)</c:v>
                  </c:pt>
                  <c:pt idx="1496">
                    <c:v>Rolling Stdev (30 Minute)</c:v>
                  </c:pt>
                  <c:pt idx="1497">
                    <c:v>Rolling Stdev (30 Minute)</c:v>
                  </c:pt>
                  <c:pt idx="1498">
                    <c:v>Rolling Stdev (30 Minute)</c:v>
                  </c:pt>
                  <c:pt idx="1499">
                    <c:v>Rolling Stdev (30 Minute)</c:v>
                  </c:pt>
                  <c:pt idx="1500">
                    <c:v>Rolling Stdev (30 Minute)</c:v>
                  </c:pt>
                  <c:pt idx="1501">
                    <c:v>Rolling Stdev (30 Minute)</c:v>
                  </c:pt>
                  <c:pt idx="1502">
                    <c:v>Rolling Stdev (30 Minute)</c:v>
                  </c:pt>
                  <c:pt idx="1503">
                    <c:v>Rolling Stdev (30 Minute)</c:v>
                  </c:pt>
                  <c:pt idx="1504">
                    <c:v>Rolling Stdev (30 Minute)</c:v>
                  </c:pt>
                  <c:pt idx="1505">
                    <c:v>Rolling Stdev (30 Minute)</c:v>
                  </c:pt>
                  <c:pt idx="1506">
                    <c:v>Rolling Stdev (30 Minute)</c:v>
                  </c:pt>
                  <c:pt idx="1507">
                    <c:v>Rolling Stdev (30 Minute)</c:v>
                  </c:pt>
                  <c:pt idx="1508">
                    <c:v>Rolling Stdev (30 Minute)</c:v>
                  </c:pt>
                  <c:pt idx="1509">
                    <c:v>Rolling Stdev (30 Minute)</c:v>
                  </c:pt>
                  <c:pt idx="1510">
                    <c:v>Rolling Stdev (30 Minute)</c:v>
                  </c:pt>
                  <c:pt idx="1511">
                    <c:v>Rolling Stdev (30 Minute)</c:v>
                  </c:pt>
                  <c:pt idx="1512">
                    <c:v>Rolling Stdev (30 Minute)</c:v>
                  </c:pt>
                  <c:pt idx="1513">
                    <c:v>Rolling Stdev (30 Minute)</c:v>
                  </c:pt>
                  <c:pt idx="1514">
                    <c:v>Rolling Stdev (30 Minute)</c:v>
                  </c:pt>
                  <c:pt idx="1515">
                    <c:v>Rolling Stdev (30 Minute)</c:v>
                  </c:pt>
                  <c:pt idx="1516">
                    <c:v>Rolling Stdev (30 Minute)</c:v>
                  </c:pt>
                  <c:pt idx="1517">
                    <c:v>Rolling Stdev (30 Minute)</c:v>
                  </c:pt>
                  <c:pt idx="1518">
                    <c:v>Rolling Stdev (30 Minute)</c:v>
                  </c:pt>
                  <c:pt idx="1519">
                    <c:v>Rolling Stdev (30 Minute)</c:v>
                  </c:pt>
                  <c:pt idx="1520">
                    <c:v>Rolling Stdev (30 Minute)</c:v>
                  </c:pt>
                  <c:pt idx="1521">
                    <c:v>Rolling Stdev (30 Minute)</c:v>
                  </c:pt>
                  <c:pt idx="1522">
                    <c:v>Rolling Stdev (30 Minute)</c:v>
                  </c:pt>
                  <c:pt idx="1523">
                    <c:v>Rolling Stdev (30 Minute)</c:v>
                  </c:pt>
                  <c:pt idx="1524">
                    <c:v>Rolling Stdev (30 Minute)</c:v>
                  </c:pt>
                  <c:pt idx="1525">
                    <c:v>Rolling Stdev (30 Minute)</c:v>
                  </c:pt>
                  <c:pt idx="1526">
                    <c:v>Rolling Stdev (30 Minute)</c:v>
                  </c:pt>
                  <c:pt idx="1527">
                    <c:v>Rolling Stdev (30 Minute)</c:v>
                  </c:pt>
                  <c:pt idx="1528">
                    <c:v>Rolling Stdev (30 Minute)</c:v>
                  </c:pt>
                  <c:pt idx="1529">
                    <c:v>Rolling Stdev (30 Minute)</c:v>
                  </c:pt>
                  <c:pt idx="1530">
                    <c:v>Rolling Stdev (30 Minute)</c:v>
                  </c:pt>
                  <c:pt idx="1531">
                    <c:v>Rolling Stdev (30 Minute)</c:v>
                  </c:pt>
                  <c:pt idx="1532">
                    <c:v>Rolling Stdev (30 Minute)</c:v>
                  </c:pt>
                  <c:pt idx="1533">
                    <c:v>Rolling Stdev (30 Minute)</c:v>
                  </c:pt>
                  <c:pt idx="1534">
                    <c:v>Rolling Stdev (30 Minute)</c:v>
                  </c:pt>
                  <c:pt idx="1535">
                    <c:v>Rolling Stdev (30 Minute)</c:v>
                  </c:pt>
                  <c:pt idx="1536">
                    <c:v>Rolling Stdev (30 Minute)</c:v>
                  </c:pt>
                  <c:pt idx="1537">
                    <c:v>Rolling Stdev (30 Minute)</c:v>
                  </c:pt>
                  <c:pt idx="1538">
                    <c:v>Rolling Stdev (30 Minute)</c:v>
                  </c:pt>
                  <c:pt idx="1539">
                    <c:v>Rolling Stdev (30 Minute)</c:v>
                  </c:pt>
                  <c:pt idx="1540">
                    <c:v>Rolling Stdev (30 Minute)</c:v>
                  </c:pt>
                  <c:pt idx="1541">
                    <c:v>Rolling Stdev (30 Minute)</c:v>
                  </c:pt>
                  <c:pt idx="1542">
                    <c:v>Rolling Stdev (30 Minute)</c:v>
                  </c:pt>
                  <c:pt idx="1543">
                    <c:v>Rolling Stdev (30 Minute)</c:v>
                  </c:pt>
                  <c:pt idx="1544">
                    <c:v>Rolling Stdev (30 Minute)</c:v>
                  </c:pt>
                  <c:pt idx="1545">
                    <c:v>Rolling Stdev (30 Minute)</c:v>
                  </c:pt>
                  <c:pt idx="1546">
                    <c:v>Rolling Stdev (30 Minute)</c:v>
                  </c:pt>
                  <c:pt idx="1547">
                    <c:v>Rolling Stdev (30 Minute)</c:v>
                  </c:pt>
                  <c:pt idx="1548">
                    <c:v>Rolling Stdev (30 Minute)</c:v>
                  </c:pt>
                  <c:pt idx="1549">
                    <c:v>Rolling Stdev (30 Minute)</c:v>
                  </c:pt>
                  <c:pt idx="1550">
                    <c:v>Rolling Stdev (30 Minute)</c:v>
                  </c:pt>
                  <c:pt idx="1551">
                    <c:v>Rolling Stdev (30 Minute)</c:v>
                  </c:pt>
                  <c:pt idx="1552">
                    <c:v>Rolling Stdev (30 Minute)</c:v>
                  </c:pt>
                  <c:pt idx="1553">
                    <c:v>Rolling Stdev (30 Minute)</c:v>
                  </c:pt>
                  <c:pt idx="1554">
                    <c:v>Rolling Stdev (30 Minute)</c:v>
                  </c:pt>
                  <c:pt idx="1555">
                    <c:v>Rolling Stdev (30 Minute)</c:v>
                  </c:pt>
                  <c:pt idx="1556">
                    <c:v>Rolling Stdev (30 Minute)</c:v>
                  </c:pt>
                  <c:pt idx="1557">
                    <c:v>Rolling Stdev (30 Minute)</c:v>
                  </c:pt>
                  <c:pt idx="1558">
                    <c:v>Rolling Stdev (30 Minute)</c:v>
                  </c:pt>
                  <c:pt idx="1559">
                    <c:v>Rolling Stdev (30 Minute)</c:v>
                  </c:pt>
                  <c:pt idx="1560">
                    <c:v>Rolling Stdev (30 Minute)</c:v>
                  </c:pt>
                  <c:pt idx="1561">
                    <c:v>Rolling Stdev (30 Minute)</c:v>
                  </c:pt>
                  <c:pt idx="1562">
                    <c:v>Rolling Stdev (30 Minute)</c:v>
                  </c:pt>
                  <c:pt idx="1563">
                    <c:v>Rolling Stdev (30 Minute)</c:v>
                  </c:pt>
                  <c:pt idx="1564">
                    <c:v>Rolling Stdev (30 Minute)</c:v>
                  </c:pt>
                  <c:pt idx="1565">
                    <c:v>Rolling Stdev (30 Minute)</c:v>
                  </c:pt>
                  <c:pt idx="1566">
                    <c:v>Rolling Stdev (30 Minute)</c:v>
                  </c:pt>
                  <c:pt idx="1567">
                    <c:v>Rolling Stdev (30 Minute)</c:v>
                  </c:pt>
                  <c:pt idx="1568">
                    <c:v>Rolling Stdev (30 Minute)</c:v>
                  </c:pt>
                  <c:pt idx="1569">
                    <c:v>Rolling Stdev (30 Minute)</c:v>
                  </c:pt>
                  <c:pt idx="1570">
                    <c:v>Rolling Stdev (30 Minute)</c:v>
                  </c:pt>
                  <c:pt idx="1571">
                    <c:v>Rolling Stdev (30 Minute)</c:v>
                  </c:pt>
                  <c:pt idx="1572">
                    <c:v>Rolling Stdev (30 Minute)</c:v>
                  </c:pt>
                  <c:pt idx="1573">
                    <c:v>Rolling Stdev (30 Minute)</c:v>
                  </c:pt>
                  <c:pt idx="1574">
                    <c:v>Rolling Stdev (30 Minute)</c:v>
                  </c:pt>
                  <c:pt idx="1575">
                    <c:v>Rolling Stdev (30 Minute)</c:v>
                  </c:pt>
                  <c:pt idx="1576">
                    <c:v>Rolling Stdev (30 Minute)</c:v>
                  </c:pt>
                  <c:pt idx="1577">
                    <c:v>Rolling Stdev (30 Minute)</c:v>
                  </c:pt>
                  <c:pt idx="1578">
                    <c:v>Rolling Stdev (30 Minute)</c:v>
                  </c:pt>
                  <c:pt idx="1579">
                    <c:v>Rolling Stdev (30 Minute)</c:v>
                  </c:pt>
                  <c:pt idx="1580">
                    <c:v>Rolling Stdev (30 Minute)</c:v>
                  </c:pt>
                  <c:pt idx="1581">
                    <c:v>Rolling Stdev (30 Minute)</c:v>
                  </c:pt>
                  <c:pt idx="1582">
                    <c:v>Rolling Stdev (30 Minute)</c:v>
                  </c:pt>
                  <c:pt idx="1583">
                    <c:v>Rolling Stdev (30 Minute)</c:v>
                  </c:pt>
                  <c:pt idx="1584">
                    <c:v>Rolling Stdev (30 Minute)</c:v>
                  </c:pt>
                  <c:pt idx="1585">
                    <c:v>Rolling Stdev (30 Minute)</c:v>
                  </c:pt>
                  <c:pt idx="1586">
                    <c:v>Rolling Stdev (30 Minute)</c:v>
                  </c:pt>
                  <c:pt idx="1587">
                    <c:v>Rolling Stdev (30 Minute)</c:v>
                  </c:pt>
                  <c:pt idx="1588">
                    <c:v>Rolling Stdev (30 Minute)</c:v>
                  </c:pt>
                  <c:pt idx="1589">
                    <c:v>Rolling Stdev (30 Minute)</c:v>
                  </c:pt>
                  <c:pt idx="1590">
                    <c:v>Rolling Stdev (30 Minute)</c:v>
                  </c:pt>
                  <c:pt idx="1591">
                    <c:v>Rolling Stdev (30 Minute)</c:v>
                  </c:pt>
                  <c:pt idx="1592">
                    <c:v>Rolling Stdev (30 Minute)</c:v>
                  </c:pt>
                  <c:pt idx="1593">
                    <c:v>Rolling Stdev (30 Minute)</c:v>
                  </c:pt>
                  <c:pt idx="1594">
                    <c:v>Rolling Stdev (30 Minute)</c:v>
                  </c:pt>
                  <c:pt idx="1595">
                    <c:v>Rolling Stdev (30 Minute)</c:v>
                  </c:pt>
                  <c:pt idx="1596">
                    <c:v>Rolling Stdev (30 Minute)</c:v>
                  </c:pt>
                  <c:pt idx="1597">
                    <c:v>Rolling Stdev (30 Minute)</c:v>
                  </c:pt>
                  <c:pt idx="1598">
                    <c:v>Rolling Stdev (30 Minute)</c:v>
                  </c:pt>
                  <c:pt idx="1599">
                    <c:v>Rolling Stdev (30 Minute)</c:v>
                  </c:pt>
                  <c:pt idx="1600">
                    <c:v>Rolling Stdev (30 Minute)</c:v>
                  </c:pt>
                  <c:pt idx="1601">
                    <c:v>Rolling Stdev (30 Minute)</c:v>
                  </c:pt>
                  <c:pt idx="1602">
                    <c:v>Rolling Stdev (30 Minute)</c:v>
                  </c:pt>
                  <c:pt idx="1603">
                    <c:v>Rolling Stdev (30 Minute)</c:v>
                  </c:pt>
                  <c:pt idx="1604">
                    <c:v>Rolling Stdev (30 Minute)</c:v>
                  </c:pt>
                  <c:pt idx="1605">
                    <c:v>Rolling Stdev (30 Minute)</c:v>
                  </c:pt>
                  <c:pt idx="1606">
                    <c:v>Rolling Stdev (30 Minute)</c:v>
                  </c:pt>
                  <c:pt idx="1607">
                    <c:v>Rolling Stdev (30 Minute)</c:v>
                  </c:pt>
                  <c:pt idx="1608">
                    <c:v>Rolling Stdev (30 Minute)</c:v>
                  </c:pt>
                  <c:pt idx="1609">
                    <c:v>Rolling Stdev (30 Minute)</c:v>
                  </c:pt>
                  <c:pt idx="1610">
                    <c:v>Rolling Stdev (30 Minute)</c:v>
                  </c:pt>
                  <c:pt idx="1611">
                    <c:v>Rolling Stdev (30 Minute)</c:v>
                  </c:pt>
                  <c:pt idx="1612">
                    <c:v>Rolling Stdev (30 Minute)</c:v>
                  </c:pt>
                  <c:pt idx="1613">
                    <c:v>Rolling Stdev (30 Minute)</c:v>
                  </c:pt>
                  <c:pt idx="1614">
                    <c:v>Rolling Stdev (30 Minute)</c:v>
                  </c:pt>
                  <c:pt idx="1615">
                    <c:v>Rolling Stdev (30 Minute)</c:v>
                  </c:pt>
                  <c:pt idx="1616">
                    <c:v>Rolling Stdev (30 Minute)</c:v>
                  </c:pt>
                  <c:pt idx="1617">
                    <c:v>Rolling Stdev (30 Minute)</c:v>
                  </c:pt>
                  <c:pt idx="1618">
                    <c:v>Rolling Stdev (30 Minute)</c:v>
                  </c:pt>
                  <c:pt idx="1619">
                    <c:v>Rolling Stdev (30 Minute)</c:v>
                  </c:pt>
                  <c:pt idx="1620">
                    <c:v>Rolling Stdev (30 Minute)</c:v>
                  </c:pt>
                  <c:pt idx="1621">
                    <c:v>Rolling Stdev (30 Minute)</c:v>
                  </c:pt>
                  <c:pt idx="1622">
                    <c:v>Rolling Stdev (30 Minute)</c:v>
                  </c:pt>
                  <c:pt idx="1623">
                    <c:v>Rolling Stdev (30 Minute)</c:v>
                  </c:pt>
                  <c:pt idx="1624">
                    <c:v>Rolling Stdev (30 Minute)</c:v>
                  </c:pt>
                  <c:pt idx="1625">
                    <c:v>Rolling Stdev (30 Minute)</c:v>
                  </c:pt>
                  <c:pt idx="1626">
                    <c:v>Rolling Stdev (30 Minute)</c:v>
                  </c:pt>
                  <c:pt idx="1627">
                    <c:v>Rolling Stdev (30 Minute)</c:v>
                  </c:pt>
                  <c:pt idx="1628">
                    <c:v>Rolling Stdev (30 Minute)</c:v>
                  </c:pt>
                  <c:pt idx="1629">
                    <c:v>Rolling Stdev (30 Minute)</c:v>
                  </c:pt>
                  <c:pt idx="1630">
                    <c:v>Rolling Stdev (30 Minute)</c:v>
                  </c:pt>
                  <c:pt idx="1631">
                    <c:v>Rolling Stdev (30 Minute)</c:v>
                  </c:pt>
                  <c:pt idx="1632">
                    <c:v>Rolling Stdev (30 Minute)</c:v>
                  </c:pt>
                  <c:pt idx="1633">
                    <c:v>Rolling Stdev (30 Minute)</c:v>
                  </c:pt>
                  <c:pt idx="1634">
                    <c:v>Rolling Stdev (30 Minute)</c:v>
                  </c:pt>
                  <c:pt idx="1635">
                    <c:v>Rolling Stdev (30 Minute)</c:v>
                  </c:pt>
                  <c:pt idx="1636">
                    <c:v>Rolling Stdev (30 Minute)</c:v>
                  </c:pt>
                  <c:pt idx="1637">
                    <c:v>Rolling Stdev (30 Minute)</c:v>
                  </c:pt>
                  <c:pt idx="1638">
                    <c:v>Rolling Stdev (30 Minute)</c:v>
                  </c:pt>
                  <c:pt idx="1639">
                    <c:v>Rolling Stdev (30 Minute)</c:v>
                  </c:pt>
                  <c:pt idx="1640">
                    <c:v>Rolling Stdev (30 Minute)</c:v>
                  </c:pt>
                  <c:pt idx="1641">
                    <c:v>Rolling Stdev (30 Minute)</c:v>
                  </c:pt>
                  <c:pt idx="1642">
                    <c:v>Rolling Stdev (30 Minute)</c:v>
                  </c:pt>
                  <c:pt idx="1643">
                    <c:v>Rolling Stdev (30 Minute)</c:v>
                  </c:pt>
                  <c:pt idx="1644">
                    <c:v>Rolling Stdev (30 Minute)</c:v>
                  </c:pt>
                  <c:pt idx="1645">
                    <c:v>Rolling Stdev (30 Minute)</c:v>
                  </c:pt>
                  <c:pt idx="1646">
                    <c:v>Rolling Stdev (30 Minute)</c:v>
                  </c:pt>
                  <c:pt idx="1647">
                    <c:v>Rolling Stdev (30 Minute)</c:v>
                  </c:pt>
                  <c:pt idx="1648">
                    <c:v>Rolling Stdev (30 Minute)</c:v>
                  </c:pt>
                  <c:pt idx="1649">
                    <c:v>Rolling Stdev (30 Minute)</c:v>
                  </c:pt>
                  <c:pt idx="1650">
                    <c:v>Rolling Stdev (30 Minute)</c:v>
                  </c:pt>
                  <c:pt idx="1651">
                    <c:v>Rolling Stdev (30 Minute)</c:v>
                  </c:pt>
                  <c:pt idx="1652">
                    <c:v>Rolling Stdev (30 Minute)</c:v>
                  </c:pt>
                  <c:pt idx="1653">
                    <c:v>Rolling Stdev (30 Minute)</c:v>
                  </c:pt>
                  <c:pt idx="1654">
                    <c:v>Rolling Stdev (30 Minute)</c:v>
                  </c:pt>
                  <c:pt idx="1655">
                    <c:v>Rolling Stdev (30 Minute)</c:v>
                  </c:pt>
                  <c:pt idx="1656">
                    <c:v>Rolling Stdev (30 Minute)</c:v>
                  </c:pt>
                  <c:pt idx="1657">
                    <c:v>Rolling Stdev (30 Minute)</c:v>
                  </c:pt>
                  <c:pt idx="1658">
                    <c:v>Rolling Stdev (30 Minute)</c:v>
                  </c:pt>
                  <c:pt idx="1659">
                    <c:v>Rolling Stdev (30 Minute)</c:v>
                  </c:pt>
                  <c:pt idx="1660">
                    <c:v>Rolling Stdev (30 Minute)</c:v>
                  </c:pt>
                  <c:pt idx="1661">
                    <c:v>Rolling Stdev (30 Minute)</c:v>
                  </c:pt>
                  <c:pt idx="1662">
                    <c:v>Rolling Stdev (30 Minute)</c:v>
                  </c:pt>
                  <c:pt idx="1663">
                    <c:v>Rolling Stdev (30 Minute)</c:v>
                  </c:pt>
                  <c:pt idx="1664">
                    <c:v>Rolling Stdev (30 Minute)</c:v>
                  </c:pt>
                  <c:pt idx="1665">
                    <c:v>Rolling Stdev (30 Minute)</c:v>
                  </c:pt>
                  <c:pt idx="1666">
                    <c:v>Rolling Stdev (30 Minute)</c:v>
                  </c:pt>
                  <c:pt idx="1667">
                    <c:v>Rolling Stdev (30 Minute)</c:v>
                  </c:pt>
                  <c:pt idx="1668">
                    <c:v>Rolling Stdev (30 Minute)</c:v>
                  </c:pt>
                  <c:pt idx="1669">
                    <c:v>Rolling Stdev (30 Minute)</c:v>
                  </c:pt>
                  <c:pt idx="1670">
                    <c:v>Rolling Stdev (30 Minute)</c:v>
                  </c:pt>
                  <c:pt idx="1671">
                    <c:v>Rolling Stdev (30 Minute)</c:v>
                  </c:pt>
                  <c:pt idx="1672">
                    <c:v>Rolling Stdev (30 Minute)</c:v>
                  </c:pt>
                  <c:pt idx="1673">
                    <c:v>Rolling Stdev (30 Minute)</c:v>
                  </c:pt>
                  <c:pt idx="1674">
                    <c:v>Rolling Stdev (30 Minute)</c:v>
                  </c:pt>
                  <c:pt idx="1675">
                    <c:v>Rolling Stdev (30 Minute)</c:v>
                  </c:pt>
                  <c:pt idx="1676">
                    <c:v>Rolling Stdev (30 Minute)</c:v>
                  </c:pt>
                  <c:pt idx="1677">
                    <c:v>Rolling Stdev (30 Minute)</c:v>
                  </c:pt>
                  <c:pt idx="1678">
                    <c:v>Rolling Stdev (30 Minute)</c:v>
                  </c:pt>
                  <c:pt idx="1679">
                    <c:v>Rolling Stdev (30 Minute)</c:v>
                  </c:pt>
                  <c:pt idx="1680">
                    <c:v>Rolling Stdev (30 Minute)</c:v>
                  </c:pt>
                  <c:pt idx="1681">
                    <c:v>Rolling Stdev (30 Minute)</c:v>
                  </c:pt>
                  <c:pt idx="1682">
                    <c:v>Rolling Stdev (30 Minute)</c:v>
                  </c:pt>
                  <c:pt idx="1683">
                    <c:v>Rolling Stdev (30 Minute)</c:v>
                  </c:pt>
                  <c:pt idx="1684">
                    <c:v>Rolling Stdev (30 Minute)</c:v>
                  </c:pt>
                  <c:pt idx="1685">
                    <c:v>Rolling Stdev (30 Minute)</c:v>
                  </c:pt>
                  <c:pt idx="1686">
                    <c:v>Rolling Stdev (30 Minute)</c:v>
                  </c:pt>
                  <c:pt idx="1687">
                    <c:v>Rolling Stdev (30 Minute)</c:v>
                  </c:pt>
                  <c:pt idx="1688">
                    <c:v>Rolling Stdev (30 Minute)</c:v>
                  </c:pt>
                  <c:pt idx="1689">
                    <c:v>Rolling Stdev (30 Minute)</c:v>
                  </c:pt>
                  <c:pt idx="1690">
                    <c:v>Rolling Stdev (30 Minute)</c:v>
                  </c:pt>
                  <c:pt idx="1691">
                    <c:v>Rolling Stdev (30 Minute)</c:v>
                  </c:pt>
                  <c:pt idx="1692">
                    <c:v>Rolling Stdev (30 Minute)</c:v>
                  </c:pt>
                  <c:pt idx="1693">
                    <c:v>Rolling Stdev (30 Minute)</c:v>
                  </c:pt>
                  <c:pt idx="1694">
                    <c:v>Rolling Stdev (30 Minute)</c:v>
                  </c:pt>
                  <c:pt idx="1695">
                    <c:v>Rolling Stdev (30 Minute)</c:v>
                  </c:pt>
                  <c:pt idx="1696">
                    <c:v>Rolling Stdev (30 Minute)</c:v>
                  </c:pt>
                  <c:pt idx="1697">
                    <c:v>Rolling Stdev (30 Minute)</c:v>
                  </c:pt>
                  <c:pt idx="1698">
                    <c:v>Rolling Stdev (30 Minute)</c:v>
                  </c:pt>
                  <c:pt idx="1699">
                    <c:v>Rolling Stdev (30 Minute)</c:v>
                  </c:pt>
                  <c:pt idx="1700">
                    <c:v>Rolling Stdev (30 Minute)</c:v>
                  </c:pt>
                  <c:pt idx="1701">
                    <c:v>Rolling Stdev (30 Minute)</c:v>
                  </c:pt>
                  <c:pt idx="1702">
                    <c:v>Rolling Stdev (30 Minute)</c:v>
                  </c:pt>
                  <c:pt idx="1703">
                    <c:v>Rolling Stdev (30 Minute)</c:v>
                  </c:pt>
                  <c:pt idx="1704">
                    <c:v>Rolling Stdev (30 Minute)</c:v>
                  </c:pt>
                  <c:pt idx="1705">
                    <c:v>Rolling Stdev (30 Minute)</c:v>
                  </c:pt>
                  <c:pt idx="1706">
                    <c:v>Rolling Stdev (30 Minute)</c:v>
                  </c:pt>
                  <c:pt idx="1707">
                    <c:v>Rolling Stdev (30 Minute)</c:v>
                  </c:pt>
                  <c:pt idx="1708">
                    <c:v>Rolling Stdev (30 Minute)</c:v>
                  </c:pt>
                  <c:pt idx="1709">
                    <c:v>Rolling Stdev (30 Minute)</c:v>
                  </c:pt>
                  <c:pt idx="1710">
                    <c:v>Rolling Stdev (30 Minute)</c:v>
                  </c:pt>
                  <c:pt idx="1711">
                    <c:v>Rolling Stdev (30 Minute)</c:v>
                  </c:pt>
                  <c:pt idx="1712">
                    <c:v>Rolling Stdev (30 Minute)</c:v>
                  </c:pt>
                  <c:pt idx="1713">
                    <c:v>Rolling Stdev (30 Minute)</c:v>
                  </c:pt>
                  <c:pt idx="1714">
                    <c:v>Rolling Stdev (30 Minute)</c:v>
                  </c:pt>
                  <c:pt idx="1715">
                    <c:v>Rolling Stdev (30 Minute)</c:v>
                  </c:pt>
                  <c:pt idx="1716">
                    <c:v>Rolling Stdev (30 Minute)</c:v>
                  </c:pt>
                  <c:pt idx="1717">
                    <c:v>Rolling Stdev (30 Minute)</c:v>
                  </c:pt>
                  <c:pt idx="1718">
                    <c:v>Rolling Stdev (30 Minute)</c:v>
                  </c:pt>
                  <c:pt idx="1719">
                    <c:v>Rolling Stdev (30 Minute)</c:v>
                  </c:pt>
                  <c:pt idx="1720">
                    <c:v>Rolling Stdev (30 Minute)</c:v>
                  </c:pt>
                  <c:pt idx="1721">
                    <c:v>Rolling Stdev (30 Minute)</c:v>
                  </c:pt>
                  <c:pt idx="1722">
                    <c:v>Rolling Stdev (30 Minute)</c:v>
                  </c:pt>
                  <c:pt idx="1723">
                    <c:v>Rolling Stdev (30 Minute)</c:v>
                  </c:pt>
                  <c:pt idx="1724">
                    <c:v>Rolling Stdev (30 Minute)</c:v>
                  </c:pt>
                  <c:pt idx="1725">
                    <c:v>Rolling Stdev (30 Minute)</c:v>
                  </c:pt>
                  <c:pt idx="1726">
                    <c:v>Rolling Stdev (30 Minute)</c:v>
                  </c:pt>
                  <c:pt idx="1727">
                    <c:v>Rolling Stdev (30 Minute)</c:v>
                  </c:pt>
                  <c:pt idx="1728">
                    <c:v>Rolling Stdev (30 Minute)</c:v>
                  </c:pt>
                  <c:pt idx="1729">
                    <c:v>Rolling Stdev (30 Minute)</c:v>
                  </c:pt>
                  <c:pt idx="1730">
                    <c:v>Rolling Stdev (30 Minute)</c:v>
                  </c:pt>
                  <c:pt idx="1731">
                    <c:v>Rolling Stdev (30 Minute)</c:v>
                  </c:pt>
                  <c:pt idx="1732">
                    <c:v>Rolling Stdev (30 Minute)</c:v>
                  </c:pt>
                  <c:pt idx="1733">
                    <c:v>Rolling Stdev (30 Minute)</c:v>
                  </c:pt>
                  <c:pt idx="1734">
                    <c:v>Rolling Stdev (30 Minute)</c:v>
                  </c:pt>
                  <c:pt idx="1735">
                    <c:v>Rolling Stdev (30 Minute)</c:v>
                  </c:pt>
                  <c:pt idx="1736">
                    <c:v>Rolling Stdev (30 Minute)</c:v>
                  </c:pt>
                  <c:pt idx="1737">
                    <c:v>Rolling Stdev (30 Minute)</c:v>
                  </c:pt>
                  <c:pt idx="1738">
                    <c:v>Rolling Stdev (30 Minute)</c:v>
                  </c:pt>
                  <c:pt idx="1739">
                    <c:v>Rolling Stdev (30 Minute)</c:v>
                  </c:pt>
                  <c:pt idx="1740">
                    <c:v>Rolling Stdev (30 Minute)</c:v>
                  </c:pt>
                  <c:pt idx="1741">
                    <c:v>Rolling Stdev (30 Minute)</c:v>
                  </c:pt>
                  <c:pt idx="1742">
                    <c:v>Rolling Stdev (30 Minute)</c:v>
                  </c:pt>
                  <c:pt idx="1743">
                    <c:v>Rolling Stdev (30 Minute)</c:v>
                  </c:pt>
                  <c:pt idx="1744">
                    <c:v>Rolling Stdev (30 Minute)</c:v>
                  </c:pt>
                  <c:pt idx="1745">
                    <c:v>Rolling Stdev (30 Minute)</c:v>
                  </c:pt>
                  <c:pt idx="1746">
                    <c:v>Rolling Stdev (30 Minute)</c:v>
                  </c:pt>
                  <c:pt idx="1747">
                    <c:v>Rolling Stdev (30 Minute)</c:v>
                  </c:pt>
                  <c:pt idx="1748">
                    <c:v>Rolling Stdev (30 Minute)</c:v>
                  </c:pt>
                  <c:pt idx="1749">
                    <c:v>Rolling Stdev (30 Minute)</c:v>
                  </c:pt>
                  <c:pt idx="1750">
                    <c:v>Rolling Stdev (30 Minute)</c:v>
                  </c:pt>
                  <c:pt idx="1751">
                    <c:v>Rolling Stdev (30 Minute)</c:v>
                  </c:pt>
                  <c:pt idx="1752">
                    <c:v>Rolling Stdev (30 Minute)</c:v>
                  </c:pt>
                  <c:pt idx="1753">
                    <c:v>Rolling Stdev (30 Minute)</c:v>
                  </c:pt>
                  <c:pt idx="1754">
                    <c:v>Rolling Stdev (30 Minute)</c:v>
                  </c:pt>
                  <c:pt idx="1755">
                    <c:v>Rolling Stdev (30 Minute)</c:v>
                  </c:pt>
                  <c:pt idx="1756">
                    <c:v>Rolling Stdev (30 Minute)</c:v>
                  </c:pt>
                  <c:pt idx="1757">
                    <c:v>Rolling Stdev (30 Minute)</c:v>
                  </c:pt>
                  <c:pt idx="1758">
                    <c:v>Rolling Stdev (30 Minute)</c:v>
                  </c:pt>
                  <c:pt idx="1759">
                    <c:v>Rolling Stdev (30 Minute)</c:v>
                  </c:pt>
                  <c:pt idx="1760">
                    <c:v>Rolling Stdev (30 Minute)</c:v>
                  </c:pt>
                  <c:pt idx="1761">
                    <c:v>Rolling Stdev (30 Minute)</c:v>
                  </c:pt>
                  <c:pt idx="1762">
                    <c:v>Rolling Stdev (30 Minute)</c:v>
                  </c:pt>
                  <c:pt idx="1763">
                    <c:v>Rolling Stdev (30 Minute)</c:v>
                  </c:pt>
                  <c:pt idx="1764">
                    <c:v>Rolling Stdev (30 Minute)</c:v>
                  </c:pt>
                  <c:pt idx="1765">
                    <c:v>Rolling Stdev (30 Minute)</c:v>
                  </c:pt>
                  <c:pt idx="1766">
                    <c:v>Rolling Stdev (30 Minute)</c:v>
                  </c:pt>
                  <c:pt idx="1767">
                    <c:v>Rolling Stdev (30 Minute)</c:v>
                  </c:pt>
                  <c:pt idx="1768">
                    <c:v>Rolling Stdev (30 Minute)</c:v>
                  </c:pt>
                  <c:pt idx="1769">
                    <c:v>Rolling Stdev (30 Minute)</c:v>
                  </c:pt>
                  <c:pt idx="1770">
                    <c:v>Rolling Stdev (30 Minute)</c:v>
                  </c:pt>
                  <c:pt idx="1771">
                    <c:v>Rolling Stdev (30 Minute)</c:v>
                  </c:pt>
                  <c:pt idx="1772">
                    <c:v>Rolling Stdev (30 Minute)</c:v>
                  </c:pt>
                  <c:pt idx="1773">
                    <c:v>Rolling Stdev (30 Minute)</c:v>
                  </c:pt>
                  <c:pt idx="1774">
                    <c:v>Rolling Stdev (30 Minute)</c:v>
                  </c:pt>
                  <c:pt idx="1775">
                    <c:v>Rolling Stdev (30 Minute)</c:v>
                  </c:pt>
                  <c:pt idx="1776">
                    <c:v>Rolling Stdev (30 Minute)</c:v>
                  </c:pt>
                  <c:pt idx="1777">
                    <c:v>Rolling Stdev (30 Minute)</c:v>
                  </c:pt>
                  <c:pt idx="1778">
                    <c:v>Rolling Stdev (30 Minute)</c:v>
                  </c:pt>
                  <c:pt idx="1779">
                    <c:v>Rolling Stdev (30 Minute)</c:v>
                  </c:pt>
                  <c:pt idx="1780">
                    <c:v>Rolling Stdev (30 Minute)</c:v>
                  </c:pt>
                  <c:pt idx="1781">
                    <c:v>Rolling Stdev (30 Minute)</c:v>
                  </c:pt>
                  <c:pt idx="1782">
                    <c:v>Rolling Stdev (30 Minute)</c:v>
                  </c:pt>
                  <c:pt idx="1783">
                    <c:v>Rolling Stdev (30 Minute)</c:v>
                  </c:pt>
                  <c:pt idx="1784">
                    <c:v>Rolling Stdev (30 Minute)</c:v>
                  </c:pt>
                  <c:pt idx="1785">
                    <c:v>Rolling Stdev (30 Minute)</c:v>
                  </c:pt>
                  <c:pt idx="1786">
                    <c:v>Rolling Stdev (30 Minute)</c:v>
                  </c:pt>
                  <c:pt idx="1787">
                    <c:v>Rolling Stdev (30 Minute)</c:v>
                  </c:pt>
                  <c:pt idx="1788">
                    <c:v>Rolling Stdev (30 Minute)</c:v>
                  </c:pt>
                  <c:pt idx="1789">
                    <c:v>Rolling Stdev (30 Minute)</c:v>
                  </c:pt>
                  <c:pt idx="1790">
                    <c:v>Rolling Stdev (30 Minute)</c:v>
                  </c:pt>
                  <c:pt idx="1791">
                    <c:v>Rolling Stdev (30 Minute)</c:v>
                  </c:pt>
                  <c:pt idx="1792">
                    <c:v>Rolling Stdev (30 Minute)</c:v>
                  </c:pt>
                  <c:pt idx="1793">
                    <c:v>Rolling Stdev (30 Minute)</c:v>
                  </c:pt>
                  <c:pt idx="1794">
                    <c:v>Rolling Stdev (30 Minute)</c:v>
                  </c:pt>
                  <c:pt idx="1795">
                    <c:v>Rolling Stdev (30 Minute)</c:v>
                  </c:pt>
                  <c:pt idx="1796">
                    <c:v>Rolling Stdev (30 Minute)</c:v>
                  </c:pt>
                  <c:pt idx="1797">
                    <c:v>Rolling Stdev (30 Minute)</c:v>
                  </c:pt>
                  <c:pt idx="1798">
                    <c:v>Rolling Stdev (30 Minute)</c:v>
                  </c:pt>
                  <c:pt idx="1799">
                    <c:v>Rolling Stdev (30 Minute)</c:v>
                  </c:pt>
                  <c:pt idx="1800">
                    <c:v>Rolling Stdev (30 Minute)</c:v>
                  </c:pt>
                  <c:pt idx="1801">
                    <c:v>Rolling Stdev (30 Minute)</c:v>
                  </c:pt>
                  <c:pt idx="1802">
                    <c:v>Rolling Stdev (30 Minute)</c:v>
                  </c:pt>
                  <c:pt idx="1803">
                    <c:v>Rolling Stdev (30 Minute)</c:v>
                  </c:pt>
                  <c:pt idx="1804">
                    <c:v>Rolling Stdev (30 Minute)</c:v>
                  </c:pt>
                  <c:pt idx="1805">
                    <c:v>Rolling Stdev (30 Minute)</c:v>
                  </c:pt>
                  <c:pt idx="1806">
                    <c:v>Rolling Stdev (30 Minute)</c:v>
                  </c:pt>
                  <c:pt idx="1807">
                    <c:v>Rolling Stdev (30 Minute)</c:v>
                  </c:pt>
                  <c:pt idx="1808">
                    <c:v>Rolling Stdev (30 Minute)</c:v>
                  </c:pt>
                  <c:pt idx="1809">
                    <c:v>Rolling Stdev (30 Minute)</c:v>
                  </c:pt>
                  <c:pt idx="1810">
                    <c:v>Rolling Stdev (30 Minute)</c:v>
                  </c:pt>
                  <c:pt idx="1811">
                    <c:v>Rolling Stdev (30 Minute)</c:v>
                  </c:pt>
                  <c:pt idx="1812">
                    <c:v>Rolling Stdev (30 Minute)</c:v>
                  </c:pt>
                  <c:pt idx="1813">
                    <c:v>Rolling Stdev (30 Minute)</c:v>
                  </c:pt>
                  <c:pt idx="1814">
                    <c:v>Rolling Stdev (30 Minute)</c:v>
                  </c:pt>
                  <c:pt idx="1815">
                    <c:v>Rolling Stdev (30 Minute)</c:v>
                  </c:pt>
                  <c:pt idx="1816">
                    <c:v>Rolling Stdev (30 Minute)</c:v>
                  </c:pt>
                  <c:pt idx="1817">
                    <c:v>Rolling Stdev (30 Minute)</c:v>
                  </c:pt>
                  <c:pt idx="1818">
                    <c:v>Rolling Stdev (30 Minute)</c:v>
                  </c:pt>
                  <c:pt idx="1819">
                    <c:v>Rolling Stdev (30 Minute)</c:v>
                  </c:pt>
                  <c:pt idx="1820">
                    <c:v>Rolling Stdev (30 Minute)</c:v>
                  </c:pt>
                  <c:pt idx="1821">
                    <c:v>Rolling Stdev (30 Minute)</c:v>
                  </c:pt>
                  <c:pt idx="1822">
                    <c:v>Rolling Stdev (30 Minute)</c:v>
                  </c:pt>
                  <c:pt idx="1823">
                    <c:v>Rolling Stdev (30 Minute)</c:v>
                  </c:pt>
                  <c:pt idx="1824">
                    <c:v>Rolling Stdev (30 Minute)</c:v>
                  </c:pt>
                  <c:pt idx="1825">
                    <c:v>Rolling Stdev (30 Minute)</c:v>
                  </c:pt>
                  <c:pt idx="1826">
                    <c:v>Rolling Stdev (30 Minute)</c:v>
                  </c:pt>
                  <c:pt idx="1827">
                    <c:v>Rolling Stdev (30 Minute)</c:v>
                  </c:pt>
                  <c:pt idx="1828">
                    <c:v>Rolling Stdev (30 Minute)</c:v>
                  </c:pt>
                  <c:pt idx="1829">
                    <c:v>Rolling Stdev (30 Minute)</c:v>
                  </c:pt>
                  <c:pt idx="1830">
                    <c:v>Rolling Stdev (30 Minute)</c:v>
                  </c:pt>
                  <c:pt idx="1831">
                    <c:v>Rolling Stdev (30 Minute)</c:v>
                  </c:pt>
                  <c:pt idx="1832">
                    <c:v>Rolling Stdev (30 Minute)</c:v>
                  </c:pt>
                  <c:pt idx="1833">
                    <c:v>Rolling Stdev (30 Minute)</c:v>
                  </c:pt>
                  <c:pt idx="1834">
                    <c:v>Rolling Stdev (30 Minute)</c:v>
                  </c:pt>
                  <c:pt idx="1835">
                    <c:v>Rolling Stdev (30 Minute)</c:v>
                  </c:pt>
                  <c:pt idx="1836">
                    <c:v>Rolling Stdev (30 Minute)</c:v>
                  </c:pt>
                  <c:pt idx="1837">
                    <c:v>Rolling Stdev (30 Minute)</c:v>
                  </c:pt>
                  <c:pt idx="1838">
                    <c:v>Rolling Stdev (30 Minute)</c:v>
                  </c:pt>
                  <c:pt idx="1839">
                    <c:v>Rolling Stdev (30 Minute)</c:v>
                  </c:pt>
                  <c:pt idx="1840">
                    <c:v>Rolling Stdev (30 Minute)</c:v>
                  </c:pt>
                  <c:pt idx="1841">
                    <c:v>Rolling Stdev (30 Minute)</c:v>
                  </c:pt>
                  <c:pt idx="1842">
                    <c:v>Rolling Stdev (30 Minute)</c:v>
                  </c:pt>
                  <c:pt idx="1843">
                    <c:v>Rolling Stdev (30 Minute)</c:v>
                  </c:pt>
                  <c:pt idx="1844">
                    <c:v>Rolling Stdev (30 Minute)</c:v>
                  </c:pt>
                  <c:pt idx="1845">
                    <c:v>Rolling Stdev (30 Minute)</c:v>
                  </c:pt>
                  <c:pt idx="1846">
                    <c:v>Rolling Stdev (30 Minute)</c:v>
                  </c:pt>
                  <c:pt idx="1847">
                    <c:v>Rolling Stdev (30 Minute)</c:v>
                  </c:pt>
                  <c:pt idx="1848">
                    <c:v>Rolling Stdev (30 Minute)</c:v>
                  </c:pt>
                  <c:pt idx="1849">
                    <c:v>Rolling Stdev (30 Minute)</c:v>
                  </c:pt>
                  <c:pt idx="1850">
                    <c:v>Rolling Stdev (30 Minute)</c:v>
                  </c:pt>
                  <c:pt idx="1851">
                    <c:v>Rolling Stdev (30 Minute)</c:v>
                  </c:pt>
                  <c:pt idx="1852">
                    <c:v>Rolling Stdev (30 Minute)</c:v>
                  </c:pt>
                  <c:pt idx="1853">
                    <c:v>Rolling Stdev (30 Minute)</c:v>
                  </c:pt>
                  <c:pt idx="1854">
                    <c:v>Rolling Stdev (30 Minute)</c:v>
                  </c:pt>
                  <c:pt idx="1855">
                    <c:v>Rolling Stdev (30 Minute)</c:v>
                  </c:pt>
                  <c:pt idx="1856">
                    <c:v>Rolling Stdev (30 Minute)</c:v>
                  </c:pt>
                  <c:pt idx="1857">
                    <c:v>Rolling Stdev (30 Minute)</c:v>
                  </c:pt>
                  <c:pt idx="1858">
                    <c:v>Rolling Stdev (30 Minute)</c:v>
                  </c:pt>
                  <c:pt idx="1859">
                    <c:v>Rolling Stdev (30 Minute)</c:v>
                  </c:pt>
                  <c:pt idx="1860">
                    <c:v>Rolling Stdev (30 Minute)</c:v>
                  </c:pt>
                  <c:pt idx="1861">
                    <c:v>Rolling Stdev (30 Minute)</c:v>
                  </c:pt>
                  <c:pt idx="1862">
                    <c:v>Rolling Stdev (30 Minute)</c:v>
                  </c:pt>
                  <c:pt idx="1863">
                    <c:v>Rolling Stdev (30 Minute)</c:v>
                  </c:pt>
                  <c:pt idx="1864">
                    <c:v>Rolling Stdev (30 Minute)</c:v>
                  </c:pt>
                  <c:pt idx="1865">
                    <c:v>Rolling Stdev (30 Minute)</c:v>
                  </c:pt>
                  <c:pt idx="1866">
                    <c:v>Rolling Stdev (30 Minute)</c:v>
                  </c:pt>
                  <c:pt idx="1867">
                    <c:v>Rolling Stdev (30 Minute)</c:v>
                  </c:pt>
                  <c:pt idx="1868">
                    <c:v>Rolling Stdev (30 Minute)</c:v>
                  </c:pt>
                  <c:pt idx="1869">
                    <c:v>Rolling Stdev (30 Minute)</c:v>
                  </c:pt>
                  <c:pt idx="1870">
                    <c:v>Rolling Stdev (30 Minute)</c:v>
                  </c:pt>
                  <c:pt idx="1871">
                    <c:v>Rolling Stdev (30 Minute)</c:v>
                  </c:pt>
                  <c:pt idx="1872">
                    <c:v>Rolling Stdev (30 Minute)</c:v>
                  </c:pt>
                  <c:pt idx="1873">
                    <c:v>Rolling Stdev (30 Minute)</c:v>
                  </c:pt>
                  <c:pt idx="1874">
                    <c:v>Rolling Stdev (30 Minute)</c:v>
                  </c:pt>
                  <c:pt idx="1875">
                    <c:v>Rolling Stdev (30 Minute)</c:v>
                  </c:pt>
                  <c:pt idx="1876">
                    <c:v>Rolling Stdev (30 Minute)</c:v>
                  </c:pt>
                  <c:pt idx="1877">
                    <c:v>Rolling Stdev (30 Minute)</c:v>
                  </c:pt>
                  <c:pt idx="1878">
                    <c:v>Rolling Stdev (30 Minute)</c:v>
                  </c:pt>
                  <c:pt idx="1879">
                    <c:v>Rolling Stdev (30 Minute)</c:v>
                  </c:pt>
                  <c:pt idx="1880">
                    <c:v>Rolling Stdev (30 Minute)</c:v>
                  </c:pt>
                  <c:pt idx="1881">
                    <c:v>Rolling Stdev (30 Minute)</c:v>
                  </c:pt>
                  <c:pt idx="1882">
                    <c:v>Rolling Stdev (30 Minute)</c:v>
                  </c:pt>
                  <c:pt idx="1883">
                    <c:v>Rolling Stdev (30 Minute)</c:v>
                  </c:pt>
                  <c:pt idx="1884">
                    <c:v>Rolling Stdev (30 Minute)</c:v>
                  </c:pt>
                  <c:pt idx="1885">
                    <c:v>Rolling Stdev (30 Minute)</c:v>
                  </c:pt>
                  <c:pt idx="1886">
                    <c:v>Rolling Stdev (30 Minute)</c:v>
                  </c:pt>
                  <c:pt idx="1887">
                    <c:v>Rolling Stdev (30 Minute)</c:v>
                  </c:pt>
                  <c:pt idx="1888">
                    <c:v>Rolling Stdev (30 Minute)</c:v>
                  </c:pt>
                  <c:pt idx="1889">
                    <c:v>Rolling Stdev (30 Minute)</c:v>
                  </c:pt>
                  <c:pt idx="1890">
                    <c:v>Rolling Stdev (30 Minute)</c:v>
                  </c:pt>
                  <c:pt idx="1891">
                    <c:v>Rolling Stdev (30 Minute)</c:v>
                  </c:pt>
                  <c:pt idx="1892">
                    <c:v>Rolling Stdev (30 Minute)</c:v>
                  </c:pt>
                  <c:pt idx="1893">
                    <c:v>Rolling Stdev (30 Minute)</c:v>
                  </c:pt>
                  <c:pt idx="1894">
                    <c:v>Rolling Stdev (30 Minute)</c:v>
                  </c:pt>
                  <c:pt idx="1895">
                    <c:v>Rolling Stdev (30 Minute)</c:v>
                  </c:pt>
                  <c:pt idx="1896">
                    <c:v>Rolling Stdev (30 Minute)</c:v>
                  </c:pt>
                  <c:pt idx="1897">
                    <c:v>Rolling Stdev (30 Minute)</c:v>
                  </c:pt>
                  <c:pt idx="1898">
                    <c:v>Rolling Stdev (30 Minute)</c:v>
                  </c:pt>
                  <c:pt idx="1899">
                    <c:v>Rolling Stdev (30 Minute)</c:v>
                  </c:pt>
                  <c:pt idx="1900">
                    <c:v>Rolling Stdev (30 Minute)</c:v>
                  </c:pt>
                  <c:pt idx="1901">
                    <c:v>Rolling Stdev (30 Minute)</c:v>
                  </c:pt>
                  <c:pt idx="1902">
                    <c:v>Rolling Stdev (30 Minute)</c:v>
                  </c:pt>
                  <c:pt idx="1903">
                    <c:v>Rolling Stdev (30 Minute)</c:v>
                  </c:pt>
                  <c:pt idx="1904">
                    <c:v>Rolling Stdev (30 Minute)</c:v>
                  </c:pt>
                  <c:pt idx="1905">
                    <c:v>Rolling Stdev (30 Minute)</c:v>
                  </c:pt>
                  <c:pt idx="1906">
                    <c:v>Rolling Stdev (30 Minute)</c:v>
                  </c:pt>
                  <c:pt idx="1907">
                    <c:v>Rolling Stdev (30 Minute)</c:v>
                  </c:pt>
                  <c:pt idx="1908">
                    <c:v>Rolling Stdev (30 Minute)</c:v>
                  </c:pt>
                  <c:pt idx="1909">
                    <c:v>Rolling Stdev (30 Minute)</c:v>
                  </c:pt>
                  <c:pt idx="1910">
                    <c:v>Rolling Stdev (30 Minute)</c:v>
                  </c:pt>
                  <c:pt idx="1911">
                    <c:v>Rolling Stdev (30 Minute)</c:v>
                  </c:pt>
                  <c:pt idx="1912">
                    <c:v>Rolling Stdev (30 Minute)</c:v>
                  </c:pt>
                  <c:pt idx="1913">
                    <c:v>Rolling Stdev (30 Minute)</c:v>
                  </c:pt>
                  <c:pt idx="1914">
                    <c:v>Rolling Stdev (30 Minute)</c:v>
                  </c:pt>
                  <c:pt idx="1915">
                    <c:v>Rolling Stdev (30 Minute)</c:v>
                  </c:pt>
                  <c:pt idx="1916">
                    <c:v>Rolling Stdev (30 Minute)</c:v>
                  </c:pt>
                  <c:pt idx="1917">
                    <c:v>Rolling Stdev (30 Minute)</c:v>
                  </c:pt>
                  <c:pt idx="1918">
                    <c:v>Rolling Stdev (30 Minute)</c:v>
                  </c:pt>
                  <c:pt idx="1919">
                    <c:v>Rolling Stdev (30 Minute)</c:v>
                  </c:pt>
                  <c:pt idx="1920">
                    <c:v>Rolling Stdev (30 Minute)</c:v>
                  </c:pt>
                  <c:pt idx="1921">
                    <c:v>Rolling Stdev (30 Minute)</c:v>
                  </c:pt>
                  <c:pt idx="1922">
                    <c:v>Rolling Stdev (30 Minute)</c:v>
                  </c:pt>
                  <c:pt idx="1923">
                    <c:v>Rolling Stdev (30 Minute)</c:v>
                  </c:pt>
                  <c:pt idx="1924">
                    <c:v>Rolling Stdev (30 Minute)</c:v>
                  </c:pt>
                  <c:pt idx="1925">
                    <c:v>Rolling Stdev (30 Minute)</c:v>
                  </c:pt>
                  <c:pt idx="1926">
                    <c:v>Rolling Stdev (30 Minute)</c:v>
                  </c:pt>
                  <c:pt idx="1927">
                    <c:v>Rolling Stdev (30 Minute)</c:v>
                  </c:pt>
                  <c:pt idx="1928">
                    <c:v>Rolling Stdev (30 Minute)</c:v>
                  </c:pt>
                  <c:pt idx="1929">
                    <c:v>Rolling Stdev (30 Minute)</c:v>
                  </c:pt>
                  <c:pt idx="1930">
                    <c:v>Rolling Stdev (30 Minute)</c:v>
                  </c:pt>
                  <c:pt idx="1931">
                    <c:v>Rolling Stdev (30 Minute)</c:v>
                  </c:pt>
                  <c:pt idx="1932">
                    <c:v>Rolling Stdev (30 Minute)</c:v>
                  </c:pt>
                  <c:pt idx="1933">
                    <c:v>Rolling Stdev (30 Minute)</c:v>
                  </c:pt>
                  <c:pt idx="1934">
                    <c:v>Rolling Stdev (30 Minute)</c:v>
                  </c:pt>
                  <c:pt idx="1935">
                    <c:v>Rolling Stdev (30 Minute)</c:v>
                  </c:pt>
                  <c:pt idx="1936">
                    <c:v>Rolling Stdev (30 Minute)</c:v>
                  </c:pt>
                  <c:pt idx="1937">
                    <c:v>Rolling Stdev (30 Minute)</c:v>
                  </c:pt>
                  <c:pt idx="1938">
                    <c:v>Rolling Stdev (30 Minute)</c:v>
                  </c:pt>
                  <c:pt idx="1939">
                    <c:v>Rolling Stdev (30 Minute)</c:v>
                  </c:pt>
                  <c:pt idx="1940">
                    <c:v>Rolling Stdev (30 Minute)</c:v>
                  </c:pt>
                  <c:pt idx="1941">
                    <c:v>Rolling Stdev (30 Minute)</c:v>
                  </c:pt>
                  <c:pt idx="1942">
                    <c:v>Rolling Stdev (30 Minute)</c:v>
                  </c:pt>
                  <c:pt idx="1943">
                    <c:v>Rolling Stdev (30 Minute)</c:v>
                  </c:pt>
                  <c:pt idx="1944">
                    <c:v>Rolling Stdev (30 Minute)</c:v>
                  </c:pt>
                  <c:pt idx="1945">
                    <c:v>Rolling Stdev (30 Minute)</c:v>
                  </c:pt>
                  <c:pt idx="1946">
                    <c:v>Rolling Stdev (30 Minute)</c:v>
                  </c:pt>
                  <c:pt idx="1947">
                    <c:v>Rolling Stdev (30 Minute)</c:v>
                  </c:pt>
                  <c:pt idx="1948">
                    <c:v>Rolling Stdev (30 Minute)</c:v>
                  </c:pt>
                  <c:pt idx="1949">
                    <c:v>Rolling Stdev (30 Minute)</c:v>
                  </c:pt>
                  <c:pt idx="1950">
                    <c:v>Rolling Stdev (30 Minute)</c:v>
                  </c:pt>
                  <c:pt idx="1951">
                    <c:v>Rolling Stdev (30 Minute)</c:v>
                  </c:pt>
                  <c:pt idx="1952">
                    <c:v>Rolling Stdev (30 Minute)</c:v>
                  </c:pt>
                  <c:pt idx="1953">
                    <c:v>Rolling Stdev (30 Minute)</c:v>
                  </c:pt>
                  <c:pt idx="1954">
                    <c:v>Rolling Stdev (30 Minute)</c:v>
                  </c:pt>
                  <c:pt idx="1955">
                    <c:v>Rolling Stdev (30 Minute)</c:v>
                  </c:pt>
                  <c:pt idx="1956">
                    <c:v>Rolling Stdev (30 Minute)</c:v>
                  </c:pt>
                  <c:pt idx="1957">
                    <c:v>Rolling Stdev (30 Minute)</c:v>
                  </c:pt>
                  <c:pt idx="1958">
                    <c:v>Rolling Stdev (30 Minute)</c:v>
                  </c:pt>
                  <c:pt idx="1959">
                    <c:v>Rolling Stdev (30 Minute)</c:v>
                  </c:pt>
                  <c:pt idx="1960">
                    <c:v>Rolling Stdev (30 Minute)</c:v>
                  </c:pt>
                  <c:pt idx="1961">
                    <c:v>Rolling Stdev (30 Minute)</c:v>
                  </c:pt>
                  <c:pt idx="1962">
                    <c:v>Rolling Stdev (30 Minute)</c:v>
                  </c:pt>
                  <c:pt idx="1963">
                    <c:v>Rolling Stdev (30 Minute)</c:v>
                  </c:pt>
                  <c:pt idx="1964">
                    <c:v>Rolling Stdev (30 Minute)</c:v>
                  </c:pt>
                  <c:pt idx="1965">
                    <c:v>Rolling Stdev (30 Minute)</c:v>
                  </c:pt>
                  <c:pt idx="1966">
                    <c:v>Rolling Stdev (30 Minute)</c:v>
                  </c:pt>
                  <c:pt idx="1967">
                    <c:v>Rolling Stdev (30 Minute)</c:v>
                  </c:pt>
                  <c:pt idx="1968">
                    <c:v>Rolling Stdev (30 Minute)</c:v>
                  </c:pt>
                  <c:pt idx="1969">
                    <c:v>Rolling Stdev (30 Minute)</c:v>
                  </c:pt>
                  <c:pt idx="1970">
                    <c:v>Rolling Stdev (30 Minute)</c:v>
                  </c:pt>
                  <c:pt idx="1971">
                    <c:v>Rolling Stdev (30 Minute)</c:v>
                  </c:pt>
                  <c:pt idx="1972">
                    <c:v>Rolling Stdev (30 Minute)</c:v>
                  </c:pt>
                  <c:pt idx="1973">
                    <c:v>Rolling Stdev (30 Minute)</c:v>
                  </c:pt>
                  <c:pt idx="1974">
                    <c:v>Rolling Stdev (30 Minute)</c:v>
                  </c:pt>
                  <c:pt idx="1975">
                    <c:v>Rolling Stdev (30 Minute)</c:v>
                  </c:pt>
                  <c:pt idx="1976">
                    <c:v>Rolling Stdev (30 Minute)</c:v>
                  </c:pt>
                  <c:pt idx="1977">
                    <c:v>Rolling Stdev (30 Minute)</c:v>
                  </c:pt>
                  <c:pt idx="1978">
                    <c:v>Rolling Stdev (30 Minute)</c:v>
                  </c:pt>
                  <c:pt idx="1979">
                    <c:v>Rolling Stdev (30 Minute)</c:v>
                  </c:pt>
                  <c:pt idx="1980">
                    <c:v>Rolling Stdev (30 Minute)</c:v>
                  </c:pt>
                  <c:pt idx="1981">
                    <c:v>Rolling Stdev (30 Minute)</c:v>
                  </c:pt>
                  <c:pt idx="1982">
                    <c:v>Rolling Stdev (30 Minute)</c:v>
                  </c:pt>
                  <c:pt idx="1983">
                    <c:v>Rolling Stdev (30 Minute)</c:v>
                  </c:pt>
                  <c:pt idx="1984">
                    <c:v>Rolling Stdev (30 Minute)</c:v>
                  </c:pt>
                  <c:pt idx="1985">
                    <c:v>Rolling Stdev (30 Minute)</c:v>
                  </c:pt>
                  <c:pt idx="1986">
                    <c:v>Rolling Stdev (30 Minute)</c:v>
                  </c:pt>
                  <c:pt idx="1987">
                    <c:v>Rolling Stdev (30 Minute)</c:v>
                  </c:pt>
                  <c:pt idx="1988">
                    <c:v>Rolling Stdev (30 Minute)</c:v>
                  </c:pt>
                  <c:pt idx="1989">
                    <c:v>Rolling Stdev (30 Minute)</c:v>
                  </c:pt>
                  <c:pt idx="1990">
                    <c:v>Rolling Stdev (30 Minute)</c:v>
                  </c:pt>
                  <c:pt idx="1991">
                    <c:v>Rolling Stdev (30 Minute)</c:v>
                  </c:pt>
                  <c:pt idx="1992">
                    <c:v>Rolling Stdev (30 Minute)</c:v>
                  </c:pt>
                  <c:pt idx="1993">
                    <c:v>Rolling Stdev (30 Minute)</c:v>
                  </c:pt>
                  <c:pt idx="1994">
                    <c:v>Rolling Stdev (30 Minute)</c:v>
                  </c:pt>
                  <c:pt idx="1995">
                    <c:v>Rolling Stdev (30 Minute)</c:v>
                  </c:pt>
                  <c:pt idx="1996">
                    <c:v>Rolling Stdev (30 Minute)</c:v>
                  </c:pt>
                  <c:pt idx="1997">
                    <c:v>Rolling Stdev (30 Minute)</c:v>
                  </c:pt>
                  <c:pt idx="1998">
                    <c:v>Rolling Stdev (30 Minute)</c:v>
                  </c:pt>
                  <c:pt idx="1999">
                    <c:v>Rolling Stdev (30 Minute)</c:v>
                  </c:pt>
                  <c:pt idx="2000">
                    <c:v>Rolling Stdev (30 Minute)</c:v>
                  </c:pt>
                  <c:pt idx="2001">
                    <c:v>Rolling Stdev (30 Minute)</c:v>
                  </c:pt>
                  <c:pt idx="2002">
                    <c:v>Rolling Stdev (30 Minute)</c:v>
                  </c:pt>
                  <c:pt idx="2003">
                    <c:v>Rolling Stdev (30 Minute)</c:v>
                  </c:pt>
                  <c:pt idx="2004">
                    <c:v>Rolling Stdev (30 Minute)</c:v>
                  </c:pt>
                  <c:pt idx="2005">
                    <c:v>Rolling Stdev (30 Minute)</c:v>
                  </c:pt>
                  <c:pt idx="2006">
                    <c:v>Rolling Stdev (30 Minute)</c:v>
                  </c:pt>
                  <c:pt idx="2007">
                    <c:v>Rolling Stdev (30 Minute)</c:v>
                  </c:pt>
                  <c:pt idx="2008">
                    <c:v>Rolling Stdev (30 Minute)</c:v>
                  </c:pt>
                  <c:pt idx="2009">
                    <c:v>Rolling Stdev (30 Minute)</c:v>
                  </c:pt>
                  <c:pt idx="2010">
                    <c:v>Rolling Stdev (30 Minute)</c:v>
                  </c:pt>
                  <c:pt idx="2011">
                    <c:v>Rolling Stdev (30 Minute)</c:v>
                  </c:pt>
                  <c:pt idx="2012">
                    <c:v>Rolling Stdev (30 Minute)</c:v>
                  </c:pt>
                  <c:pt idx="2013">
                    <c:v>Rolling Stdev (30 Minute)</c:v>
                  </c:pt>
                  <c:pt idx="2014">
                    <c:v>Rolling Stdev (30 Minute)</c:v>
                  </c:pt>
                  <c:pt idx="2015">
                    <c:v>Rolling Stdev (30 Minute)</c:v>
                  </c:pt>
                  <c:pt idx="2016">
                    <c:v>Rolling Stdev (30 Minute)</c:v>
                  </c:pt>
                  <c:pt idx="2017">
                    <c:v>Rolling Stdev (30 Minute)</c:v>
                  </c:pt>
                  <c:pt idx="2018">
                    <c:v>Rolling Stdev (30 Minute)</c:v>
                  </c:pt>
                  <c:pt idx="2019">
                    <c:v>Rolling Stdev (30 Minute)</c:v>
                  </c:pt>
                  <c:pt idx="2020">
                    <c:v>Rolling Stdev (30 Minute)</c:v>
                  </c:pt>
                  <c:pt idx="2021">
                    <c:v>Rolling Stdev (30 Minute)</c:v>
                  </c:pt>
                  <c:pt idx="2022">
                    <c:v>Rolling Stdev (30 Minute)</c:v>
                  </c:pt>
                  <c:pt idx="2023">
                    <c:v>Rolling Stdev (30 Minute)</c:v>
                  </c:pt>
                  <c:pt idx="2024">
                    <c:v>Rolling Stdev (30 Minute)</c:v>
                  </c:pt>
                  <c:pt idx="2025">
                    <c:v>Rolling Stdev (30 Minute)</c:v>
                  </c:pt>
                  <c:pt idx="2026">
                    <c:v>Rolling Stdev (30 Minute)</c:v>
                  </c:pt>
                  <c:pt idx="2027">
                    <c:v>Rolling Stdev (30 Minute)</c:v>
                  </c:pt>
                  <c:pt idx="2028">
                    <c:v>Rolling Stdev (30 Minute)</c:v>
                  </c:pt>
                  <c:pt idx="2029">
                    <c:v>Rolling Stdev (30 Minute)</c:v>
                  </c:pt>
                  <c:pt idx="2030">
                    <c:v>Rolling Stdev (30 Minute)</c:v>
                  </c:pt>
                  <c:pt idx="2031">
                    <c:v>Rolling Stdev (30 Minute)</c:v>
                  </c:pt>
                  <c:pt idx="2032">
                    <c:v>Rolling Stdev (30 Minute)</c:v>
                  </c:pt>
                  <c:pt idx="2033">
                    <c:v>Rolling Stdev (30 Minute)</c:v>
                  </c:pt>
                  <c:pt idx="2034">
                    <c:v>Rolling Stdev (30 Minute)</c:v>
                  </c:pt>
                  <c:pt idx="2035">
                    <c:v>Rolling Stdev (30 Minute)</c:v>
                  </c:pt>
                  <c:pt idx="2036">
                    <c:v>Rolling Stdev (30 Minute)</c:v>
                  </c:pt>
                  <c:pt idx="2037">
                    <c:v>Rolling Stdev (30 Minute)</c:v>
                  </c:pt>
                  <c:pt idx="2038">
                    <c:v>Rolling Stdev (30 Minute)</c:v>
                  </c:pt>
                  <c:pt idx="2039">
                    <c:v>Rolling Stdev (30 Minute)</c:v>
                  </c:pt>
                  <c:pt idx="2040">
                    <c:v>Rolling Stdev (30 Minute)</c:v>
                  </c:pt>
                  <c:pt idx="2041">
                    <c:v>Rolling Stdev (30 Minute)</c:v>
                  </c:pt>
                  <c:pt idx="2042">
                    <c:v>Rolling Stdev (30 Minute)</c:v>
                  </c:pt>
                  <c:pt idx="2043">
                    <c:v>Rolling Stdev (30 Minute)</c:v>
                  </c:pt>
                  <c:pt idx="2044">
                    <c:v>Rolling Stdev (30 Minute)</c:v>
                  </c:pt>
                  <c:pt idx="2045">
                    <c:v>Rolling Stdev (30 Minute)</c:v>
                  </c:pt>
                  <c:pt idx="2046">
                    <c:v>Rolling Stdev (30 Minute)</c:v>
                  </c:pt>
                  <c:pt idx="2047">
                    <c:v>Rolling Stdev (30 Minute)</c:v>
                  </c:pt>
                  <c:pt idx="2048">
                    <c:v>Rolling Stdev (30 Minute)</c:v>
                  </c:pt>
                  <c:pt idx="2049">
                    <c:v>Rolling Stdev (30 Minute)</c:v>
                  </c:pt>
                  <c:pt idx="2050">
                    <c:v>Rolling Stdev (30 Minute)</c:v>
                  </c:pt>
                  <c:pt idx="2051">
                    <c:v>Rolling Stdev (30 Minute)</c:v>
                  </c:pt>
                  <c:pt idx="2052">
                    <c:v>Rolling Stdev (30 Minute)</c:v>
                  </c:pt>
                  <c:pt idx="2053">
                    <c:v>Rolling Stdev (30 Minute)</c:v>
                  </c:pt>
                  <c:pt idx="2054">
                    <c:v>Rolling Stdev (30 Minute)</c:v>
                  </c:pt>
                  <c:pt idx="2055">
                    <c:v>Rolling Stdev (30 Minute)</c:v>
                  </c:pt>
                  <c:pt idx="2056">
                    <c:v>Rolling Stdev (30 Minute)</c:v>
                  </c:pt>
                  <c:pt idx="2057">
                    <c:v>Rolling Stdev (30 Minute)</c:v>
                  </c:pt>
                  <c:pt idx="2058">
                    <c:v>Rolling Stdev (30 Minute)</c:v>
                  </c:pt>
                  <c:pt idx="2059">
                    <c:v>Rolling Stdev (30 Minute)</c:v>
                  </c:pt>
                  <c:pt idx="2060">
                    <c:v>Rolling Stdev (30 Minute)</c:v>
                  </c:pt>
                  <c:pt idx="2061">
                    <c:v>Rolling Stdev (30 Minute)</c:v>
                  </c:pt>
                  <c:pt idx="2062">
                    <c:v>Rolling Stdev (30 Minute)</c:v>
                  </c:pt>
                  <c:pt idx="2063">
                    <c:v>Rolling Stdev (30 Minute)</c:v>
                  </c:pt>
                  <c:pt idx="2064">
                    <c:v>Rolling Stdev (30 Minute)</c:v>
                  </c:pt>
                  <c:pt idx="2065">
                    <c:v>Rolling Stdev (30 Minute)</c:v>
                  </c:pt>
                  <c:pt idx="2066">
                    <c:v>Rolling Stdev (30 Minute)</c:v>
                  </c:pt>
                  <c:pt idx="2067">
                    <c:v>Rolling Stdev (30 Minute)</c:v>
                  </c:pt>
                  <c:pt idx="2068">
                    <c:v>Rolling Stdev (30 Minute)</c:v>
                  </c:pt>
                  <c:pt idx="2069">
                    <c:v>Rolling Stdev (30 Minute)</c:v>
                  </c:pt>
                  <c:pt idx="2070">
                    <c:v>Rolling Stdev (30 Minute)</c:v>
                  </c:pt>
                  <c:pt idx="2071">
                    <c:v>Rolling Stdev (30 Minute)</c:v>
                  </c:pt>
                  <c:pt idx="2072">
                    <c:v>Rolling Stdev (30 Minute)</c:v>
                  </c:pt>
                  <c:pt idx="2073">
                    <c:v>Rolling Stdev (30 Minute)</c:v>
                  </c:pt>
                  <c:pt idx="2074">
                    <c:v>Rolling Stdev (30 Minute)</c:v>
                  </c:pt>
                  <c:pt idx="2075">
                    <c:v>Rolling Stdev (30 Minute)</c:v>
                  </c:pt>
                  <c:pt idx="2076">
                    <c:v>Rolling Stdev (30 Minute)</c:v>
                  </c:pt>
                  <c:pt idx="2077">
                    <c:v>Rolling Stdev (30 Minute)</c:v>
                  </c:pt>
                  <c:pt idx="2078">
                    <c:v>Rolling Stdev (30 Minute)</c:v>
                  </c:pt>
                  <c:pt idx="2079">
                    <c:v>Rolling Stdev (30 Minute)</c:v>
                  </c:pt>
                  <c:pt idx="2080">
                    <c:v>Rolling Stdev (30 Minute)</c:v>
                  </c:pt>
                  <c:pt idx="2081">
                    <c:v>Rolling Stdev (30 Minute)</c:v>
                  </c:pt>
                  <c:pt idx="2082">
                    <c:v>Rolling Stdev (30 Minute)</c:v>
                  </c:pt>
                  <c:pt idx="2083">
                    <c:v>Rolling Stdev (30 Minute)</c:v>
                  </c:pt>
                  <c:pt idx="2084">
                    <c:v>Rolling Stdev (30 Minute)</c:v>
                  </c:pt>
                  <c:pt idx="2085">
                    <c:v>Rolling Stdev (30 Minute)</c:v>
                  </c:pt>
                  <c:pt idx="2086">
                    <c:v>Rolling Stdev (30 Minute)</c:v>
                  </c:pt>
                  <c:pt idx="2087">
                    <c:v>Rolling Stdev (30 Minute)</c:v>
                  </c:pt>
                  <c:pt idx="2088">
                    <c:v>Rolling Stdev (30 Minute)</c:v>
                  </c:pt>
                  <c:pt idx="2089">
                    <c:v>Rolling Stdev (30 Minute)</c:v>
                  </c:pt>
                  <c:pt idx="2090">
                    <c:v>Rolling Stdev (30 Minute)</c:v>
                  </c:pt>
                  <c:pt idx="2091">
                    <c:v>Rolling Stdev (30 Minute)</c:v>
                  </c:pt>
                  <c:pt idx="2092">
                    <c:v>Rolling Stdev (30 Minute)</c:v>
                  </c:pt>
                  <c:pt idx="2093">
                    <c:v>Rolling Stdev (30 Minute)</c:v>
                  </c:pt>
                  <c:pt idx="2094">
                    <c:v>Rolling Stdev (30 Minute)</c:v>
                  </c:pt>
                  <c:pt idx="2095">
                    <c:v>Rolling Stdev (30 Minute)</c:v>
                  </c:pt>
                  <c:pt idx="2096">
                    <c:v>Rolling Stdev (30 Minute)</c:v>
                  </c:pt>
                  <c:pt idx="2097">
                    <c:v>Rolling Stdev (30 Minute)</c:v>
                  </c:pt>
                  <c:pt idx="2098">
                    <c:v>Rolling Stdev (30 Minute)</c:v>
                  </c:pt>
                  <c:pt idx="2099">
                    <c:v>Rolling Stdev (30 Minute)</c:v>
                  </c:pt>
                  <c:pt idx="2100">
                    <c:v>Rolling Stdev (30 Minute)</c:v>
                  </c:pt>
                  <c:pt idx="2101">
                    <c:v>Rolling Stdev (30 Minute)</c:v>
                  </c:pt>
                  <c:pt idx="2102">
                    <c:v>Rolling Stdev (30 Minute)</c:v>
                  </c:pt>
                  <c:pt idx="2103">
                    <c:v>Rolling Stdev (30 Minute)</c:v>
                  </c:pt>
                  <c:pt idx="2104">
                    <c:v>Rolling Stdev (30 Minute)</c:v>
                  </c:pt>
                  <c:pt idx="2105">
                    <c:v>Rolling Stdev (30 Minute)</c:v>
                  </c:pt>
                  <c:pt idx="2106">
                    <c:v>Rolling Stdev (30 Minute)</c:v>
                  </c:pt>
                  <c:pt idx="2107">
                    <c:v>Rolling Stdev (30 Minute)</c:v>
                  </c:pt>
                  <c:pt idx="2108">
                    <c:v>Rolling Stdev (30 Minute)</c:v>
                  </c:pt>
                  <c:pt idx="2109">
                    <c:v>Rolling Stdev (30 Minute)</c:v>
                  </c:pt>
                  <c:pt idx="2110">
                    <c:v>Rolling Stdev (30 Minute)</c:v>
                  </c:pt>
                  <c:pt idx="2111">
                    <c:v>Rolling Stdev (30 Minute)</c:v>
                  </c:pt>
                  <c:pt idx="2112">
                    <c:v>Rolling Stdev (30 Minute)</c:v>
                  </c:pt>
                  <c:pt idx="2113">
                    <c:v>Rolling Stdev (30 Minute)</c:v>
                  </c:pt>
                  <c:pt idx="2114">
                    <c:v>Rolling Stdev (30 Minute)</c:v>
                  </c:pt>
                  <c:pt idx="2115">
                    <c:v>Rolling Stdev (30 Minute)</c:v>
                  </c:pt>
                  <c:pt idx="2116">
                    <c:v>Rolling Stdev (30 Minute)</c:v>
                  </c:pt>
                  <c:pt idx="2117">
                    <c:v>Rolling Stdev (30 Minute)</c:v>
                  </c:pt>
                  <c:pt idx="2118">
                    <c:v>Rolling Stdev (30 Minute)</c:v>
                  </c:pt>
                  <c:pt idx="2119">
                    <c:v>Rolling Stdev (30 Minute)</c:v>
                  </c:pt>
                  <c:pt idx="2120">
                    <c:v>Rolling Stdev (30 Minute)</c:v>
                  </c:pt>
                  <c:pt idx="2121">
                    <c:v>Rolling Stdev (30 Minute)</c:v>
                  </c:pt>
                  <c:pt idx="2122">
                    <c:v>Rolling Stdev (30 Minute)</c:v>
                  </c:pt>
                  <c:pt idx="2123">
                    <c:v>Rolling Stdev (30 Minute)</c:v>
                  </c:pt>
                  <c:pt idx="2124">
                    <c:v>Rolling Stdev (30 Minute)</c:v>
                  </c:pt>
                  <c:pt idx="2125">
                    <c:v>Rolling Stdev (30 Minute)</c:v>
                  </c:pt>
                  <c:pt idx="2126">
                    <c:v>Rolling Stdev (30 Minute)</c:v>
                  </c:pt>
                  <c:pt idx="2127">
                    <c:v>Rolling Stdev (30 Minute)</c:v>
                  </c:pt>
                  <c:pt idx="2128">
                    <c:v>Rolling Stdev (30 Minute)</c:v>
                  </c:pt>
                  <c:pt idx="2129">
                    <c:v>Rolling Stdev (30 Minute)</c:v>
                  </c:pt>
                  <c:pt idx="2130">
                    <c:v>Rolling Stdev (30 Minute)</c:v>
                  </c:pt>
                  <c:pt idx="2131">
                    <c:v>Rolling Stdev (30 Minute)</c:v>
                  </c:pt>
                  <c:pt idx="2132">
                    <c:v>Rolling Stdev (30 Minute)</c:v>
                  </c:pt>
                  <c:pt idx="2133">
                    <c:v>Rolling Stdev (30 Minute)</c:v>
                  </c:pt>
                  <c:pt idx="2134">
                    <c:v>Rolling Stdev (30 Minute)</c:v>
                  </c:pt>
                  <c:pt idx="2135">
                    <c:v>Rolling Stdev (30 Minute)</c:v>
                  </c:pt>
                  <c:pt idx="2136">
                    <c:v>Rolling Stdev (30 Minute)</c:v>
                  </c:pt>
                  <c:pt idx="2137">
                    <c:v>Rolling Stdev (30 Minute)</c:v>
                  </c:pt>
                  <c:pt idx="2138">
                    <c:v>Rolling Stdev (30 Minute)</c:v>
                  </c:pt>
                  <c:pt idx="2139">
                    <c:v>Rolling Stdev (30 Minute)</c:v>
                  </c:pt>
                  <c:pt idx="2140">
                    <c:v>Rolling Stdev (30 Minute)</c:v>
                  </c:pt>
                  <c:pt idx="2141">
                    <c:v>Rolling Stdev (30 Minute)</c:v>
                  </c:pt>
                  <c:pt idx="2142">
                    <c:v>Rolling Stdev (30 Minute)</c:v>
                  </c:pt>
                  <c:pt idx="2143">
                    <c:v>Rolling Stdev (30 Minute)</c:v>
                  </c:pt>
                  <c:pt idx="2144">
                    <c:v>Rolling Stdev (30 Minute)</c:v>
                  </c:pt>
                  <c:pt idx="2145">
                    <c:v>Rolling Stdev (30 Minute)</c:v>
                  </c:pt>
                  <c:pt idx="2146">
                    <c:v>Rolling Stdev (30 Minute)</c:v>
                  </c:pt>
                  <c:pt idx="2147">
                    <c:v>Rolling Stdev (30 Minute)</c:v>
                  </c:pt>
                  <c:pt idx="2148">
                    <c:v>Rolling Stdev (30 Minute)</c:v>
                  </c:pt>
                  <c:pt idx="2149">
                    <c:v>Rolling Stdev (30 Minute)</c:v>
                  </c:pt>
                  <c:pt idx="2150">
                    <c:v>Rolling Stdev (30 Minute)</c:v>
                  </c:pt>
                  <c:pt idx="2151">
                    <c:v>Rolling Stdev (30 Minute)</c:v>
                  </c:pt>
                  <c:pt idx="2152">
                    <c:v>Rolling Stdev (30 Minute)</c:v>
                  </c:pt>
                  <c:pt idx="2153">
                    <c:v>Rolling Stdev (30 Minute)</c:v>
                  </c:pt>
                  <c:pt idx="2154">
                    <c:v>Rolling Stdev (30 Minute)</c:v>
                  </c:pt>
                  <c:pt idx="2155">
                    <c:v>Rolling Stdev (30 Minute)</c:v>
                  </c:pt>
                  <c:pt idx="2156">
                    <c:v>Rolling Stdev (30 Minute)</c:v>
                  </c:pt>
                  <c:pt idx="2157">
                    <c:v>Rolling Stdev (30 Minute)</c:v>
                  </c:pt>
                  <c:pt idx="2158">
                    <c:v>Rolling Stdev (30 Minute)</c:v>
                  </c:pt>
                  <c:pt idx="2159">
                    <c:v>Rolling Stdev (30 Minute)</c:v>
                  </c:pt>
                  <c:pt idx="2160">
                    <c:v>Rolling Stdev (30 Minute)</c:v>
                  </c:pt>
                  <c:pt idx="2161">
                    <c:v>Rolling Stdev (30 Minute)</c:v>
                  </c:pt>
                  <c:pt idx="2162">
                    <c:v>Rolling Stdev (30 Minute)</c:v>
                  </c:pt>
                  <c:pt idx="2163">
                    <c:v>Rolling Stdev (30 Minute)</c:v>
                  </c:pt>
                  <c:pt idx="2164">
                    <c:v>Rolling Stdev (30 Minute)</c:v>
                  </c:pt>
                  <c:pt idx="2165">
                    <c:v>Rolling Stdev (30 Minute)</c:v>
                  </c:pt>
                  <c:pt idx="2166">
                    <c:v>Rolling Stdev (30 Minute)</c:v>
                  </c:pt>
                  <c:pt idx="2167">
                    <c:v>Rolling Stdev (30 Minute)</c:v>
                  </c:pt>
                  <c:pt idx="2168">
                    <c:v>Rolling Stdev (30 Minute)</c:v>
                  </c:pt>
                  <c:pt idx="2169">
                    <c:v>Rolling Stdev (30 Minute)</c:v>
                  </c:pt>
                  <c:pt idx="2170">
                    <c:v>Rolling Stdev (30 Minute)</c:v>
                  </c:pt>
                  <c:pt idx="2171">
                    <c:v>Rolling Stdev (30 Minute)</c:v>
                  </c:pt>
                  <c:pt idx="2172">
                    <c:v>Rolling Stdev (30 Minute)</c:v>
                  </c:pt>
                  <c:pt idx="2173">
                    <c:v>Rolling Stdev (30 Minute)</c:v>
                  </c:pt>
                  <c:pt idx="2174">
                    <c:v>Rolling Stdev (30 Minute)</c:v>
                  </c:pt>
                  <c:pt idx="2175">
                    <c:v>Rolling Stdev (30 Minute)</c:v>
                  </c:pt>
                  <c:pt idx="2176">
                    <c:v>Rolling Stdev (30 Minute)</c:v>
                  </c:pt>
                  <c:pt idx="2177">
                    <c:v>Rolling Stdev (30 Minute)</c:v>
                  </c:pt>
                  <c:pt idx="2178">
                    <c:v>Rolling Stdev (30 Minute)</c:v>
                  </c:pt>
                  <c:pt idx="2179">
                    <c:v>Rolling Stdev (30 Minute)</c:v>
                  </c:pt>
                  <c:pt idx="2180">
                    <c:v>Rolling Stdev (30 Minute)</c:v>
                  </c:pt>
                  <c:pt idx="2181">
                    <c:v>Rolling Stdev (30 Minute)</c:v>
                  </c:pt>
                  <c:pt idx="2182">
                    <c:v>Rolling Stdev (30 Minute)</c:v>
                  </c:pt>
                  <c:pt idx="2183">
                    <c:v>Rolling Stdev (30 Minute)</c:v>
                  </c:pt>
                  <c:pt idx="2184">
                    <c:v>Rolling Stdev (30 Minute)</c:v>
                  </c:pt>
                  <c:pt idx="2185">
                    <c:v>Rolling Stdev (30 Minute)</c:v>
                  </c:pt>
                  <c:pt idx="2186">
                    <c:v>Rolling Stdev (30 Minute)</c:v>
                  </c:pt>
                  <c:pt idx="2187">
                    <c:v>Rolling Stdev (30 Minute)</c:v>
                  </c:pt>
                  <c:pt idx="2188">
                    <c:v>Rolling Stdev (30 Minute)</c:v>
                  </c:pt>
                  <c:pt idx="2189">
                    <c:v>Rolling Stdev (30 Minute)</c:v>
                  </c:pt>
                  <c:pt idx="2190">
                    <c:v>Rolling Stdev (30 Minute)</c:v>
                  </c:pt>
                  <c:pt idx="2191">
                    <c:v>Rolling Stdev (30 Minute)</c:v>
                  </c:pt>
                  <c:pt idx="2192">
                    <c:v>Rolling Stdev (30 Minute)</c:v>
                  </c:pt>
                  <c:pt idx="2193">
                    <c:v>Rolling Stdev (30 Minute)</c:v>
                  </c:pt>
                  <c:pt idx="2194">
                    <c:v>Rolling Stdev (30 Minute)</c:v>
                  </c:pt>
                  <c:pt idx="2195">
                    <c:v>Rolling Stdev (30 Minute)</c:v>
                  </c:pt>
                  <c:pt idx="2196">
                    <c:v>Rolling Stdev (30 Minute)</c:v>
                  </c:pt>
                  <c:pt idx="2197">
                    <c:v>Rolling Stdev (30 Minute)</c:v>
                  </c:pt>
                  <c:pt idx="2198">
                    <c:v>Rolling Stdev (30 Minute)</c:v>
                  </c:pt>
                  <c:pt idx="2199">
                    <c:v>Rolling Stdev (30 Minute)</c:v>
                  </c:pt>
                  <c:pt idx="2200">
                    <c:v>Rolling Stdev (30 Minute)</c:v>
                  </c:pt>
                  <c:pt idx="2201">
                    <c:v>Rolling Stdev (30 Minute)</c:v>
                  </c:pt>
                  <c:pt idx="2202">
                    <c:v>Rolling Stdev (30 Minute)</c:v>
                  </c:pt>
                  <c:pt idx="2203">
                    <c:v>Rolling Stdev (30 Minute)</c:v>
                  </c:pt>
                  <c:pt idx="2204">
                    <c:v>Rolling Stdev (30 Minute)</c:v>
                  </c:pt>
                  <c:pt idx="2205">
                    <c:v>Rolling Stdev (30 Minute)</c:v>
                  </c:pt>
                  <c:pt idx="2206">
                    <c:v>Rolling Stdev (30 Minute)</c:v>
                  </c:pt>
                  <c:pt idx="2207">
                    <c:v>Rolling Stdev (30 Minute)</c:v>
                  </c:pt>
                  <c:pt idx="2208">
                    <c:v>Rolling Stdev (30 Minute)</c:v>
                  </c:pt>
                  <c:pt idx="2209">
                    <c:v>Rolling Stdev (30 Minute)</c:v>
                  </c:pt>
                  <c:pt idx="2210">
                    <c:v>Rolling Stdev (30 Minute)</c:v>
                  </c:pt>
                  <c:pt idx="2211">
                    <c:v>Rolling Stdev (30 Minute)</c:v>
                  </c:pt>
                  <c:pt idx="2212">
                    <c:v>Rolling Stdev (30 Minute)</c:v>
                  </c:pt>
                  <c:pt idx="2213">
                    <c:v>Rolling Stdev (30 Minute)</c:v>
                  </c:pt>
                  <c:pt idx="2214">
                    <c:v>Rolling Stdev (30 Minute)</c:v>
                  </c:pt>
                  <c:pt idx="2215">
                    <c:v>Rolling Stdev (30 Minute)</c:v>
                  </c:pt>
                  <c:pt idx="2216">
                    <c:v>Rolling Stdev (30 Minute)</c:v>
                  </c:pt>
                  <c:pt idx="2217">
                    <c:v>Rolling Stdev (30 Minute)</c:v>
                  </c:pt>
                  <c:pt idx="2218">
                    <c:v>Rolling Stdev (30 Minute)</c:v>
                  </c:pt>
                  <c:pt idx="2219">
                    <c:v>Rolling Stdev (30 Minute)</c:v>
                  </c:pt>
                  <c:pt idx="2220">
                    <c:v>Rolling Stdev (30 Minute)</c:v>
                  </c:pt>
                  <c:pt idx="2221">
                    <c:v>Rolling Stdev (30 Minute)</c:v>
                  </c:pt>
                  <c:pt idx="2222">
                    <c:v>Rolling Stdev (30 Minute)</c:v>
                  </c:pt>
                  <c:pt idx="2223">
                    <c:v>Rolling Stdev (30 Minute)</c:v>
                  </c:pt>
                  <c:pt idx="2224">
                    <c:v>Rolling Stdev (30 Minute)</c:v>
                  </c:pt>
                  <c:pt idx="2225">
                    <c:v>Rolling Stdev (30 Minute)</c:v>
                  </c:pt>
                  <c:pt idx="2226">
                    <c:v>Rolling Stdev (30 Minute)</c:v>
                  </c:pt>
                  <c:pt idx="2227">
                    <c:v>Rolling Stdev (30 Minute)</c:v>
                  </c:pt>
                  <c:pt idx="2228">
                    <c:v>Rolling Stdev (30 Minute)</c:v>
                  </c:pt>
                  <c:pt idx="2229">
                    <c:v>Rolling Stdev (30 Minute)</c:v>
                  </c:pt>
                  <c:pt idx="2230">
                    <c:v>Rolling Stdev (30 Minute)</c:v>
                  </c:pt>
                  <c:pt idx="2231">
                    <c:v>Rolling Stdev (30 Minute)</c:v>
                  </c:pt>
                  <c:pt idx="2232">
                    <c:v>Rolling Stdev (30 Minute)</c:v>
                  </c:pt>
                  <c:pt idx="2233">
                    <c:v>Rolling Stdev (30 Minute)</c:v>
                  </c:pt>
                  <c:pt idx="2234">
                    <c:v>Rolling Stdev (30 Minute)</c:v>
                  </c:pt>
                  <c:pt idx="2235">
                    <c:v>Rolling Stdev (30 Minute)</c:v>
                  </c:pt>
                  <c:pt idx="2236">
                    <c:v>Rolling Stdev (30 Minute)</c:v>
                  </c:pt>
                  <c:pt idx="2237">
                    <c:v>Rolling Stdev (30 Minute)</c:v>
                  </c:pt>
                  <c:pt idx="2238">
                    <c:v>Rolling Stdev (30 Minute)</c:v>
                  </c:pt>
                  <c:pt idx="2239">
                    <c:v>Rolling Stdev (30 Minute)</c:v>
                  </c:pt>
                  <c:pt idx="2240">
                    <c:v>Rolling Stdev (30 Minute)</c:v>
                  </c:pt>
                  <c:pt idx="2241">
                    <c:v>Rolling Stdev (30 Minute)</c:v>
                  </c:pt>
                  <c:pt idx="2242">
                    <c:v>Rolling Stdev (30 Minute)</c:v>
                  </c:pt>
                  <c:pt idx="2243">
                    <c:v>Rolling Stdev (30 Minute)</c:v>
                  </c:pt>
                  <c:pt idx="2244">
                    <c:v>Rolling Stdev (30 Minute)</c:v>
                  </c:pt>
                  <c:pt idx="2245">
                    <c:v>Rolling Stdev (30 Minute)</c:v>
                  </c:pt>
                  <c:pt idx="2246">
                    <c:v>Rolling Stdev (30 Minute)</c:v>
                  </c:pt>
                  <c:pt idx="2247">
                    <c:v>Rolling Stdev (30 Minute)</c:v>
                  </c:pt>
                  <c:pt idx="2248">
                    <c:v>Rolling Stdev (30 Minute)</c:v>
                  </c:pt>
                  <c:pt idx="2249">
                    <c:v>Rolling Stdev (30 Minute)</c:v>
                  </c:pt>
                  <c:pt idx="2250">
                    <c:v>Rolling Stdev (30 Minute)</c:v>
                  </c:pt>
                  <c:pt idx="2251">
                    <c:v>Rolling Stdev (30 Minute)</c:v>
                  </c:pt>
                  <c:pt idx="2252">
                    <c:v>Rolling Stdev (30 Minute)</c:v>
                  </c:pt>
                  <c:pt idx="2253">
                    <c:v>Rolling Stdev (30 Minute)</c:v>
                  </c:pt>
                  <c:pt idx="2254">
                    <c:v>Rolling Stdev (30 Minute)</c:v>
                  </c:pt>
                  <c:pt idx="2255">
                    <c:v>Rolling Stdev (30 Minute)</c:v>
                  </c:pt>
                  <c:pt idx="2256">
                    <c:v>Rolling Stdev (30 Minute)</c:v>
                  </c:pt>
                  <c:pt idx="2257">
                    <c:v>Rolling Stdev (30 Minute)</c:v>
                  </c:pt>
                  <c:pt idx="2258">
                    <c:v>Rolling Stdev (30 Minute)</c:v>
                  </c:pt>
                  <c:pt idx="2259">
                    <c:v>Rolling Stdev (30 Minute)</c:v>
                  </c:pt>
                  <c:pt idx="2260">
                    <c:v>Rolling Stdev (30 Minute)</c:v>
                  </c:pt>
                  <c:pt idx="2261">
                    <c:v>Rolling Stdev (30 Minute)</c:v>
                  </c:pt>
                  <c:pt idx="2262">
                    <c:v>Rolling Stdev (30 Minute)</c:v>
                  </c:pt>
                  <c:pt idx="2263">
                    <c:v>Rolling Stdev (30 Minute)</c:v>
                  </c:pt>
                  <c:pt idx="2264">
                    <c:v>Rolling Stdev (30 Minute)</c:v>
                  </c:pt>
                  <c:pt idx="2265">
                    <c:v>Rolling Stdev (30 Minute)</c:v>
                  </c:pt>
                  <c:pt idx="2266">
                    <c:v>Rolling Stdev (30 Minute)</c:v>
                  </c:pt>
                  <c:pt idx="2267">
                    <c:v>Rolling Stdev (30 Minute)</c:v>
                  </c:pt>
                  <c:pt idx="2268">
                    <c:v>Rolling Stdev (30 Minute)</c:v>
                  </c:pt>
                  <c:pt idx="2269">
                    <c:v>Rolling Stdev (30 Minute)</c:v>
                  </c:pt>
                  <c:pt idx="2270">
                    <c:v>Rolling Stdev (30 Minute)</c:v>
                  </c:pt>
                  <c:pt idx="2271">
                    <c:v>Rolling Stdev (30 Minute)</c:v>
                  </c:pt>
                  <c:pt idx="2272">
                    <c:v>Rolling Stdev (30 Minute)</c:v>
                  </c:pt>
                  <c:pt idx="2273">
                    <c:v>Rolling Stdev (30 Minute)</c:v>
                  </c:pt>
                  <c:pt idx="2274">
                    <c:v>Rolling Stdev (30 Minute)</c:v>
                  </c:pt>
                  <c:pt idx="2275">
                    <c:v>Rolling Stdev (30 Minute)</c:v>
                  </c:pt>
                  <c:pt idx="2276">
                    <c:v>Rolling Stdev (30 Minute)</c:v>
                  </c:pt>
                  <c:pt idx="2277">
                    <c:v>Rolling Stdev (30 Minute)</c:v>
                  </c:pt>
                  <c:pt idx="2278">
                    <c:v>Rolling Stdev (30 Minute)</c:v>
                  </c:pt>
                  <c:pt idx="2279">
                    <c:v>Rolling Stdev (30 Minute)</c:v>
                  </c:pt>
                  <c:pt idx="2280">
                    <c:v>Rolling Stdev (30 Minute)</c:v>
                  </c:pt>
                  <c:pt idx="2281">
                    <c:v>Rolling Stdev (30 Minute)</c:v>
                  </c:pt>
                  <c:pt idx="2282">
                    <c:v>Rolling Stdev (30 Minute)</c:v>
                  </c:pt>
                  <c:pt idx="2283">
                    <c:v>Rolling Stdev (30 Minute)</c:v>
                  </c:pt>
                  <c:pt idx="2284">
                    <c:v>Rolling Stdev (30 Minute)</c:v>
                  </c:pt>
                  <c:pt idx="2285">
                    <c:v>Rolling Stdev (30 Minute)</c:v>
                  </c:pt>
                  <c:pt idx="2286">
                    <c:v>Rolling Stdev (30 Minute)</c:v>
                  </c:pt>
                  <c:pt idx="2287">
                    <c:v>Rolling Stdev (30 Minute)</c:v>
                  </c:pt>
                  <c:pt idx="2288">
                    <c:v>Rolling Stdev (30 Minute)</c:v>
                  </c:pt>
                  <c:pt idx="2289">
                    <c:v>Rolling Stdev (30 Minute)</c:v>
                  </c:pt>
                  <c:pt idx="2290">
                    <c:v>Rolling Stdev (30 Minute)</c:v>
                  </c:pt>
                  <c:pt idx="2291">
                    <c:v>Rolling Stdev (30 Minute)</c:v>
                  </c:pt>
                  <c:pt idx="2292">
                    <c:v>Rolling Stdev (30 Minute)</c:v>
                  </c:pt>
                  <c:pt idx="2293">
                    <c:v>Rolling Stdev (30 Minute)</c:v>
                  </c:pt>
                  <c:pt idx="2294">
                    <c:v>Rolling Stdev (30 Minute)</c:v>
                  </c:pt>
                  <c:pt idx="2295">
                    <c:v>Rolling Stdev (30 Minute)</c:v>
                  </c:pt>
                  <c:pt idx="2296">
                    <c:v>Rolling Stdev (30 Minute)</c:v>
                  </c:pt>
                  <c:pt idx="2297">
                    <c:v>Rolling Stdev (30 Minute)</c:v>
                  </c:pt>
                  <c:pt idx="2298">
                    <c:v>Rolling Stdev (30 Minute)</c:v>
                  </c:pt>
                  <c:pt idx="2299">
                    <c:v>Rolling Stdev (30 Minute)</c:v>
                  </c:pt>
                  <c:pt idx="2300">
                    <c:v>Rolling Stdev (30 Minute)</c:v>
                  </c:pt>
                  <c:pt idx="2301">
                    <c:v>Rolling Stdev (30 Minute)</c:v>
                  </c:pt>
                  <c:pt idx="2302">
                    <c:v>Rolling Stdev (30 Minute)</c:v>
                  </c:pt>
                  <c:pt idx="2303">
                    <c:v>Rolling Stdev (30 Minute)</c:v>
                  </c:pt>
                  <c:pt idx="2304">
                    <c:v>Rolling Stdev (30 Minute)</c:v>
                  </c:pt>
                  <c:pt idx="2305">
                    <c:v>Rolling Stdev (30 Minute)</c:v>
                  </c:pt>
                  <c:pt idx="2306">
                    <c:v>Rolling Stdev (30 Minute)</c:v>
                  </c:pt>
                  <c:pt idx="2307">
                    <c:v>Rolling Stdev (30 Minute)</c:v>
                  </c:pt>
                  <c:pt idx="2308">
                    <c:v>Rolling Stdev (30 Minute)</c:v>
                  </c:pt>
                  <c:pt idx="2309">
                    <c:v>Rolling Stdev (30 Minute)</c:v>
                  </c:pt>
                  <c:pt idx="2310">
                    <c:v>Rolling Stdev (30 Minute)</c:v>
                  </c:pt>
                  <c:pt idx="2311">
                    <c:v>Rolling Stdev (30 Minute)</c:v>
                  </c:pt>
                  <c:pt idx="2312">
                    <c:v>Rolling Stdev (30 Minute)</c:v>
                  </c:pt>
                  <c:pt idx="2313">
                    <c:v>Rolling Stdev (30 Minute)</c:v>
                  </c:pt>
                  <c:pt idx="2314">
                    <c:v>Rolling Stdev (30 Minute)</c:v>
                  </c:pt>
                  <c:pt idx="2315">
                    <c:v>Rolling Stdev (30 Minute)</c:v>
                  </c:pt>
                  <c:pt idx="2316">
                    <c:v>Rolling Stdev (30 Minute)</c:v>
                  </c:pt>
                  <c:pt idx="2317">
                    <c:v>Rolling Stdev (30 Minute)</c:v>
                  </c:pt>
                  <c:pt idx="2318">
                    <c:v>Rolling Stdev (30 Minute)</c:v>
                  </c:pt>
                  <c:pt idx="2319">
                    <c:v>Rolling Stdev (30 Minute)</c:v>
                  </c:pt>
                  <c:pt idx="2320">
                    <c:v>Rolling Stdev (30 Minute)</c:v>
                  </c:pt>
                  <c:pt idx="2321">
                    <c:v>Rolling Stdev (30 Minute)</c:v>
                  </c:pt>
                  <c:pt idx="2322">
                    <c:v>Rolling Stdev (30 Minute)</c:v>
                  </c:pt>
                  <c:pt idx="2323">
                    <c:v>Rolling Stdev (30 Minute)</c:v>
                  </c:pt>
                  <c:pt idx="2324">
                    <c:v>Rolling Stdev (30 Minute)</c:v>
                  </c:pt>
                  <c:pt idx="2325">
                    <c:v>Rolling Stdev (30 Minute)</c:v>
                  </c:pt>
                  <c:pt idx="2326">
                    <c:v>Rolling Stdev (30 Minute)</c:v>
                  </c:pt>
                  <c:pt idx="2327">
                    <c:v>Rolling Stdev (30 Minute)</c:v>
                  </c:pt>
                  <c:pt idx="2328">
                    <c:v>Rolling Stdev (30 Minute)</c:v>
                  </c:pt>
                  <c:pt idx="2329">
                    <c:v>Rolling Stdev (30 Minute)</c:v>
                  </c:pt>
                  <c:pt idx="2330">
                    <c:v>Rolling Stdev (30 Minute)</c:v>
                  </c:pt>
                  <c:pt idx="2331">
                    <c:v>Rolling Stdev (30 Minute)</c:v>
                  </c:pt>
                  <c:pt idx="2332">
                    <c:v>Rolling Stdev (30 Minute)</c:v>
                  </c:pt>
                  <c:pt idx="2333">
                    <c:v>Rolling Stdev (30 Minute)</c:v>
                  </c:pt>
                  <c:pt idx="2334">
                    <c:v>Rolling Stdev (30 Minute)</c:v>
                  </c:pt>
                  <c:pt idx="2335">
                    <c:v>Rolling Stdev (30 Minute)</c:v>
                  </c:pt>
                  <c:pt idx="2336">
                    <c:v>Rolling Stdev (30 Minute)</c:v>
                  </c:pt>
                  <c:pt idx="2337">
                    <c:v>Rolling Stdev (30 Minute)</c:v>
                  </c:pt>
                  <c:pt idx="2338">
                    <c:v>Rolling Stdev (30 Minute)</c:v>
                  </c:pt>
                  <c:pt idx="2339">
                    <c:v>Rolling Stdev (30 Minute)</c:v>
                  </c:pt>
                  <c:pt idx="2340">
                    <c:v>Rolling Stdev (30 Minute)</c:v>
                  </c:pt>
                  <c:pt idx="2341">
                    <c:v>Rolling Stdev (30 Minute)</c:v>
                  </c:pt>
                  <c:pt idx="2342">
                    <c:v>Rolling Stdev (30 Minute)</c:v>
                  </c:pt>
                  <c:pt idx="2343">
                    <c:v>Rolling Stdev (30 Minute)</c:v>
                  </c:pt>
                  <c:pt idx="2344">
                    <c:v>Rolling Stdev (30 Minute)</c:v>
                  </c:pt>
                  <c:pt idx="2345">
                    <c:v>Rolling Stdev (30 Minute)</c:v>
                  </c:pt>
                  <c:pt idx="2346">
                    <c:v>Rolling Stdev (30 Minute)</c:v>
                  </c:pt>
                  <c:pt idx="2347">
                    <c:v>Rolling Stdev (30 Minute)</c:v>
                  </c:pt>
                  <c:pt idx="2348">
                    <c:v>Rolling Stdev (30 Minute)</c:v>
                  </c:pt>
                  <c:pt idx="2349">
                    <c:v>Rolling Stdev (30 Minute)</c:v>
                  </c:pt>
                  <c:pt idx="2350">
                    <c:v>Rolling Stdev (30 Minute)</c:v>
                  </c:pt>
                  <c:pt idx="2351">
                    <c:v>Rolling Stdev (30 Minute)</c:v>
                  </c:pt>
                  <c:pt idx="2352">
                    <c:v>Rolling Stdev (30 Minute)</c:v>
                  </c:pt>
                  <c:pt idx="2353">
                    <c:v>Rolling Stdev (30 Minute)</c:v>
                  </c:pt>
                  <c:pt idx="2354">
                    <c:v>Rolling Stdev (30 Minute)</c:v>
                  </c:pt>
                  <c:pt idx="2355">
                    <c:v>Rolling Stdev (30 Minute)</c:v>
                  </c:pt>
                  <c:pt idx="2356">
                    <c:v>Rolling Stdev (30 Minute)</c:v>
                  </c:pt>
                  <c:pt idx="2357">
                    <c:v>Rolling Stdev (30 Minute)</c:v>
                  </c:pt>
                  <c:pt idx="2358">
                    <c:v>Rolling Stdev (30 Minute)</c:v>
                  </c:pt>
                  <c:pt idx="2359">
                    <c:v>Rolling Stdev (30 Minute)</c:v>
                  </c:pt>
                  <c:pt idx="2360">
                    <c:v>Rolling Stdev (30 Minute)</c:v>
                  </c:pt>
                  <c:pt idx="2361">
                    <c:v>Rolling Stdev (30 Minute)</c:v>
                  </c:pt>
                  <c:pt idx="2362">
                    <c:v>Rolling Stdev (30 Minute)</c:v>
                  </c:pt>
                  <c:pt idx="2363">
                    <c:v>Rolling Stdev (30 Minute)</c:v>
                  </c:pt>
                  <c:pt idx="2364">
                    <c:v>Rolling Stdev (30 Minute)</c:v>
                  </c:pt>
                  <c:pt idx="2365">
                    <c:v>Rolling Stdev (30 Minute)</c:v>
                  </c:pt>
                  <c:pt idx="2366">
                    <c:v>Rolling Stdev (30 Minute)</c:v>
                  </c:pt>
                  <c:pt idx="2367">
                    <c:v>Rolling Stdev (30 Minute)</c:v>
                  </c:pt>
                  <c:pt idx="2368">
                    <c:v>Rolling Stdev (30 Minute)</c:v>
                  </c:pt>
                  <c:pt idx="2369">
                    <c:v>Rolling Stdev (30 Minute)</c:v>
                  </c:pt>
                  <c:pt idx="2370">
                    <c:v>Rolling Stdev (30 Minute)</c:v>
                  </c:pt>
                  <c:pt idx="2371">
                    <c:v>Rolling Stdev (30 Minute)</c:v>
                  </c:pt>
                  <c:pt idx="2372">
                    <c:v>Rolling Stdev (30 Minute)</c:v>
                  </c:pt>
                  <c:pt idx="2373">
                    <c:v>Rolling Stdev (30 Minute)</c:v>
                  </c:pt>
                  <c:pt idx="2374">
                    <c:v>Rolling Stdev (30 Minute)</c:v>
                  </c:pt>
                  <c:pt idx="2375">
                    <c:v>Rolling Stdev (30 Minute)</c:v>
                  </c:pt>
                  <c:pt idx="2376">
                    <c:v>Rolling Stdev (30 Minute)</c:v>
                  </c:pt>
                  <c:pt idx="2377">
                    <c:v>Rolling Stdev (30 Minute)</c:v>
                  </c:pt>
                  <c:pt idx="2378">
                    <c:v>Rolling Stdev (30 Minute)</c:v>
                  </c:pt>
                  <c:pt idx="2379">
                    <c:v>Rolling Stdev (30 Minute)</c:v>
                  </c:pt>
                  <c:pt idx="2380">
                    <c:v>Rolling Stdev (30 Minute)</c:v>
                  </c:pt>
                  <c:pt idx="2381">
                    <c:v>Rolling Stdev (30 Minute)</c:v>
                  </c:pt>
                  <c:pt idx="2382">
                    <c:v>Rolling Stdev (30 Minute)</c:v>
                  </c:pt>
                  <c:pt idx="2383">
                    <c:v>Rolling Stdev (30 Minute)</c:v>
                  </c:pt>
                  <c:pt idx="2384">
                    <c:v>Rolling Stdev (30 Minute)</c:v>
                  </c:pt>
                  <c:pt idx="2385">
                    <c:v>Rolling Stdev (30 Minute)</c:v>
                  </c:pt>
                  <c:pt idx="2386">
                    <c:v>Rolling Stdev (30 Minute)</c:v>
                  </c:pt>
                  <c:pt idx="2387">
                    <c:v>Rolling Stdev (30 Minute)</c:v>
                  </c:pt>
                  <c:pt idx="2388">
                    <c:v>Rolling Stdev (30 Minute)</c:v>
                  </c:pt>
                  <c:pt idx="2389">
                    <c:v>Rolling Stdev (30 Minute)</c:v>
                  </c:pt>
                  <c:pt idx="2390">
                    <c:v>Rolling Stdev (30 Minute)</c:v>
                  </c:pt>
                  <c:pt idx="2391">
                    <c:v>Rolling Stdev (30 Minute)</c:v>
                  </c:pt>
                  <c:pt idx="2392">
                    <c:v>Rolling Stdev (30 Minute)</c:v>
                  </c:pt>
                  <c:pt idx="2393">
                    <c:v>Rolling Stdev (30 Minute)</c:v>
                  </c:pt>
                  <c:pt idx="2394">
                    <c:v>Rolling Stdev (30 Minute)</c:v>
                  </c:pt>
                  <c:pt idx="2395">
                    <c:v>Rolling Stdev (30 Minute)</c:v>
                  </c:pt>
                  <c:pt idx="2396">
                    <c:v>Rolling Stdev (30 Minute)</c:v>
                  </c:pt>
                  <c:pt idx="2397">
                    <c:v>Rolling Stdev (30 Minute)</c:v>
                  </c:pt>
                  <c:pt idx="2398">
                    <c:v>Rolling Stdev (30 Minute)</c:v>
                  </c:pt>
                  <c:pt idx="2399">
                    <c:v>Rolling Stdev (30 Minute)</c:v>
                  </c:pt>
                  <c:pt idx="2400">
                    <c:v>Rolling Stdev (30 Minute)</c:v>
                  </c:pt>
                  <c:pt idx="2401">
                    <c:v>Rolling Stdev (30 Minute)</c:v>
                  </c:pt>
                  <c:pt idx="2402">
                    <c:v>Rolling Stdev (30 Minute)</c:v>
                  </c:pt>
                  <c:pt idx="2403">
                    <c:v>Rolling Stdev (30 Minute)</c:v>
                  </c:pt>
                  <c:pt idx="2404">
                    <c:v>Rolling Stdev (30 Minute)</c:v>
                  </c:pt>
                  <c:pt idx="2405">
                    <c:v>Rolling Stdev (30 Minute)</c:v>
                  </c:pt>
                  <c:pt idx="2406">
                    <c:v>Rolling Stdev (30 Minute)</c:v>
                  </c:pt>
                  <c:pt idx="2407">
                    <c:v>Rolling Stdev (30 Minute)</c:v>
                  </c:pt>
                  <c:pt idx="2408">
                    <c:v>Rolling Stdev (30 Minute)</c:v>
                  </c:pt>
                  <c:pt idx="2409">
                    <c:v>Rolling Stdev (30 Minute)</c:v>
                  </c:pt>
                  <c:pt idx="2410">
                    <c:v>Rolling Stdev (30 Minute)</c:v>
                  </c:pt>
                  <c:pt idx="2411">
                    <c:v>Rolling Stdev (30 Minute)</c:v>
                  </c:pt>
                  <c:pt idx="2412">
                    <c:v>Rolling Stdev (30 Minute)</c:v>
                  </c:pt>
                  <c:pt idx="2413">
                    <c:v>Rolling Stdev (30 Minute)</c:v>
                  </c:pt>
                  <c:pt idx="2414">
                    <c:v>Rolling Stdev (30 Minute)</c:v>
                  </c:pt>
                  <c:pt idx="2415">
                    <c:v>Rolling Stdev (30 Minute)</c:v>
                  </c:pt>
                  <c:pt idx="2416">
                    <c:v>Rolling Stdev (30 Minute)</c:v>
                  </c:pt>
                  <c:pt idx="2417">
                    <c:v>Rolling Stdev (30 Minute)</c:v>
                  </c:pt>
                  <c:pt idx="2418">
                    <c:v>Rolling Stdev (30 Minute)</c:v>
                  </c:pt>
                  <c:pt idx="2419">
                    <c:v>Rolling Stdev (30 Minute)</c:v>
                  </c:pt>
                  <c:pt idx="2420">
                    <c:v>Rolling Stdev (30 Minute)</c:v>
                  </c:pt>
                  <c:pt idx="2421">
                    <c:v>Rolling Stdev (30 Minute)</c:v>
                  </c:pt>
                  <c:pt idx="2422">
                    <c:v>Rolling Stdev (30 Minute)</c:v>
                  </c:pt>
                  <c:pt idx="2423">
                    <c:v>Rolling Stdev (30 Minute)</c:v>
                  </c:pt>
                  <c:pt idx="2424">
                    <c:v>Rolling Stdev (30 Minute)</c:v>
                  </c:pt>
                  <c:pt idx="2425">
                    <c:v>Rolling Stdev (30 Minute)</c:v>
                  </c:pt>
                  <c:pt idx="2426">
                    <c:v>Rolling Stdev (30 Minute)</c:v>
                  </c:pt>
                  <c:pt idx="2427">
                    <c:v>Rolling Stdev (30 Minute)</c:v>
                  </c:pt>
                  <c:pt idx="2428">
                    <c:v>Rolling Stdev (30 Minute)</c:v>
                  </c:pt>
                  <c:pt idx="2429">
                    <c:v>Rolling Stdev (30 Minute)</c:v>
                  </c:pt>
                  <c:pt idx="2430">
                    <c:v>Rolling Stdev (30 Minute)</c:v>
                  </c:pt>
                  <c:pt idx="2431">
                    <c:v>Rolling Stdev (30 Minute)</c:v>
                  </c:pt>
                  <c:pt idx="2432">
                    <c:v>Rolling Stdev (30 Minute)</c:v>
                  </c:pt>
                  <c:pt idx="2433">
                    <c:v>Rolling Stdev (30 Minute)</c:v>
                  </c:pt>
                  <c:pt idx="2434">
                    <c:v>Rolling Stdev (30 Minute)</c:v>
                  </c:pt>
                  <c:pt idx="2435">
                    <c:v>Rolling Stdev (30 Minute)</c:v>
                  </c:pt>
                  <c:pt idx="2436">
                    <c:v>Rolling Stdev (30 Minute)</c:v>
                  </c:pt>
                  <c:pt idx="2437">
                    <c:v>Rolling Stdev (30 Minute)</c:v>
                  </c:pt>
                  <c:pt idx="2438">
                    <c:v>Rolling Stdev (30 Minute)</c:v>
                  </c:pt>
                  <c:pt idx="2439">
                    <c:v>Rolling Stdev (30 Minute)</c:v>
                  </c:pt>
                  <c:pt idx="2440">
                    <c:v>Rolling Stdev (30 Minute)</c:v>
                  </c:pt>
                  <c:pt idx="2441">
                    <c:v>Rolling Stdev (30 Minute)</c:v>
                  </c:pt>
                  <c:pt idx="2442">
                    <c:v>Rolling Stdev (30 Minute)</c:v>
                  </c:pt>
                  <c:pt idx="2443">
                    <c:v>Rolling Stdev (30 Minute)</c:v>
                  </c:pt>
                  <c:pt idx="2444">
                    <c:v>Rolling Stdev (30 Minute)</c:v>
                  </c:pt>
                  <c:pt idx="2445">
                    <c:v>Rolling Stdev (30 Minute)</c:v>
                  </c:pt>
                  <c:pt idx="2446">
                    <c:v>Rolling Stdev (30 Minute)</c:v>
                  </c:pt>
                  <c:pt idx="2447">
                    <c:v>Rolling Stdev (30 Minute)</c:v>
                  </c:pt>
                  <c:pt idx="2448">
                    <c:v>Rolling Stdev (30 Minute)</c:v>
                  </c:pt>
                  <c:pt idx="2449">
                    <c:v>Rolling Stdev (30 Minute)</c:v>
                  </c:pt>
                  <c:pt idx="2450">
                    <c:v>Rolling Stdev (30 Minute)</c:v>
                  </c:pt>
                  <c:pt idx="2451">
                    <c:v>Rolling Stdev (30 Minute)</c:v>
                  </c:pt>
                </c:lvl>
              </c:multiLvlStrCache>
            </c:multiLvlStrRef>
          </c:cat>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6785-41B4-BCE1-ECD89FF12F5A}"/>
            </c:ext>
          </c:extLst>
        </c:ser>
        <c:dLbls>
          <c:showLegendKey val="0"/>
          <c:showVal val="0"/>
          <c:showCatName val="0"/>
          <c:showSerName val="0"/>
          <c:showPercent val="0"/>
          <c:showBubbleSize val="0"/>
        </c:dLbls>
        <c:marker val="1"/>
        <c:smooth val="0"/>
        <c:axId val="665436703"/>
        <c:axId val="836346671"/>
      </c:lineChart>
      <c:catAx>
        <c:axId val="665428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116831"/>
        <c:crosses val="autoZero"/>
        <c:auto val="1"/>
        <c:lblAlgn val="ctr"/>
        <c:lblOffset val="100"/>
        <c:noMultiLvlLbl val="1"/>
      </c:catAx>
      <c:valAx>
        <c:axId val="207116831"/>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5428543"/>
        <c:crosses val="autoZero"/>
        <c:crossBetween val="between"/>
      </c:valAx>
      <c:valAx>
        <c:axId val="836346671"/>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5436703"/>
        <c:crosses val="max"/>
        <c:crossBetween val="between"/>
      </c:valAx>
      <c:catAx>
        <c:axId val="665436703"/>
        <c:scaling>
          <c:orientation val="minMax"/>
        </c:scaling>
        <c:delete val="1"/>
        <c:axPos val="b"/>
        <c:numFmt formatCode="General" sourceLinked="1"/>
        <c:majorTickMark val="out"/>
        <c:minorTickMark val="none"/>
        <c:tickLblPos val="nextTo"/>
        <c:crossAx val="83634667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RT Rolling mean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multiLvlStrRef>
              <c:f>'DRT Rolling Mean'!$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Mean (30 Minute)</c:v>
                  </c:pt>
                  <c:pt idx="1">
                    <c:v>Rolling Mean (30 Minute)</c:v>
                  </c:pt>
                  <c:pt idx="2">
                    <c:v>Rolling Mean (30 Minute)</c:v>
                  </c:pt>
                  <c:pt idx="3">
                    <c:v>Rolling Mean (30 Minute)</c:v>
                  </c:pt>
                  <c:pt idx="4">
                    <c:v>Rolling Mean (30 Minute)</c:v>
                  </c:pt>
                  <c:pt idx="5">
                    <c:v>Rolling Mean (30 Minute)</c:v>
                  </c:pt>
                  <c:pt idx="6">
                    <c:v>Rolling Mean (30 Minute)</c:v>
                  </c:pt>
                  <c:pt idx="7">
                    <c:v>Rolling Mean (30 Minute)</c:v>
                  </c:pt>
                  <c:pt idx="8">
                    <c:v>Rolling Mean (30 Minute)</c:v>
                  </c:pt>
                  <c:pt idx="9">
                    <c:v>Rolling Mean (30 Minute)</c:v>
                  </c:pt>
                  <c:pt idx="10">
                    <c:v>Rolling Mean (30 Minute)</c:v>
                  </c:pt>
                  <c:pt idx="11">
                    <c:v>Rolling Mean (30 Minute)</c:v>
                  </c:pt>
                  <c:pt idx="12">
                    <c:v>Rolling Mean (30 Minute)</c:v>
                  </c:pt>
                  <c:pt idx="13">
                    <c:v>Rolling Mean (30 Minute)</c:v>
                  </c:pt>
                  <c:pt idx="14">
                    <c:v>Rolling Mean (30 Minute)</c:v>
                  </c:pt>
                  <c:pt idx="15">
                    <c:v>Rolling Mean (30 Minute)</c:v>
                  </c:pt>
                  <c:pt idx="16">
                    <c:v>Rolling Mean (30 Minute)</c:v>
                  </c:pt>
                  <c:pt idx="17">
                    <c:v>Rolling Mean (30 Minute)</c:v>
                  </c:pt>
                  <c:pt idx="18">
                    <c:v>Rolling Mean (30 Minute)</c:v>
                  </c:pt>
                  <c:pt idx="19">
                    <c:v>Rolling Mean (30 Minute)</c:v>
                  </c:pt>
                  <c:pt idx="20">
                    <c:v>Rolling Mean (30 Minute)</c:v>
                  </c:pt>
                  <c:pt idx="21">
                    <c:v>Rolling Mean (30 Minute)</c:v>
                  </c:pt>
                  <c:pt idx="22">
                    <c:v>Rolling Mean (30 Minute)</c:v>
                  </c:pt>
                  <c:pt idx="23">
                    <c:v>Rolling Mean (30 Minute)</c:v>
                  </c:pt>
                  <c:pt idx="24">
                    <c:v>Rolling Mean (30 Minute)</c:v>
                  </c:pt>
                  <c:pt idx="25">
                    <c:v>Rolling Mean (30 Minute)</c:v>
                  </c:pt>
                  <c:pt idx="26">
                    <c:v>Rolling Mean (30 Minute)</c:v>
                  </c:pt>
                  <c:pt idx="27">
                    <c:v>Rolling Mean (30 Minute)</c:v>
                  </c:pt>
                  <c:pt idx="28">
                    <c:v>Rolling Mean (30 Minute)</c:v>
                  </c:pt>
                  <c:pt idx="29">
                    <c:v>Rolling Mean (30 Minute)</c:v>
                  </c:pt>
                  <c:pt idx="30">
                    <c:v>Rolling Mean (30 Minute)</c:v>
                  </c:pt>
                  <c:pt idx="31">
                    <c:v>Rolling Mean (30 Minute)</c:v>
                  </c:pt>
                  <c:pt idx="32">
                    <c:v>Rolling Mean (30 Minute)</c:v>
                  </c:pt>
                  <c:pt idx="33">
                    <c:v>Rolling Mean (30 Minute)</c:v>
                  </c:pt>
                  <c:pt idx="34">
                    <c:v>Rolling Mean (30 Minute)</c:v>
                  </c:pt>
                  <c:pt idx="35">
                    <c:v>Rolling Mean (30 Minute)</c:v>
                  </c:pt>
                  <c:pt idx="36">
                    <c:v>Rolling Mean (30 Minute)</c:v>
                  </c:pt>
                  <c:pt idx="37">
                    <c:v>Rolling Mean (30 Minute)</c:v>
                  </c:pt>
                  <c:pt idx="38">
                    <c:v>Rolling Mean (30 Minute)</c:v>
                  </c:pt>
                  <c:pt idx="39">
                    <c:v>Rolling Mean (30 Minute)</c:v>
                  </c:pt>
                  <c:pt idx="40">
                    <c:v>Rolling Mean (30 Minute)</c:v>
                  </c:pt>
                  <c:pt idx="41">
                    <c:v>Rolling Mean (30 Minute)</c:v>
                  </c:pt>
                  <c:pt idx="42">
                    <c:v>Rolling Mean (30 Minute)</c:v>
                  </c:pt>
                  <c:pt idx="43">
                    <c:v>Rolling Mean (30 Minute)</c:v>
                  </c:pt>
                  <c:pt idx="44">
                    <c:v>Rolling Mean (30 Minute)</c:v>
                  </c:pt>
                  <c:pt idx="45">
                    <c:v>Rolling Mean (30 Minute)</c:v>
                  </c:pt>
                  <c:pt idx="46">
                    <c:v>Rolling Mean (30 Minute)</c:v>
                  </c:pt>
                  <c:pt idx="47">
                    <c:v>Rolling Mean (30 Minute)</c:v>
                  </c:pt>
                  <c:pt idx="48">
                    <c:v>Rolling Mean (30 Minute)</c:v>
                  </c:pt>
                  <c:pt idx="49">
                    <c:v>Rolling Mean (30 Minute)</c:v>
                  </c:pt>
                  <c:pt idx="50">
                    <c:v>Rolling Mean (30 Minute)</c:v>
                  </c:pt>
                  <c:pt idx="51">
                    <c:v>Rolling Mean (30 Minute)</c:v>
                  </c:pt>
                  <c:pt idx="52">
                    <c:v>Rolling Mean (30 Minute)</c:v>
                  </c:pt>
                  <c:pt idx="53">
                    <c:v>Rolling Mean (30 Minute)</c:v>
                  </c:pt>
                  <c:pt idx="54">
                    <c:v>Rolling Mean (30 Minute)</c:v>
                  </c:pt>
                  <c:pt idx="55">
                    <c:v>Rolling Mean (30 Minute)</c:v>
                  </c:pt>
                  <c:pt idx="56">
                    <c:v>Rolling Mean (30 Minute)</c:v>
                  </c:pt>
                  <c:pt idx="57">
                    <c:v>Rolling Mean (30 Minute)</c:v>
                  </c:pt>
                  <c:pt idx="58">
                    <c:v>Rolling Mean (30 Minute)</c:v>
                  </c:pt>
                  <c:pt idx="59">
                    <c:v>Rolling Mean (30 Minute)</c:v>
                  </c:pt>
                  <c:pt idx="60">
                    <c:v>Rolling Mean (30 Minute)</c:v>
                  </c:pt>
                  <c:pt idx="61">
                    <c:v>Rolling Mean (30 Minute)</c:v>
                  </c:pt>
                  <c:pt idx="62">
                    <c:v>Rolling Mean (30 Minute)</c:v>
                  </c:pt>
                  <c:pt idx="63">
                    <c:v>Rolling Mean (30 Minute)</c:v>
                  </c:pt>
                  <c:pt idx="64">
                    <c:v>Rolling Mean (30 Minute)</c:v>
                  </c:pt>
                  <c:pt idx="65">
                    <c:v>Rolling Mean (30 Minute)</c:v>
                  </c:pt>
                  <c:pt idx="66">
                    <c:v>Rolling Mean (30 Minute)</c:v>
                  </c:pt>
                  <c:pt idx="67">
                    <c:v>Rolling Mean (30 Minute)</c:v>
                  </c:pt>
                  <c:pt idx="68">
                    <c:v>Rolling Mean (30 Minute)</c:v>
                  </c:pt>
                  <c:pt idx="69">
                    <c:v>Rolling Mean (30 Minute)</c:v>
                  </c:pt>
                  <c:pt idx="70">
                    <c:v>Rolling Mean (30 Minute)</c:v>
                  </c:pt>
                  <c:pt idx="71">
                    <c:v>Rolling Mean (30 Minute)</c:v>
                  </c:pt>
                  <c:pt idx="72">
                    <c:v>Rolling Mean (30 Minute)</c:v>
                  </c:pt>
                  <c:pt idx="73">
                    <c:v>Rolling Mean (30 Minute)</c:v>
                  </c:pt>
                  <c:pt idx="74">
                    <c:v>Rolling Mean (30 Minute)</c:v>
                  </c:pt>
                  <c:pt idx="75">
                    <c:v>Rolling Mean (30 Minute)</c:v>
                  </c:pt>
                  <c:pt idx="76">
                    <c:v>Rolling Mean (30 Minute)</c:v>
                  </c:pt>
                  <c:pt idx="77">
                    <c:v>Rolling Mean (30 Minute)</c:v>
                  </c:pt>
                  <c:pt idx="78">
                    <c:v>Rolling Mean (30 Minute)</c:v>
                  </c:pt>
                  <c:pt idx="79">
                    <c:v>Rolling Mean (30 Minute)</c:v>
                  </c:pt>
                  <c:pt idx="80">
                    <c:v>Rolling Mean (30 Minute)</c:v>
                  </c:pt>
                  <c:pt idx="81">
                    <c:v>Rolling Mean (30 Minute)</c:v>
                  </c:pt>
                  <c:pt idx="82">
                    <c:v>Rolling Mean (30 Minute)</c:v>
                  </c:pt>
                  <c:pt idx="83">
                    <c:v>Rolling Mean (30 Minute)</c:v>
                  </c:pt>
                  <c:pt idx="84">
                    <c:v>Rolling Mean (30 Minute)</c:v>
                  </c:pt>
                  <c:pt idx="85">
                    <c:v>Rolling Mean (30 Minute)</c:v>
                  </c:pt>
                  <c:pt idx="86">
                    <c:v>Rolling Mean (30 Minute)</c:v>
                  </c:pt>
                  <c:pt idx="87">
                    <c:v>Rolling Mean (30 Minute)</c:v>
                  </c:pt>
                  <c:pt idx="88">
                    <c:v>Rolling Mean (30 Minute)</c:v>
                  </c:pt>
                  <c:pt idx="89">
                    <c:v>Rolling Mean (30 Minute)</c:v>
                  </c:pt>
                  <c:pt idx="90">
                    <c:v>Rolling Mean (30 Minute)</c:v>
                  </c:pt>
                  <c:pt idx="91">
                    <c:v>Rolling Mean (30 Minute)</c:v>
                  </c:pt>
                  <c:pt idx="92">
                    <c:v>Rolling Mean (30 Minute)</c:v>
                  </c:pt>
                  <c:pt idx="93">
                    <c:v>Rolling Mean (30 Minute)</c:v>
                  </c:pt>
                  <c:pt idx="94">
                    <c:v>Rolling Mean (30 Minute)</c:v>
                  </c:pt>
                  <c:pt idx="95">
                    <c:v>Rolling Mean (30 Minute)</c:v>
                  </c:pt>
                  <c:pt idx="96">
                    <c:v>Rolling Mean (30 Minute)</c:v>
                  </c:pt>
                  <c:pt idx="97">
                    <c:v>Rolling Mean (30 Minute)</c:v>
                  </c:pt>
                  <c:pt idx="98">
                    <c:v>Rolling Mean (30 Minute)</c:v>
                  </c:pt>
                  <c:pt idx="99">
                    <c:v>Rolling Mean (30 Minute)</c:v>
                  </c:pt>
                  <c:pt idx="100">
                    <c:v>Rolling Mean (30 Minute)</c:v>
                  </c:pt>
                  <c:pt idx="101">
                    <c:v>Rolling Mean (30 Minute)</c:v>
                  </c:pt>
                  <c:pt idx="102">
                    <c:v>Rolling Mean (30 Minute)</c:v>
                  </c:pt>
                  <c:pt idx="103">
                    <c:v>Rolling Mean (30 Minute)</c:v>
                  </c:pt>
                  <c:pt idx="104">
                    <c:v>Rolling Mean (30 Minute)</c:v>
                  </c:pt>
                  <c:pt idx="105">
                    <c:v>Rolling Mean (30 Minute)</c:v>
                  </c:pt>
                  <c:pt idx="106">
                    <c:v>Rolling Mean (30 Minute)</c:v>
                  </c:pt>
                  <c:pt idx="107">
                    <c:v>Rolling Mean (30 Minute)</c:v>
                  </c:pt>
                  <c:pt idx="108">
                    <c:v>Rolling Mean (30 Minute)</c:v>
                  </c:pt>
                  <c:pt idx="109">
                    <c:v>Rolling Mean (30 Minute)</c:v>
                  </c:pt>
                  <c:pt idx="110">
                    <c:v>Rolling Mean (30 Minute)</c:v>
                  </c:pt>
                  <c:pt idx="111">
                    <c:v>Rolling Mean (30 Minute)</c:v>
                  </c:pt>
                  <c:pt idx="112">
                    <c:v>Rolling Mean (30 Minute)</c:v>
                  </c:pt>
                  <c:pt idx="113">
                    <c:v>Rolling Mean (30 Minute)</c:v>
                  </c:pt>
                  <c:pt idx="114">
                    <c:v>Rolling Mean (30 Minute)</c:v>
                  </c:pt>
                  <c:pt idx="115">
                    <c:v>Rolling Mean (30 Minute)</c:v>
                  </c:pt>
                  <c:pt idx="116">
                    <c:v>Rolling Mean (30 Minute)</c:v>
                  </c:pt>
                  <c:pt idx="117">
                    <c:v>Rolling Mean (30 Minute)</c:v>
                  </c:pt>
                  <c:pt idx="118">
                    <c:v>Rolling Mean (30 Minute)</c:v>
                  </c:pt>
                  <c:pt idx="119">
                    <c:v>Rolling Mean (30 Minute)</c:v>
                  </c:pt>
                  <c:pt idx="120">
                    <c:v>Rolling Mean (30 Minute)</c:v>
                  </c:pt>
                  <c:pt idx="121">
                    <c:v>Rolling Mean (30 Minute)</c:v>
                  </c:pt>
                  <c:pt idx="122">
                    <c:v>Rolling Mean (30 Minute)</c:v>
                  </c:pt>
                  <c:pt idx="123">
                    <c:v>Rolling Mean (30 Minute)</c:v>
                  </c:pt>
                  <c:pt idx="124">
                    <c:v>Rolling Mean (30 Minute)</c:v>
                  </c:pt>
                  <c:pt idx="125">
                    <c:v>Rolling Mean (30 Minute)</c:v>
                  </c:pt>
                  <c:pt idx="126">
                    <c:v>Rolling Mean (30 Minute)</c:v>
                  </c:pt>
                  <c:pt idx="127">
                    <c:v>Rolling Mean (30 Minute)</c:v>
                  </c:pt>
                  <c:pt idx="128">
                    <c:v>Rolling Mean (30 Minute)</c:v>
                  </c:pt>
                  <c:pt idx="129">
                    <c:v>Rolling Mean (30 Minute)</c:v>
                  </c:pt>
                  <c:pt idx="130">
                    <c:v>Rolling Mean (30 Minute)</c:v>
                  </c:pt>
                  <c:pt idx="131">
                    <c:v>Rolling Mean (30 Minute)</c:v>
                  </c:pt>
                  <c:pt idx="132">
                    <c:v>Rolling Mean (30 Minute)</c:v>
                  </c:pt>
                  <c:pt idx="133">
                    <c:v>Rolling Mean (30 Minute)</c:v>
                  </c:pt>
                  <c:pt idx="134">
                    <c:v>Rolling Mean (30 Minute)</c:v>
                  </c:pt>
                  <c:pt idx="135">
                    <c:v>Rolling Mean (30 Minute)</c:v>
                  </c:pt>
                  <c:pt idx="136">
                    <c:v>Rolling Mean (30 Minute)</c:v>
                  </c:pt>
                  <c:pt idx="137">
                    <c:v>Rolling Mean (30 Minute)</c:v>
                  </c:pt>
                  <c:pt idx="138">
                    <c:v>Rolling Mean (30 Minute)</c:v>
                  </c:pt>
                  <c:pt idx="139">
                    <c:v>Rolling Mean (30 Minute)</c:v>
                  </c:pt>
                  <c:pt idx="140">
                    <c:v>Rolling Mean (30 Minute)</c:v>
                  </c:pt>
                  <c:pt idx="141">
                    <c:v>Rolling Mean (30 Minute)</c:v>
                  </c:pt>
                  <c:pt idx="142">
                    <c:v>Rolling Mean (30 Minute)</c:v>
                  </c:pt>
                  <c:pt idx="143">
                    <c:v>Rolling Mean (30 Minute)</c:v>
                  </c:pt>
                  <c:pt idx="144">
                    <c:v>Rolling Mean (30 Minute)</c:v>
                  </c:pt>
                  <c:pt idx="145">
                    <c:v>Rolling Mean (30 Minute)</c:v>
                  </c:pt>
                  <c:pt idx="146">
                    <c:v>Rolling Mean (30 Minute)</c:v>
                  </c:pt>
                  <c:pt idx="147">
                    <c:v>Rolling Mean (30 Minute)</c:v>
                  </c:pt>
                  <c:pt idx="148">
                    <c:v>Rolling Mean (30 Minute)</c:v>
                  </c:pt>
                  <c:pt idx="149">
                    <c:v>Rolling Mean (30 Minute)</c:v>
                  </c:pt>
                  <c:pt idx="150">
                    <c:v>Rolling Mean (30 Minute)</c:v>
                  </c:pt>
                  <c:pt idx="151">
                    <c:v>Rolling Mean (30 Minute)</c:v>
                  </c:pt>
                  <c:pt idx="152">
                    <c:v>Rolling Mean (30 Minute)</c:v>
                  </c:pt>
                  <c:pt idx="153">
                    <c:v>Rolling Mean (30 Minute)</c:v>
                  </c:pt>
                  <c:pt idx="154">
                    <c:v>Rolling Mean (30 Minute)</c:v>
                  </c:pt>
                  <c:pt idx="155">
                    <c:v>Rolling Mean (30 Minute)</c:v>
                  </c:pt>
                  <c:pt idx="156">
                    <c:v>Rolling Mean (30 Minute)</c:v>
                  </c:pt>
                  <c:pt idx="157">
                    <c:v>Rolling Mean (30 Minute)</c:v>
                  </c:pt>
                  <c:pt idx="158">
                    <c:v>Rolling Mean (30 Minute)</c:v>
                  </c:pt>
                  <c:pt idx="159">
                    <c:v>Rolling Mean (30 Minute)</c:v>
                  </c:pt>
                  <c:pt idx="160">
                    <c:v>Rolling Mean (30 Minute)</c:v>
                  </c:pt>
                  <c:pt idx="161">
                    <c:v>Rolling Mean (30 Minute)</c:v>
                  </c:pt>
                  <c:pt idx="162">
                    <c:v>Rolling Mean (30 Minute)</c:v>
                  </c:pt>
                  <c:pt idx="163">
                    <c:v>Rolling Mean (30 Minute)</c:v>
                  </c:pt>
                  <c:pt idx="164">
                    <c:v>Rolling Mean (30 Minute)</c:v>
                  </c:pt>
                  <c:pt idx="165">
                    <c:v>Rolling Mean (30 Minute)</c:v>
                  </c:pt>
                  <c:pt idx="166">
                    <c:v>Rolling Mean (30 Minute)</c:v>
                  </c:pt>
                  <c:pt idx="167">
                    <c:v>Rolling Mean (30 Minute)</c:v>
                  </c:pt>
                  <c:pt idx="168">
                    <c:v>Rolling Mean (30 Minute)</c:v>
                  </c:pt>
                  <c:pt idx="169">
                    <c:v>Rolling Mean (30 Minute)</c:v>
                  </c:pt>
                  <c:pt idx="170">
                    <c:v>Rolling Mean (30 Minute)</c:v>
                  </c:pt>
                  <c:pt idx="171">
                    <c:v>Rolling Mean (30 Minute)</c:v>
                  </c:pt>
                  <c:pt idx="172">
                    <c:v>Rolling Mean (30 Minute)</c:v>
                  </c:pt>
                  <c:pt idx="173">
                    <c:v>Rolling Mean (30 Minute)</c:v>
                  </c:pt>
                  <c:pt idx="174">
                    <c:v>Rolling Mean (30 Minute)</c:v>
                  </c:pt>
                  <c:pt idx="175">
                    <c:v>Rolling Mean (30 Minute)</c:v>
                  </c:pt>
                  <c:pt idx="176">
                    <c:v>Rolling Mean (30 Minute)</c:v>
                  </c:pt>
                  <c:pt idx="177">
                    <c:v>Rolling Mean (30 Minute)</c:v>
                  </c:pt>
                  <c:pt idx="178">
                    <c:v>Rolling Mean (30 Minute)</c:v>
                  </c:pt>
                  <c:pt idx="179">
                    <c:v>Rolling Mean (30 Minute)</c:v>
                  </c:pt>
                  <c:pt idx="180">
                    <c:v>Rolling Mean (30 Minute)</c:v>
                  </c:pt>
                  <c:pt idx="181">
                    <c:v>Rolling Mean (30 Minute)</c:v>
                  </c:pt>
                  <c:pt idx="182">
                    <c:v>Rolling Mean (30 Minute)</c:v>
                  </c:pt>
                  <c:pt idx="183">
                    <c:v>Rolling Mean (30 Minute)</c:v>
                  </c:pt>
                  <c:pt idx="184">
                    <c:v>Rolling Mean (30 Minute)</c:v>
                  </c:pt>
                  <c:pt idx="185">
                    <c:v>Rolling Mean (30 Minute)</c:v>
                  </c:pt>
                  <c:pt idx="186">
                    <c:v>Rolling Mean (30 Minute)</c:v>
                  </c:pt>
                  <c:pt idx="187">
                    <c:v>Rolling Mean (30 Minute)</c:v>
                  </c:pt>
                  <c:pt idx="188">
                    <c:v>Rolling Mean (30 Minute)</c:v>
                  </c:pt>
                  <c:pt idx="189">
                    <c:v>Rolling Mean (30 Minute)</c:v>
                  </c:pt>
                  <c:pt idx="190">
                    <c:v>Rolling Mean (30 Minute)</c:v>
                  </c:pt>
                  <c:pt idx="191">
                    <c:v>Rolling Mean (30 Minute)</c:v>
                  </c:pt>
                  <c:pt idx="192">
                    <c:v>Rolling Mean (30 Minute)</c:v>
                  </c:pt>
                  <c:pt idx="193">
                    <c:v>Rolling Mean (30 Minute)</c:v>
                  </c:pt>
                  <c:pt idx="194">
                    <c:v>Rolling Mean (30 Minute)</c:v>
                  </c:pt>
                  <c:pt idx="195">
                    <c:v>Rolling Mean (30 Minute)</c:v>
                  </c:pt>
                  <c:pt idx="196">
                    <c:v>Rolling Mean (30 Minute)</c:v>
                  </c:pt>
                  <c:pt idx="197">
                    <c:v>Rolling Mean (30 Minute)</c:v>
                  </c:pt>
                  <c:pt idx="198">
                    <c:v>Rolling Mean (30 Minute)</c:v>
                  </c:pt>
                  <c:pt idx="199">
                    <c:v>Rolling Mean (30 Minute)</c:v>
                  </c:pt>
                  <c:pt idx="200">
                    <c:v>Rolling Mean (30 Minute)</c:v>
                  </c:pt>
                  <c:pt idx="201">
                    <c:v>Rolling Mean (30 Minute)</c:v>
                  </c:pt>
                  <c:pt idx="202">
                    <c:v>Rolling Mean (30 Minute)</c:v>
                  </c:pt>
                  <c:pt idx="203">
                    <c:v>Rolling Mean (30 Minute)</c:v>
                  </c:pt>
                  <c:pt idx="204">
                    <c:v>Rolling Mean (30 Minute)</c:v>
                  </c:pt>
                  <c:pt idx="205">
                    <c:v>Rolling Mean (30 Minute)</c:v>
                  </c:pt>
                  <c:pt idx="206">
                    <c:v>Rolling Mean (30 Minute)</c:v>
                  </c:pt>
                  <c:pt idx="207">
                    <c:v>Rolling Mean (30 Minute)</c:v>
                  </c:pt>
                  <c:pt idx="208">
                    <c:v>Rolling Mean (30 Minute)</c:v>
                  </c:pt>
                  <c:pt idx="209">
                    <c:v>Rolling Mean (30 Minute)</c:v>
                  </c:pt>
                  <c:pt idx="210">
                    <c:v>Rolling Mean (30 Minute)</c:v>
                  </c:pt>
                  <c:pt idx="211">
                    <c:v>Rolling Mean (30 Minute)</c:v>
                  </c:pt>
                  <c:pt idx="212">
                    <c:v>Rolling Mean (30 Minute)</c:v>
                  </c:pt>
                  <c:pt idx="213">
                    <c:v>Rolling Mean (30 Minute)</c:v>
                  </c:pt>
                  <c:pt idx="214">
                    <c:v>Rolling Mean (30 Minute)</c:v>
                  </c:pt>
                  <c:pt idx="215">
                    <c:v>Rolling Mean (30 Minute)</c:v>
                  </c:pt>
                  <c:pt idx="216">
                    <c:v>Rolling Mean (30 Minute)</c:v>
                  </c:pt>
                  <c:pt idx="217">
                    <c:v>Rolling Mean (30 Minute)</c:v>
                  </c:pt>
                  <c:pt idx="218">
                    <c:v>Rolling Mean (30 Minute)</c:v>
                  </c:pt>
                  <c:pt idx="219">
                    <c:v>Rolling Mean (30 Minute)</c:v>
                  </c:pt>
                  <c:pt idx="220">
                    <c:v>Rolling Mean (30 Minute)</c:v>
                  </c:pt>
                  <c:pt idx="221">
                    <c:v>Rolling Mean (30 Minute)</c:v>
                  </c:pt>
                  <c:pt idx="222">
                    <c:v>Rolling Mean (30 Minute)</c:v>
                  </c:pt>
                  <c:pt idx="223">
                    <c:v>Rolling Mean (30 Minute)</c:v>
                  </c:pt>
                  <c:pt idx="224">
                    <c:v>Rolling Mean (30 Minute)</c:v>
                  </c:pt>
                  <c:pt idx="225">
                    <c:v>Rolling Mean (30 Minute)</c:v>
                  </c:pt>
                  <c:pt idx="226">
                    <c:v>Rolling Mean (30 Minute)</c:v>
                  </c:pt>
                  <c:pt idx="227">
                    <c:v>Rolling Mean (30 Minute)</c:v>
                  </c:pt>
                  <c:pt idx="228">
                    <c:v>Rolling Mean (30 Minute)</c:v>
                  </c:pt>
                  <c:pt idx="229">
                    <c:v>Rolling Mean (30 Minute)</c:v>
                  </c:pt>
                  <c:pt idx="230">
                    <c:v>Rolling Mean (30 Minute)</c:v>
                  </c:pt>
                  <c:pt idx="231">
                    <c:v>Rolling Mean (30 Minute)</c:v>
                  </c:pt>
                  <c:pt idx="232">
                    <c:v>Rolling Mean (30 Minute)</c:v>
                  </c:pt>
                  <c:pt idx="233">
                    <c:v>Rolling Mean (30 Minute)</c:v>
                  </c:pt>
                  <c:pt idx="234">
                    <c:v>Rolling Mean (30 Minute)</c:v>
                  </c:pt>
                  <c:pt idx="235">
                    <c:v>Rolling Mean (30 Minute)</c:v>
                  </c:pt>
                  <c:pt idx="236">
                    <c:v>Rolling Mean (30 Minute)</c:v>
                  </c:pt>
                  <c:pt idx="237">
                    <c:v>Rolling Mean (30 Minute)</c:v>
                  </c:pt>
                  <c:pt idx="238">
                    <c:v>Rolling Mean (30 Minute)</c:v>
                  </c:pt>
                  <c:pt idx="239">
                    <c:v>Rolling Mean (30 Minute)</c:v>
                  </c:pt>
                  <c:pt idx="240">
                    <c:v>Rolling Mean (30 Minute)</c:v>
                  </c:pt>
                  <c:pt idx="241">
                    <c:v>Rolling Mean (30 Minute)</c:v>
                  </c:pt>
                  <c:pt idx="242">
                    <c:v>Rolling Mean (30 Minute)</c:v>
                  </c:pt>
                  <c:pt idx="243">
                    <c:v>Rolling Mean (30 Minute)</c:v>
                  </c:pt>
                  <c:pt idx="244">
                    <c:v>Rolling Mean (30 Minute)</c:v>
                  </c:pt>
                  <c:pt idx="245">
                    <c:v>Rolling Mean (30 Minute)</c:v>
                  </c:pt>
                  <c:pt idx="246">
                    <c:v>Rolling Mean (30 Minute)</c:v>
                  </c:pt>
                  <c:pt idx="247">
                    <c:v>Rolling Mean (30 Minute)</c:v>
                  </c:pt>
                  <c:pt idx="248">
                    <c:v>Rolling Mean (30 Minute)</c:v>
                  </c:pt>
                  <c:pt idx="249">
                    <c:v>Rolling Mean (30 Minute)</c:v>
                  </c:pt>
                  <c:pt idx="250">
                    <c:v>Rolling Mean (30 Minute)</c:v>
                  </c:pt>
                  <c:pt idx="251">
                    <c:v>Rolling Mean (30 Minute)</c:v>
                  </c:pt>
                  <c:pt idx="252">
                    <c:v>Rolling Mean (30 Minute)</c:v>
                  </c:pt>
                  <c:pt idx="253">
                    <c:v>Rolling Mean (30 Minute)</c:v>
                  </c:pt>
                  <c:pt idx="254">
                    <c:v>Rolling Mean (30 Minute)</c:v>
                  </c:pt>
                  <c:pt idx="255">
                    <c:v>Rolling Mean (30 Minute)</c:v>
                  </c:pt>
                  <c:pt idx="256">
                    <c:v>Rolling Mean (30 Minute)</c:v>
                  </c:pt>
                  <c:pt idx="257">
                    <c:v>Rolling Mean (30 Minute)</c:v>
                  </c:pt>
                  <c:pt idx="258">
                    <c:v>Rolling Mean (30 Minute)</c:v>
                  </c:pt>
                  <c:pt idx="259">
                    <c:v>Rolling Mean (30 Minute)</c:v>
                  </c:pt>
                  <c:pt idx="260">
                    <c:v>Rolling Mean (30 Minute)</c:v>
                  </c:pt>
                  <c:pt idx="261">
                    <c:v>Rolling Mean (30 Minute)</c:v>
                  </c:pt>
                  <c:pt idx="262">
                    <c:v>Rolling Mean (30 Minute)</c:v>
                  </c:pt>
                  <c:pt idx="263">
                    <c:v>Rolling Mean (30 Minute)</c:v>
                  </c:pt>
                  <c:pt idx="264">
                    <c:v>Rolling Mean (30 Minute)</c:v>
                  </c:pt>
                  <c:pt idx="265">
                    <c:v>Rolling Mean (30 Minute)</c:v>
                  </c:pt>
                  <c:pt idx="266">
                    <c:v>Rolling Mean (30 Minute)</c:v>
                  </c:pt>
                  <c:pt idx="267">
                    <c:v>Rolling Mean (30 Minute)</c:v>
                  </c:pt>
                  <c:pt idx="268">
                    <c:v>Rolling Mean (30 Minute)</c:v>
                  </c:pt>
                  <c:pt idx="269">
                    <c:v>Rolling Mean (30 Minute)</c:v>
                  </c:pt>
                  <c:pt idx="270">
                    <c:v>Rolling Mean (30 Minute)</c:v>
                  </c:pt>
                  <c:pt idx="271">
                    <c:v>Rolling Mean (30 Minute)</c:v>
                  </c:pt>
                  <c:pt idx="272">
                    <c:v>Rolling Mean (30 Minute)</c:v>
                  </c:pt>
                  <c:pt idx="273">
                    <c:v>Rolling Mean (30 Minute)</c:v>
                  </c:pt>
                  <c:pt idx="274">
                    <c:v>Rolling Mean (30 Minute)</c:v>
                  </c:pt>
                  <c:pt idx="275">
                    <c:v>Rolling Mean (30 Minute)</c:v>
                  </c:pt>
                  <c:pt idx="276">
                    <c:v>Rolling Mean (30 Minute)</c:v>
                  </c:pt>
                  <c:pt idx="277">
                    <c:v>Rolling Mean (30 Minute)</c:v>
                  </c:pt>
                  <c:pt idx="278">
                    <c:v>Rolling Mean (30 Minute)</c:v>
                  </c:pt>
                  <c:pt idx="279">
                    <c:v>Rolling Mean (30 Minute)</c:v>
                  </c:pt>
                  <c:pt idx="280">
                    <c:v>Rolling Mean (30 Minute)</c:v>
                  </c:pt>
                  <c:pt idx="281">
                    <c:v>Rolling Mean (30 Minute)</c:v>
                  </c:pt>
                  <c:pt idx="282">
                    <c:v>Rolling Mean (30 Minute)</c:v>
                  </c:pt>
                  <c:pt idx="283">
                    <c:v>Rolling Mean (30 Minute)</c:v>
                  </c:pt>
                  <c:pt idx="284">
                    <c:v>Rolling Mean (30 Minute)</c:v>
                  </c:pt>
                  <c:pt idx="285">
                    <c:v>Rolling Mean (30 Minute)</c:v>
                  </c:pt>
                  <c:pt idx="286">
                    <c:v>Rolling Mean (30 Minute)</c:v>
                  </c:pt>
                  <c:pt idx="287">
                    <c:v>Rolling Mean (30 Minute)</c:v>
                  </c:pt>
                  <c:pt idx="288">
                    <c:v>Rolling Mean (30 Minute)</c:v>
                  </c:pt>
                  <c:pt idx="289">
                    <c:v>Rolling Mean (30 Minute)</c:v>
                  </c:pt>
                  <c:pt idx="290">
                    <c:v>Rolling Mean (30 Minute)</c:v>
                  </c:pt>
                  <c:pt idx="291">
                    <c:v>Rolling Mean (30 Minute)</c:v>
                  </c:pt>
                  <c:pt idx="292">
                    <c:v>Rolling Mean (30 Minute)</c:v>
                  </c:pt>
                  <c:pt idx="293">
                    <c:v>Rolling Mean (30 Minute)</c:v>
                  </c:pt>
                  <c:pt idx="294">
                    <c:v>Rolling Mean (30 Minute)</c:v>
                  </c:pt>
                  <c:pt idx="295">
                    <c:v>Rolling Mean (30 Minute)</c:v>
                  </c:pt>
                  <c:pt idx="296">
                    <c:v>Rolling Mean (30 Minute)</c:v>
                  </c:pt>
                  <c:pt idx="297">
                    <c:v>Rolling Mean (30 Minute)</c:v>
                  </c:pt>
                  <c:pt idx="298">
                    <c:v>Rolling Mean (30 Minute)</c:v>
                  </c:pt>
                  <c:pt idx="299">
                    <c:v>Rolling Mean (30 Minute)</c:v>
                  </c:pt>
                  <c:pt idx="300">
                    <c:v>Rolling Mean (30 Minute)</c:v>
                  </c:pt>
                  <c:pt idx="301">
                    <c:v>Rolling Mean (30 Minute)</c:v>
                  </c:pt>
                  <c:pt idx="302">
                    <c:v>Rolling Mean (30 Minute)</c:v>
                  </c:pt>
                  <c:pt idx="303">
                    <c:v>Rolling Mean (30 Minute)</c:v>
                  </c:pt>
                  <c:pt idx="304">
                    <c:v>Rolling Mean (30 Minute)</c:v>
                  </c:pt>
                  <c:pt idx="305">
                    <c:v>Rolling Mean (30 Minute)</c:v>
                  </c:pt>
                  <c:pt idx="306">
                    <c:v>Rolling Mean (30 Minute)</c:v>
                  </c:pt>
                  <c:pt idx="307">
                    <c:v>Rolling Mean (30 Minute)</c:v>
                  </c:pt>
                  <c:pt idx="308">
                    <c:v>Rolling Mean (30 Minute)</c:v>
                  </c:pt>
                  <c:pt idx="309">
                    <c:v>Rolling Mean (30 Minute)</c:v>
                  </c:pt>
                  <c:pt idx="310">
                    <c:v>Rolling Mean (30 Minute)</c:v>
                  </c:pt>
                  <c:pt idx="311">
                    <c:v>Rolling Mean (30 Minute)</c:v>
                  </c:pt>
                  <c:pt idx="312">
                    <c:v>Rolling Mean (30 Minute)</c:v>
                  </c:pt>
                  <c:pt idx="313">
                    <c:v>Rolling Mean (30 Minute)</c:v>
                  </c:pt>
                  <c:pt idx="314">
                    <c:v>Rolling Mean (30 Minute)</c:v>
                  </c:pt>
                  <c:pt idx="315">
                    <c:v>Rolling Mean (30 Minute)</c:v>
                  </c:pt>
                  <c:pt idx="316">
                    <c:v>Rolling Mean (30 Minute)</c:v>
                  </c:pt>
                  <c:pt idx="317">
                    <c:v>Rolling Mean (30 Minute)</c:v>
                  </c:pt>
                  <c:pt idx="318">
                    <c:v>Rolling Mean (30 Minute)</c:v>
                  </c:pt>
                  <c:pt idx="319">
                    <c:v>Rolling Mean (30 Minute)</c:v>
                  </c:pt>
                  <c:pt idx="320">
                    <c:v>Rolling Mean (30 Minute)</c:v>
                  </c:pt>
                  <c:pt idx="321">
                    <c:v>Rolling Mean (30 Minute)</c:v>
                  </c:pt>
                  <c:pt idx="322">
                    <c:v>Rolling Mean (30 Minute)</c:v>
                  </c:pt>
                  <c:pt idx="323">
                    <c:v>Rolling Mean (30 Minute)</c:v>
                  </c:pt>
                  <c:pt idx="324">
                    <c:v>Rolling Mean (30 Minute)</c:v>
                  </c:pt>
                  <c:pt idx="325">
                    <c:v>Rolling Mean (30 Minute)</c:v>
                  </c:pt>
                  <c:pt idx="326">
                    <c:v>Rolling Mean (30 Minute)</c:v>
                  </c:pt>
                  <c:pt idx="327">
                    <c:v>Rolling Mean (30 Minute)</c:v>
                  </c:pt>
                  <c:pt idx="328">
                    <c:v>Rolling Mean (30 Minute)</c:v>
                  </c:pt>
                  <c:pt idx="329">
                    <c:v>Rolling Mean (30 Minute)</c:v>
                  </c:pt>
                  <c:pt idx="330">
                    <c:v>Rolling Mean (30 Minute)</c:v>
                  </c:pt>
                  <c:pt idx="331">
                    <c:v>Rolling Mean (30 Minute)</c:v>
                  </c:pt>
                  <c:pt idx="332">
                    <c:v>Rolling Mean (30 Minute)</c:v>
                  </c:pt>
                  <c:pt idx="333">
                    <c:v>Rolling Mean (30 Minute)</c:v>
                  </c:pt>
                  <c:pt idx="334">
                    <c:v>Rolling Mean (30 Minute)</c:v>
                  </c:pt>
                  <c:pt idx="335">
                    <c:v>Rolling Mean (30 Minute)</c:v>
                  </c:pt>
                  <c:pt idx="336">
                    <c:v>Rolling Mean (30 Minute)</c:v>
                  </c:pt>
                  <c:pt idx="337">
                    <c:v>Rolling Mean (30 Minute)</c:v>
                  </c:pt>
                  <c:pt idx="338">
                    <c:v>Rolling Mean (30 Minute)</c:v>
                  </c:pt>
                  <c:pt idx="339">
                    <c:v>Rolling Mean (30 Minute)</c:v>
                  </c:pt>
                  <c:pt idx="340">
                    <c:v>Rolling Mean (30 Minute)</c:v>
                  </c:pt>
                  <c:pt idx="341">
                    <c:v>Rolling Mean (30 Minute)</c:v>
                  </c:pt>
                  <c:pt idx="342">
                    <c:v>Rolling Mean (30 Minute)</c:v>
                  </c:pt>
                  <c:pt idx="343">
                    <c:v>Rolling Mean (30 Minute)</c:v>
                  </c:pt>
                  <c:pt idx="344">
                    <c:v>Rolling Mean (30 Minute)</c:v>
                  </c:pt>
                  <c:pt idx="345">
                    <c:v>Rolling Mean (30 Minute)</c:v>
                  </c:pt>
                  <c:pt idx="346">
                    <c:v>Rolling Mean (30 Minute)</c:v>
                  </c:pt>
                  <c:pt idx="347">
                    <c:v>Rolling Mean (30 Minute)</c:v>
                  </c:pt>
                  <c:pt idx="348">
                    <c:v>Rolling Mean (30 Minute)</c:v>
                  </c:pt>
                  <c:pt idx="349">
                    <c:v>Rolling Mean (30 Minute)</c:v>
                  </c:pt>
                  <c:pt idx="350">
                    <c:v>Rolling Mean (30 Minute)</c:v>
                  </c:pt>
                  <c:pt idx="351">
                    <c:v>Rolling Mean (30 Minute)</c:v>
                  </c:pt>
                  <c:pt idx="352">
                    <c:v>Rolling Mean (30 Minute)</c:v>
                  </c:pt>
                  <c:pt idx="353">
                    <c:v>Rolling Mean (30 Minute)</c:v>
                  </c:pt>
                  <c:pt idx="354">
                    <c:v>Rolling Mean (30 Minute)</c:v>
                  </c:pt>
                  <c:pt idx="355">
                    <c:v>Rolling Mean (30 Minute)</c:v>
                  </c:pt>
                  <c:pt idx="356">
                    <c:v>Rolling Mean (30 Minute)</c:v>
                  </c:pt>
                  <c:pt idx="357">
                    <c:v>Rolling Mean (30 Minute)</c:v>
                  </c:pt>
                  <c:pt idx="358">
                    <c:v>Rolling Mean (30 Minute)</c:v>
                  </c:pt>
                  <c:pt idx="359">
                    <c:v>Rolling Mean (30 Minute)</c:v>
                  </c:pt>
                  <c:pt idx="360">
                    <c:v>Rolling Mean (30 Minute)</c:v>
                  </c:pt>
                  <c:pt idx="361">
                    <c:v>Rolling Mean (30 Minute)</c:v>
                  </c:pt>
                  <c:pt idx="362">
                    <c:v>Rolling Mean (30 Minute)</c:v>
                  </c:pt>
                  <c:pt idx="363">
                    <c:v>Rolling Mean (30 Minute)</c:v>
                  </c:pt>
                  <c:pt idx="364">
                    <c:v>Rolling Mean (30 Minute)</c:v>
                  </c:pt>
                  <c:pt idx="365">
                    <c:v>Rolling Mean (30 Minute)</c:v>
                  </c:pt>
                  <c:pt idx="366">
                    <c:v>Rolling Mean (30 Minute)</c:v>
                  </c:pt>
                  <c:pt idx="367">
                    <c:v>Rolling Mean (30 Minute)</c:v>
                  </c:pt>
                  <c:pt idx="368">
                    <c:v>Rolling Mean (30 Minute)</c:v>
                  </c:pt>
                  <c:pt idx="369">
                    <c:v>Rolling Mean (30 Minute)</c:v>
                  </c:pt>
                  <c:pt idx="370">
                    <c:v>Rolling Mean (30 Minute)</c:v>
                  </c:pt>
                  <c:pt idx="371">
                    <c:v>Rolling Mean (30 Minute)</c:v>
                  </c:pt>
                  <c:pt idx="372">
                    <c:v>Rolling Mean (30 Minute)</c:v>
                  </c:pt>
                  <c:pt idx="373">
                    <c:v>Rolling Mean (30 Minute)</c:v>
                  </c:pt>
                  <c:pt idx="374">
                    <c:v>Rolling Mean (30 Minute)</c:v>
                  </c:pt>
                  <c:pt idx="375">
                    <c:v>Rolling Mean (30 Minute)</c:v>
                  </c:pt>
                  <c:pt idx="376">
                    <c:v>Rolling Mean (30 Minute)</c:v>
                  </c:pt>
                  <c:pt idx="377">
                    <c:v>Rolling Mean (30 Minute)</c:v>
                  </c:pt>
                  <c:pt idx="378">
                    <c:v>Rolling Mean (30 Minute)</c:v>
                  </c:pt>
                  <c:pt idx="379">
                    <c:v>Rolling Mean (30 Minute)</c:v>
                  </c:pt>
                  <c:pt idx="380">
                    <c:v>Rolling Mean (30 Minute)</c:v>
                  </c:pt>
                  <c:pt idx="381">
                    <c:v>Rolling Mean (30 Minute)</c:v>
                  </c:pt>
                  <c:pt idx="382">
                    <c:v>Rolling Mean (30 Minute)</c:v>
                  </c:pt>
                  <c:pt idx="383">
                    <c:v>Rolling Mean (30 Minute)</c:v>
                  </c:pt>
                  <c:pt idx="384">
                    <c:v>Rolling Mean (30 Minute)</c:v>
                  </c:pt>
                  <c:pt idx="385">
                    <c:v>Rolling Mean (30 Minute)</c:v>
                  </c:pt>
                  <c:pt idx="386">
                    <c:v>Rolling Mean (30 Minute)</c:v>
                  </c:pt>
                  <c:pt idx="387">
                    <c:v>Rolling Mean (30 Minute)</c:v>
                  </c:pt>
                  <c:pt idx="388">
                    <c:v>Rolling Mean (30 Minute)</c:v>
                  </c:pt>
                  <c:pt idx="389">
                    <c:v>Rolling Mean (30 Minute)</c:v>
                  </c:pt>
                  <c:pt idx="390">
                    <c:v>Rolling Mean (30 Minute)</c:v>
                  </c:pt>
                  <c:pt idx="391">
                    <c:v>Rolling Mean (30 Minute)</c:v>
                  </c:pt>
                  <c:pt idx="392">
                    <c:v>Rolling Mean (30 Minute)</c:v>
                  </c:pt>
                  <c:pt idx="393">
                    <c:v>Rolling Mean (30 Minute)</c:v>
                  </c:pt>
                  <c:pt idx="394">
                    <c:v>Rolling Mean (30 Minute)</c:v>
                  </c:pt>
                  <c:pt idx="395">
                    <c:v>Rolling Mean (30 Minute)</c:v>
                  </c:pt>
                  <c:pt idx="396">
                    <c:v>Rolling Mean (30 Minute)</c:v>
                  </c:pt>
                  <c:pt idx="397">
                    <c:v>Rolling Mean (30 Minute)</c:v>
                  </c:pt>
                  <c:pt idx="398">
                    <c:v>Rolling Mean (30 Minute)</c:v>
                  </c:pt>
                  <c:pt idx="399">
                    <c:v>Rolling Mean (30 Minute)</c:v>
                  </c:pt>
                  <c:pt idx="400">
                    <c:v>Rolling Mean (30 Minute)</c:v>
                  </c:pt>
                  <c:pt idx="401">
                    <c:v>Rolling Mean (30 Minute)</c:v>
                  </c:pt>
                  <c:pt idx="402">
                    <c:v>Rolling Mean (30 Minute)</c:v>
                  </c:pt>
                  <c:pt idx="403">
                    <c:v>Rolling Mean (30 Minute)</c:v>
                  </c:pt>
                  <c:pt idx="404">
                    <c:v>Rolling Mean (30 Minute)</c:v>
                  </c:pt>
                  <c:pt idx="405">
                    <c:v>Rolling Mean (30 Minute)</c:v>
                  </c:pt>
                  <c:pt idx="406">
                    <c:v>Rolling Mean (30 Minute)</c:v>
                  </c:pt>
                  <c:pt idx="407">
                    <c:v>Rolling Mean (30 Minute)</c:v>
                  </c:pt>
                  <c:pt idx="408">
                    <c:v>Rolling Mean (30 Minute)</c:v>
                  </c:pt>
                  <c:pt idx="409">
                    <c:v>Rolling Mean (30 Minute)</c:v>
                  </c:pt>
                  <c:pt idx="410">
                    <c:v>Rolling Mean (30 Minute)</c:v>
                  </c:pt>
                  <c:pt idx="411">
                    <c:v>Rolling Mean (30 Minute)</c:v>
                  </c:pt>
                  <c:pt idx="412">
                    <c:v>Rolling Mean (30 Minute)</c:v>
                  </c:pt>
                  <c:pt idx="413">
                    <c:v>Rolling Mean (30 Minute)</c:v>
                  </c:pt>
                  <c:pt idx="414">
                    <c:v>Rolling Mean (30 Minute)</c:v>
                  </c:pt>
                  <c:pt idx="415">
                    <c:v>Rolling Mean (30 Minute)</c:v>
                  </c:pt>
                  <c:pt idx="416">
                    <c:v>Rolling Mean (30 Minute)</c:v>
                  </c:pt>
                  <c:pt idx="417">
                    <c:v>Rolling Mean (30 Minute)</c:v>
                  </c:pt>
                  <c:pt idx="418">
                    <c:v>Rolling Mean (30 Minute)</c:v>
                  </c:pt>
                  <c:pt idx="419">
                    <c:v>Rolling Mean (30 Minute)</c:v>
                  </c:pt>
                  <c:pt idx="420">
                    <c:v>Rolling Mean (30 Minute)</c:v>
                  </c:pt>
                  <c:pt idx="421">
                    <c:v>Rolling Mean (30 Minute)</c:v>
                  </c:pt>
                  <c:pt idx="422">
                    <c:v>Rolling Mean (30 Minute)</c:v>
                  </c:pt>
                  <c:pt idx="423">
                    <c:v>Rolling Mean (30 Minute)</c:v>
                  </c:pt>
                  <c:pt idx="424">
                    <c:v>Rolling Mean (30 Minute)</c:v>
                  </c:pt>
                  <c:pt idx="425">
                    <c:v>Rolling Mean (30 Minute)</c:v>
                  </c:pt>
                  <c:pt idx="426">
                    <c:v>Rolling Mean (30 Minute)</c:v>
                  </c:pt>
                  <c:pt idx="427">
                    <c:v>Rolling Mean (30 Minute)</c:v>
                  </c:pt>
                  <c:pt idx="428">
                    <c:v>Rolling Mean (30 Minute)</c:v>
                  </c:pt>
                  <c:pt idx="429">
                    <c:v>Rolling Mean (30 Minute)</c:v>
                  </c:pt>
                  <c:pt idx="430">
                    <c:v>Rolling Mean (30 Minute)</c:v>
                  </c:pt>
                  <c:pt idx="431">
                    <c:v>Rolling Mean (30 Minute)</c:v>
                  </c:pt>
                  <c:pt idx="432">
                    <c:v>Rolling Mean (30 Minute)</c:v>
                  </c:pt>
                  <c:pt idx="433">
                    <c:v>Rolling Mean (30 Minute)</c:v>
                  </c:pt>
                  <c:pt idx="434">
                    <c:v>Rolling Mean (30 Minute)</c:v>
                  </c:pt>
                  <c:pt idx="435">
                    <c:v>Rolling Mean (30 Minute)</c:v>
                  </c:pt>
                  <c:pt idx="436">
                    <c:v>Rolling Mean (30 Minute)</c:v>
                  </c:pt>
                  <c:pt idx="437">
                    <c:v>Rolling Mean (30 Minute)</c:v>
                  </c:pt>
                  <c:pt idx="438">
                    <c:v>Rolling Mean (30 Minute)</c:v>
                  </c:pt>
                  <c:pt idx="439">
                    <c:v>Rolling Mean (30 Minute)</c:v>
                  </c:pt>
                  <c:pt idx="440">
                    <c:v>Rolling Mean (30 Minute)</c:v>
                  </c:pt>
                  <c:pt idx="441">
                    <c:v>Rolling Mean (30 Minute)</c:v>
                  </c:pt>
                  <c:pt idx="442">
                    <c:v>Rolling Mean (30 Minute)</c:v>
                  </c:pt>
                  <c:pt idx="443">
                    <c:v>Rolling Mean (30 Minute)</c:v>
                  </c:pt>
                  <c:pt idx="444">
                    <c:v>Rolling Mean (30 Minute)</c:v>
                  </c:pt>
                  <c:pt idx="445">
                    <c:v>Rolling Mean (30 Minute)</c:v>
                  </c:pt>
                  <c:pt idx="446">
                    <c:v>Rolling Mean (30 Minute)</c:v>
                  </c:pt>
                  <c:pt idx="447">
                    <c:v>Rolling Mean (30 Minute)</c:v>
                  </c:pt>
                  <c:pt idx="448">
                    <c:v>Rolling Mean (30 Minute)</c:v>
                  </c:pt>
                  <c:pt idx="449">
                    <c:v>Rolling Mean (30 Minute)</c:v>
                  </c:pt>
                  <c:pt idx="450">
                    <c:v>Rolling Mean (30 Minute)</c:v>
                  </c:pt>
                  <c:pt idx="451">
                    <c:v>Rolling Mean (30 Minute)</c:v>
                  </c:pt>
                  <c:pt idx="452">
                    <c:v>Rolling Mean (30 Minute)</c:v>
                  </c:pt>
                  <c:pt idx="453">
                    <c:v>Rolling Mean (30 Minute)</c:v>
                  </c:pt>
                  <c:pt idx="454">
                    <c:v>Rolling Mean (30 Minute)</c:v>
                  </c:pt>
                  <c:pt idx="455">
                    <c:v>Rolling Mean (30 Minute)</c:v>
                  </c:pt>
                  <c:pt idx="456">
                    <c:v>Rolling Mean (30 Minute)</c:v>
                  </c:pt>
                  <c:pt idx="457">
                    <c:v>Rolling Mean (30 Minute)</c:v>
                  </c:pt>
                  <c:pt idx="458">
                    <c:v>Rolling Mean (30 Minute)</c:v>
                  </c:pt>
                  <c:pt idx="459">
                    <c:v>Rolling Mean (30 Minute)</c:v>
                  </c:pt>
                  <c:pt idx="460">
                    <c:v>Rolling Mean (30 Minute)</c:v>
                  </c:pt>
                  <c:pt idx="461">
                    <c:v>Rolling Mean (30 Minute)</c:v>
                  </c:pt>
                  <c:pt idx="462">
                    <c:v>Rolling Mean (30 Minute)</c:v>
                  </c:pt>
                  <c:pt idx="463">
                    <c:v>Rolling Mean (30 Minute)</c:v>
                  </c:pt>
                  <c:pt idx="464">
                    <c:v>Rolling Mean (30 Minute)</c:v>
                  </c:pt>
                  <c:pt idx="465">
                    <c:v>Rolling Mean (30 Minute)</c:v>
                  </c:pt>
                  <c:pt idx="466">
                    <c:v>Rolling Mean (30 Minute)</c:v>
                  </c:pt>
                  <c:pt idx="467">
                    <c:v>Rolling Mean (30 Minute)</c:v>
                  </c:pt>
                  <c:pt idx="468">
                    <c:v>Rolling Mean (30 Minute)</c:v>
                  </c:pt>
                  <c:pt idx="469">
                    <c:v>Rolling Mean (30 Minute)</c:v>
                  </c:pt>
                  <c:pt idx="470">
                    <c:v>Rolling Mean (30 Minute)</c:v>
                  </c:pt>
                  <c:pt idx="471">
                    <c:v>Rolling Mean (30 Minute)</c:v>
                  </c:pt>
                  <c:pt idx="472">
                    <c:v>Rolling Mean (30 Minute)</c:v>
                  </c:pt>
                  <c:pt idx="473">
                    <c:v>Rolling Mean (30 Minute)</c:v>
                  </c:pt>
                  <c:pt idx="474">
                    <c:v>Rolling Mean (30 Minute)</c:v>
                  </c:pt>
                  <c:pt idx="475">
                    <c:v>Rolling Mean (30 Minute)</c:v>
                  </c:pt>
                  <c:pt idx="476">
                    <c:v>Rolling Mean (30 Minute)</c:v>
                  </c:pt>
                  <c:pt idx="477">
                    <c:v>Rolling Mean (30 Minute)</c:v>
                  </c:pt>
                  <c:pt idx="478">
                    <c:v>Rolling Mean (30 Minute)</c:v>
                  </c:pt>
                  <c:pt idx="479">
                    <c:v>Rolling Mean (30 Minute)</c:v>
                  </c:pt>
                  <c:pt idx="480">
                    <c:v>Rolling Mean (30 Minute)</c:v>
                  </c:pt>
                  <c:pt idx="481">
                    <c:v>Rolling Mean (30 Minute)</c:v>
                  </c:pt>
                  <c:pt idx="482">
                    <c:v>Rolling Mean (30 Minute)</c:v>
                  </c:pt>
                  <c:pt idx="483">
                    <c:v>Rolling Mean (30 Minute)</c:v>
                  </c:pt>
                  <c:pt idx="484">
                    <c:v>Rolling Mean (30 Minute)</c:v>
                  </c:pt>
                  <c:pt idx="485">
                    <c:v>Rolling Mean (30 Minute)</c:v>
                  </c:pt>
                  <c:pt idx="486">
                    <c:v>Rolling Mean (30 Minute)</c:v>
                  </c:pt>
                  <c:pt idx="487">
                    <c:v>Rolling Mean (30 Minute)</c:v>
                  </c:pt>
                  <c:pt idx="488">
                    <c:v>Rolling Mean (30 Minute)</c:v>
                  </c:pt>
                  <c:pt idx="489">
                    <c:v>Rolling Mean (30 Minute)</c:v>
                  </c:pt>
                  <c:pt idx="490">
                    <c:v>Rolling Mean (30 Minute)</c:v>
                  </c:pt>
                  <c:pt idx="491">
                    <c:v>Rolling Mean (30 Minute)</c:v>
                  </c:pt>
                  <c:pt idx="492">
                    <c:v>Rolling Mean (30 Minute)</c:v>
                  </c:pt>
                  <c:pt idx="493">
                    <c:v>Rolling Mean (30 Minute)</c:v>
                  </c:pt>
                  <c:pt idx="494">
                    <c:v>Rolling Mean (30 Minute)</c:v>
                  </c:pt>
                  <c:pt idx="495">
                    <c:v>Rolling Mean (30 Minute)</c:v>
                  </c:pt>
                  <c:pt idx="496">
                    <c:v>Rolling Mean (30 Minute)</c:v>
                  </c:pt>
                  <c:pt idx="497">
                    <c:v>Rolling Mean (30 Minute)</c:v>
                  </c:pt>
                  <c:pt idx="498">
                    <c:v>Rolling Mean (30 Minute)</c:v>
                  </c:pt>
                  <c:pt idx="499">
                    <c:v>Rolling Mean (30 Minute)</c:v>
                  </c:pt>
                  <c:pt idx="500">
                    <c:v>Rolling Mean (30 Minute)</c:v>
                  </c:pt>
                  <c:pt idx="501">
                    <c:v>Rolling Mean (30 Minute)</c:v>
                  </c:pt>
                  <c:pt idx="502">
                    <c:v>Rolling Mean (30 Minute)</c:v>
                  </c:pt>
                  <c:pt idx="503">
                    <c:v>Rolling Mean (30 Minute)</c:v>
                  </c:pt>
                  <c:pt idx="504">
                    <c:v>Rolling Mean (30 Minute)</c:v>
                  </c:pt>
                  <c:pt idx="505">
                    <c:v>Rolling Mean (30 Minute)</c:v>
                  </c:pt>
                  <c:pt idx="506">
                    <c:v>Rolling Mean (30 Minute)</c:v>
                  </c:pt>
                  <c:pt idx="507">
                    <c:v>Rolling Mean (30 Minute)</c:v>
                  </c:pt>
                  <c:pt idx="508">
                    <c:v>Rolling Mean (30 Minute)</c:v>
                  </c:pt>
                  <c:pt idx="509">
                    <c:v>Rolling Mean (30 Minute)</c:v>
                  </c:pt>
                  <c:pt idx="510">
                    <c:v>Rolling Mean (30 Minute)</c:v>
                  </c:pt>
                  <c:pt idx="511">
                    <c:v>Rolling Mean (30 Minute)</c:v>
                  </c:pt>
                  <c:pt idx="512">
                    <c:v>Rolling Mean (30 Minute)</c:v>
                  </c:pt>
                  <c:pt idx="513">
                    <c:v>Rolling Mean (30 Minute)</c:v>
                  </c:pt>
                  <c:pt idx="514">
                    <c:v>Rolling Mean (30 Minute)</c:v>
                  </c:pt>
                  <c:pt idx="515">
                    <c:v>Rolling Mean (30 Minute)</c:v>
                  </c:pt>
                  <c:pt idx="516">
                    <c:v>Rolling Mean (30 Minute)</c:v>
                  </c:pt>
                  <c:pt idx="517">
                    <c:v>Rolling Mean (30 Minute)</c:v>
                  </c:pt>
                  <c:pt idx="518">
                    <c:v>Rolling Mean (30 Minute)</c:v>
                  </c:pt>
                  <c:pt idx="519">
                    <c:v>Rolling Mean (30 Minute)</c:v>
                  </c:pt>
                  <c:pt idx="520">
                    <c:v>Rolling Mean (30 Minute)</c:v>
                  </c:pt>
                  <c:pt idx="521">
                    <c:v>Rolling Mean (30 Minute)</c:v>
                  </c:pt>
                  <c:pt idx="522">
                    <c:v>Rolling Mean (30 Minute)</c:v>
                  </c:pt>
                  <c:pt idx="523">
                    <c:v>Rolling Mean (30 Minute)</c:v>
                  </c:pt>
                  <c:pt idx="524">
                    <c:v>Rolling Mean (30 Minute)</c:v>
                  </c:pt>
                  <c:pt idx="525">
                    <c:v>Rolling Mean (30 Minute)</c:v>
                  </c:pt>
                  <c:pt idx="526">
                    <c:v>Rolling Mean (30 Minute)</c:v>
                  </c:pt>
                  <c:pt idx="527">
                    <c:v>Rolling Mean (30 Minute)</c:v>
                  </c:pt>
                  <c:pt idx="528">
                    <c:v>Rolling Mean (30 Minute)</c:v>
                  </c:pt>
                  <c:pt idx="529">
                    <c:v>Rolling Mean (30 Minute)</c:v>
                  </c:pt>
                  <c:pt idx="530">
                    <c:v>Rolling Mean (30 Minute)</c:v>
                  </c:pt>
                  <c:pt idx="531">
                    <c:v>Rolling Mean (30 Minute)</c:v>
                  </c:pt>
                  <c:pt idx="532">
                    <c:v>Rolling Mean (30 Minute)</c:v>
                  </c:pt>
                  <c:pt idx="533">
                    <c:v>Rolling Mean (30 Minute)</c:v>
                  </c:pt>
                  <c:pt idx="534">
                    <c:v>Rolling Mean (30 Minute)</c:v>
                  </c:pt>
                  <c:pt idx="535">
                    <c:v>Rolling Mean (30 Minute)</c:v>
                  </c:pt>
                  <c:pt idx="536">
                    <c:v>Rolling Mean (30 Minute)</c:v>
                  </c:pt>
                  <c:pt idx="537">
                    <c:v>Rolling Mean (30 Minute)</c:v>
                  </c:pt>
                  <c:pt idx="538">
                    <c:v>Rolling Mean (30 Minute)</c:v>
                  </c:pt>
                  <c:pt idx="539">
                    <c:v>Rolling Mean (30 Minute)</c:v>
                  </c:pt>
                  <c:pt idx="540">
                    <c:v>Rolling Mean (30 Minute)</c:v>
                  </c:pt>
                  <c:pt idx="541">
                    <c:v>Rolling Mean (30 Minute)</c:v>
                  </c:pt>
                  <c:pt idx="542">
                    <c:v>Rolling Mean (30 Minute)</c:v>
                  </c:pt>
                  <c:pt idx="543">
                    <c:v>Rolling Mean (30 Minute)</c:v>
                  </c:pt>
                  <c:pt idx="544">
                    <c:v>Rolling Mean (30 Minute)</c:v>
                  </c:pt>
                  <c:pt idx="545">
                    <c:v>Rolling Mean (30 Minute)</c:v>
                  </c:pt>
                  <c:pt idx="546">
                    <c:v>Rolling Mean (30 Minute)</c:v>
                  </c:pt>
                  <c:pt idx="547">
                    <c:v>Rolling Mean (30 Minute)</c:v>
                  </c:pt>
                  <c:pt idx="548">
                    <c:v>Rolling Mean (30 Minute)</c:v>
                  </c:pt>
                  <c:pt idx="549">
                    <c:v>Rolling Mean (30 Minute)</c:v>
                  </c:pt>
                  <c:pt idx="550">
                    <c:v>Rolling Mean (30 Minute)</c:v>
                  </c:pt>
                  <c:pt idx="551">
                    <c:v>Rolling Mean (30 Minute)</c:v>
                  </c:pt>
                  <c:pt idx="552">
                    <c:v>Rolling Mean (30 Minute)</c:v>
                  </c:pt>
                  <c:pt idx="553">
                    <c:v>Rolling Mean (30 Minute)</c:v>
                  </c:pt>
                  <c:pt idx="554">
                    <c:v>Rolling Mean (30 Minute)</c:v>
                  </c:pt>
                  <c:pt idx="555">
                    <c:v>Rolling Mean (30 Minute)</c:v>
                  </c:pt>
                  <c:pt idx="556">
                    <c:v>Rolling Mean (30 Minute)</c:v>
                  </c:pt>
                  <c:pt idx="557">
                    <c:v>Rolling Mean (30 Minute)</c:v>
                  </c:pt>
                  <c:pt idx="558">
                    <c:v>Rolling Mean (30 Minute)</c:v>
                  </c:pt>
                  <c:pt idx="559">
                    <c:v>Rolling Mean (30 Minute)</c:v>
                  </c:pt>
                  <c:pt idx="560">
                    <c:v>Rolling Mean (30 Minute)</c:v>
                  </c:pt>
                  <c:pt idx="561">
                    <c:v>Rolling Mean (30 Minute)</c:v>
                  </c:pt>
                  <c:pt idx="562">
                    <c:v>Rolling Mean (30 Minute)</c:v>
                  </c:pt>
                  <c:pt idx="563">
                    <c:v>Rolling Mean (30 Minute)</c:v>
                  </c:pt>
                  <c:pt idx="564">
                    <c:v>Rolling Mean (30 Minute)</c:v>
                  </c:pt>
                  <c:pt idx="565">
                    <c:v>Rolling Mean (30 Minute)</c:v>
                  </c:pt>
                  <c:pt idx="566">
                    <c:v>Rolling Mean (30 Minute)</c:v>
                  </c:pt>
                  <c:pt idx="567">
                    <c:v>Rolling Mean (30 Minute)</c:v>
                  </c:pt>
                  <c:pt idx="568">
                    <c:v>Rolling Mean (30 Minute)</c:v>
                  </c:pt>
                  <c:pt idx="569">
                    <c:v>Rolling Mean (30 Minute)</c:v>
                  </c:pt>
                  <c:pt idx="570">
                    <c:v>Rolling Mean (30 Minute)</c:v>
                  </c:pt>
                  <c:pt idx="571">
                    <c:v>Rolling Mean (30 Minute)</c:v>
                  </c:pt>
                  <c:pt idx="572">
                    <c:v>Rolling Mean (30 Minute)</c:v>
                  </c:pt>
                  <c:pt idx="573">
                    <c:v>Rolling Mean (30 Minute)</c:v>
                  </c:pt>
                  <c:pt idx="574">
                    <c:v>Rolling Mean (30 Minute)</c:v>
                  </c:pt>
                  <c:pt idx="575">
                    <c:v>Rolling Mean (30 Minute)</c:v>
                  </c:pt>
                  <c:pt idx="576">
                    <c:v>Rolling Mean (30 Minute)</c:v>
                  </c:pt>
                  <c:pt idx="577">
                    <c:v>Rolling Mean (30 Minute)</c:v>
                  </c:pt>
                  <c:pt idx="578">
                    <c:v>Rolling Mean (30 Minute)</c:v>
                  </c:pt>
                  <c:pt idx="579">
                    <c:v>Rolling Mean (30 Minute)</c:v>
                  </c:pt>
                  <c:pt idx="580">
                    <c:v>Rolling Mean (30 Minute)</c:v>
                  </c:pt>
                  <c:pt idx="581">
                    <c:v>Rolling Mean (30 Minute)</c:v>
                  </c:pt>
                  <c:pt idx="582">
                    <c:v>Rolling Mean (30 Minute)</c:v>
                  </c:pt>
                  <c:pt idx="583">
                    <c:v>Rolling Mean (30 Minute)</c:v>
                  </c:pt>
                  <c:pt idx="584">
                    <c:v>Rolling Mean (30 Minute)</c:v>
                  </c:pt>
                  <c:pt idx="585">
                    <c:v>Rolling Mean (30 Minute)</c:v>
                  </c:pt>
                  <c:pt idx="586">
                    <c:v>Rolling Mean (30 Minute)</c:v>
                  </c:pt>
                  <c:pt idx="587">
                    <c:v>Rolling Mean (30 Minute)</c:v>
                  </c:pt>
                  <c:pt idx="588">
                    <c:v>Rolling Mean (30 Minute)</c:v>
                  </c:pt>
                  <c:pt idx="589">
                    <c:v>Rolling Mean (30 Minute)</c:v>
                  </c:pt>
                  <c:pt idx="590">
                    <c:v>Rolling Mean (30 Minute)</c:v>
                  </c:pt>
                  <c:pt idx="591">
                    <c:v>Rolling Mean (30 Minute)</c:v>
                  </c:pt>
                  <c:pt idx="592">
                    <c:v>Rolling Mean (30 Minute)</c:v>
                  </c:pt>
                  <c:pt idx="593">
                    <c:v>Rolling Mean (30 Minute)</c:v>
                  </c:pt>
                  <c:pt idx="594">
                    <c:v>Rolling Mean (30 Minute)</c:v>
                  </c:pt>
                  <c:pt idx="595">
                    <c:v>Rolling Mean (30 Minute)</c:v>
                  </c:pt>
                  <c:pt idx="596">
                    <c:v>Rolling Mean (30 Minute)</c:v>
                  </c:pt>
                  <c:pt idx="597">
                    <c:v>Rolling Mean (30 Minute)</c:v>
                  </c:pt>
                  <c:pt idx="598">
                    <c:v>Rolling Mean (30 Minute)</c:v>
                  </c:pt>
                  <c:pt idx="599">
                    <c:v>Rolling Mean (30 Minute)</c:v>
                  </c:pt>
                  <c:pt idx="600">
                    <c:v>Rolling Mean (30 Minute)</c:v>
                  </c:pt>
                  <c:pt idx="601">
                    <c:v>Rolling Mean (30 Minute)</c:v>
                  </c:pt>
                  <c:pt idx="602">
                    <c:v>Rolling Mean (30 Minute)</c:v>
                  </c:pt>
                  <c:pt idx="603">
                    <c:v>Rolling Mean (30 Minute)</c:v>
                  </c:pt>
                  <c:pt idx="604">
                    <c:v>Rolling Mean (30 Minute)</c:v>
                  </c:pt>
                  <c:pt idx="605">
                    <c:v>Rolling Mean (30 Minute)</c:v>
                  </c:pt>
                  <c:pt idx="606">
                    <c:v>Rolling Mean (30 Minute)</c:v>
                  </c:pt>
                  <c:pt idx="607">
                    <c:v>Rolling Mean (30 Minute)</c:v>
                  </c:pt>
                  <c:pt idx="608">
                    <c:v>Rolling Mean (30 Minute)</c:v>
                  </c:pt>
                  <c:pt idx="609">
                    <c:v>Rolling Mean (30 Minute)</c:v>
                  </c:pt>
                  <c:pt idx="610">
                    <c:v>Rolling Mean (30 Minute)</c:v>
                  </c:pt>
                  <c:pt idx="611">
                    <c:v>Rolling Mean (30 Minute)</c:v>
                  </c:pt>
                  <c:pt idx="612">
                    <c:v>Rolling Mean (30 Minute)</c:v>
                  </c:pt>
                  <c:pt idx="613">
                    <c:v>Rolling Mean (30 Minute)</c:v>
                  </c:pt>
                  <c:pt idx="614">
                    <c:v>Rolling Mean (30 Minute)</c:v>
                  </c:pt>
                  <c:pt idx="615">
                    <c:v>Rolling Mean (30 Minute)</c:v>
                  </c:pt>
                  <c:pt idx="616">
                    <c:v>Rolling Mean (30 Minute)</c:v>
                  </c:pt>
                  <c:pt idx="617">
                    <c:v>Rolling Mean (30 Minute)</c:v>
                  </c:pt>
                  <c:pt idx="618">
                    <c:v>Rolling Mean (30 Minute)</c:v>
                  </c:pt>
                  <c:pt idx="619">
                    <c:v>Rolling Mean (30 Minute)</c:v>
                  </c:pt>
                  <c:pt idx="620">
                    <c:v>Rolling Mean (30 Minute)</c:v>
                  </c:pt>
                  <c:pt idx="621">
                    <c:v>Rolling Mean (30 Minute)</c:v>
                  </c:pt>
                  <c:pt idx="622">
                    <c:v>Rolling Mean (30 Minute)</c:v>
                  </c:pt>
                  <c:pt idx="623">
                    <c:v>Rolling Mean (30 Minute)</c:v>
                  </c:pt>
                  <c:pt idx="624">
                    <c:v>Rolling Mean (30 Minute)</c:v>
                  </c:pt>
                  <c:pt idx="625">
                    <c:v>Rolling Mean (30 Minute)</c:v>
                  </c:pt>
                  <c:pt idx="626">
                    <c:v>Rolling Mean (30 Minute)</c:v>
                  </c:pt>
                  <c:pt idx="627">
                    <c:v>Rolling Mean (30 Minute)</c:v>
                  </c:pt>
                  <c:pt idx="628">
                    <c:v>Rolling Mean (30 Minute)</c:v>
                  </c:pt>
                  <c:pt idx="629">
                    <c:v>Rolling Mean (30 Minute)</c:v>
                  </c:pt>
                  <c:pt idx="630">
                    <c:v>Rolling Mean (30 Minute)</c:v>
                  </c:pt>
                  <c:pt idx="631">
                    <c:v>Rolling Mean (30 Minute)</c:v>
                  </c:pt>
                  <c:pt idx="632">
                    <c:v>Rolling Mean (30 Minute)</c:v>
                  </c:pt>
                  <c:pt idx="633">
                    <c:v>Rolling Mean (30 Minute)</c:v>
                  </c:pt>
                  <c:pt idx="634">
                    <c:v>Rolling Mean (30 Minute)</c:v>
                  </c:pt>
                  <c:pt idx="635">
                    <c:v>Rolling Mean (30 Minute)</c:v>
                  </c:pt>
                  <c:pt idx="636">
                    <c:v>Rolling Mean (30 Minute)</c:v>
                  </c:pt>
                  <c:pt idx="637">
                    <c:v>Rolling Mean (30 Minute)</c:v>
                  </c:pt>
                  <c:pt idx="638">
                    <c:v>Rolling Mean (30 Minute)</c:v>
                  </c:pt>
                  <c:pt idx="639">
                    <c:v>Rolling Mean (30 Minute)</c:v>
                  </c:pt>
                  <c:pt idx="640">
                    <c:v>Rolling Mean (30 Minute)</c:v>
                  </c:pt>
                  <c:pt idx="641">
                    <c:v>Rolling Mean (30 Minute)</c:v>
                  </c:pt>
                  <c:pt idx="642">
                    <c:v>Rolling Mean (30 Minute)</c:v>
                  </c:pt>
                  <c:pt idx="643">
                    <c:v>Rolling Mean (30 Minute)</c:v>
                  </c:pt>
                  <c:pt idx="644">
                    <c:v>Rolling Mean (30 Minute)</c:v>
                  </c:pt>
                  <c:pt idx="645">
                    <c:v>Rolling Mean (30 Minute)</c:v>
                  </c:pt>
                  <c:pt idx="646">
                    <c:v>Rolling Mean (30 Minute)</c:v>
                  </c:pt>
                  <c:pt idx="647">
                    <c:v>Rolling Mean (30 Minute)</c:v>
                  </c:pt>
                  <c:pt idx="648">
                    <c:v>Rolling Mean (30 Minute)</c:v>
                  </c:pt>
                  <c:pt idx="649">
                    <c:v>Rolling Mean (30 Minute)</c:v>
                  </c:pt>
                  <c:pt idx="650">
                    <c:v>Rolling Mean (30 Minute)</c:v>
                  </c:pt>
                  <c:pt idx="651">
                    <c:v>Rolling Mean (30 Minute)</c:v>
                  </c:pt>
                  <c:pt idx="652">
                    <c:v>Rolling Mean (30 Minute)</c:v>
                  </c:pt>
                  <c:pt idx="653">
                    <c:v>Rolling Mean (30 Minute)</c:v>
                  </c:pt>
                  <c:pt idx="654">
                    <c:v>Rolling Mean (30 Minute)</c:v>
                  </c:pt>
                  <c:pt idx="655">
                    <c:v>Rolling Mean (30 Minute)</c:v>
                  </c:pt>
                  <c:pt idx="656">
                    <c:v>Rolling Mean (30 Minute)</c:v>
                  </c:pt>
                  <c:pt idx="657">
                    <c:v>Rolling Mean (30 Minute)</c:v>
                  </c:pt>
                  <c:pt idx="658">
                    <c:v>Rolling Mean (30 Minute)</c:v>
                  </c:pt>
                  <c:pt idx="659">
                    <c:v>Rolling Mean (30 Minute)</c:v>
                  </c:pt>
                  <c:pt idx="660">
                    <c:v>Rolling Mean (30 Minute)</c:v>
                  </c:pt>
                  <c:pt idx="661">
                    <c:v>Rolling Mean (30 Minute)</c:v>
                  </c:pt>
                  <c:pt idx="662">
                    <c:v>Rolling Mean (30 Minute)</c:v>
                  </c:pt>
                  <c:pt idx="663">
                    <c:v>Rolling Mean (30 Minute)</c:v>
                  </c:pt>
                  <c:pt idx="664">
                    <c:v>Rolling Mean (30 Minute)</c:v>
                  </c:pt>
                  <c:pt idx="665">
                    <c:v>Rolling Mean (30 Minute)</c:v>
                  </c:pt>
                  <c:pt idx="666">
                    <c:v>Rolling Mean (30 Minute)</c:v>
                  </c:pt>
                  <c:pt idx="667">
                    <c:v>Rolling Mean (30 Minute)</c:v>
                  </c:pt>
                  <c:pt idx="668">
                    <c:v>Rolling Mean (30 Minute)</c:v>
                  </c:pt>
                  <c:pt idx="669">
                    <c:v>Rolling Mean (30 Minute)</c:v>
                  </c:pt>
                  <c:pt idx="670">
                    <c:v>Rolling Mean (30 Minute)</c:v>
                  </c:pt>
                  <c:pt idx="671">
                    <c:v>Rolling Mean (30 Minute)</c:v>
                  </c:pt>
                  <c:pt idx="672">
                    <c:v>Rolling Mean (30 Minute)</c:v>
                  </c:pt>
                  <c:pt idx="673">
                    <c:v>Rolling Mean (30 Minute)</c:v>
                  </c:pt>
                  <c:pt idx="674">
                    <c:v>Rolling Mean (30 Minute)</c:v>
                  </c:pt>
                  <c:pt idx="675">
                    <c:v>Rolling Mean (30 Minute)</c:v>
                  </c:pt>
                  <c:pt idx="676">
                    <c:v>Rolling Mean (30 Minute)</c:v>
                  </c:pt>
                  <c:pt idx="677">
                    <c:v>Rolling Mean (30 Minute)</c:v>
                  </c:pt>
                  <c:pt idx="678">
                    <c:v>Rolling Mean (30 Minute)</c:v>
                  </c:pt>
                  <c:pt idx="679">
                    <c:v>Rolling Mean (30 Minute)</c:v>
                  </c:pt>
                  <c:pt idx="680">
                    <c:v>Rolling Mean (30 Minute)</c:v>
                  </c:pt>
                  <c:pt idx="681">
                    <c:v>Rolling Mean (30 Minute)</c:v>
                  </c:pt>
                  <c:pt idx="682">
                    <c:v>Rolling Mean (30 Minute)</c:v>
                  </c:pt>
                  <c:pt idx="683">
                    <c:v>Rolling Mean (30 Minute)</c:v>
                  </c:pt>
                  <c:pt idx="684">
                    <c:v>Rolling Mean (30 Minute)</c:v>
                  </c:pt>
                  <c:pt idx="685">
                    <c:v>Rolling Mean (30 Minute)</c:v>
                  </c:pt>
                  <c:pt idx="686">
                    <c:v>Rolling Mean (30 Minute)</c:v>
                  </c:pt>
                  <c:pt idx="687">
                    <c:v>Rolling Mean (30 Minute)</c:v>
                  </c:pt>
                  <c:pt idx="688">
                    <c:v>Rolling Mean (30 Minute)</c:v>
                  </c:pt>
                  <c:pt idx="689">
                    <c:v>Rolling Mean (30 Minute)</c:v>
                  </c:pt>
                  <c:pt idx="690">
                    <c:v>Rolling Mean (30 Minute)</c:v>
                  </c:pt>
                  <c:pt idx="691">
                    <c:v>Rolling Mean (30 Minute)</c:v>
                  </c:pt>
                  <c:pt idx="692">
                    <c:v>Rolling Mean (30 Minute)</c:v>
                  </c:pt>
                  <c:pt idx="693">
                    <c:v>Rolling Mean (30 Minute)</c:v>
                  </c:pt>
                  <c:pt idx="694">
                    <c:v>Rolling Mean (30 Minute)</c:v>
                  </c:pt>
                  <c:pt idx="695">
                    <c:v>Rolling Mean (30 Minute)</c:v>
                  </c:pt>
                  <c:pt idx="696">
                    <c:v>Rolling Mean (30 Minute)</c:v>
                  </c:pt>
                  <c:pt idx="697">
                    <c:v>Rolling Mean (30 Minute)</c:v>
                  </c:pt>
                  <c:pt idx="698">
                    <c:v>Rolling Mean (30 Minute)</c:v>
                  </c:pt>
                  <c:pt idx="699">
                    <c:v>Rolling Mean (30 Minute)</c:v>
                  </c:pt>
                  <c:pt idx="700">
                    <c:v>Rolling Mean (30 Minute)</c:v>
                  </c:pt>
                  <c:pt idx="701">
                    <c:v>Rolling Mean (30 Minute)</c:v>
                  </c:pt>
                  <c:pt idx="702">
                    <c:v>Rolling Mean (30 Minute)</c:v>
                  </c:pt>
                  <c:pt idx="703">
                    <c:v>Rolling Mean (30 Minute)</c:v>
                  </c:pt>
                  <c:pt idx="704">
                    <c:v>Rolling Mean (30 Minute)</c:v>
                  </c:pt>
                  <c:pt idx="705">
                    <c:v>Rolling Mean (30 Minute)</c:v>
                  </c:pt>
                  <c:pt idx="706">
                    <c:v>Rolling Mean (30 Minute)</c:v>
                  </c:pt>
                  <c:pt idx="707">
                    <c:v>Rolling Mean (30 Minute)</c:v>
                  </c:pt>
                  <c:pt idx="708">
                    <c:v>Rolling Mean (30 Minute)</c:v>
                  </c:pt>
                  <c:pt idx="709">
                    <c:v>Rolling Mean (30 Minute)</c:v>
                  </c:pt>
                  <c:pt idx="710">
                    <c:v>Rolling Mean (30 Minute)</c:v>
                  </c:pt>
                  <c:pt idx="711">
                    <c:v>Rolling Mean (30 Minute)</c:v>
                  </c:pt>
                  <c:pt idx="712">
                    <c:v>Rolling Mean (30 Minute)</c:v>
                  </c:pt>
                  <c:pt idx="713">
                    <c:v>Rolling Mean (30 Minute)</c:v>
                  </c:pt>
                  <c:pt idx="714">
                    <c:v>Rolling Mean (30 Minute)</c:v>
                  </c:pt>
                  <c:pt idx="715">
                    <c:v>Rolling Mean (30 Minute)</c:v>
                  </c:pt>
                  <c:pt idx="716">
                    <c:v>Rolling Mean (30 Minute)</c:v>
                  </c:pt>
                  <c:pt idx="717">
                    <c:v>Rolling Mean (30 Minute)</c:v>
                  </c:pt>
                  <c:pt idx="718">
                    <c:v>Rolling Mean (30 Minute)</c:v>
                  </c:pt>
                  <c:pt idx="719">
                    <c:v>Rolling Mean (30 Minute)</c:v>
                  </c:pt>
                  <c:pt idx="720">
                    <c:v>Rolling Mean (30 Minute)</c:v>
                  </c:pt>
                  <c:pt idx="721">
                    <c:v>Rolling Mean (30 Minute)</c:v>
                  </c:pt>
                  <c:pt idx="722">
                    <c:v>Rolling Mean (30 Minute)</c:v>
                  </c:pt>
                  <c:pt idx="723">
                    <c:v>Rolling Mean (30 Minute)</c:v>
                  </c:pt>
                  <c:pt idx="724">
                    <c:v>Rolling Mean (30 Minute)</c:v>
                  </c:pt>
                  <c:pt idx="725">
                    <c:v>Rolling Mean (30 Minute)</c:v>
                  </c:pt>
                  <c:pt idx="726">
                    <c:v>Rolling Mean (30 Minute)</c:v>
                  </c:pt>
                  <c:pt idx="727">
                    <c:v>Rolling Mean (30 Minute)</c:v>
                  </c:pt>
                  <c:pt idx="728">
                    <c:v>Rolling Mean (30 Minute)</c:v>
                  </c:pt>
                  <c:pt idx="729">
                    <c:v>Rolling Mean (30 Minute)</c:v>
                  </c:pt>
                  <c:pt idx="730">
                    <c:v>Rolling Mean (30 Minute)</c:v>
                  </c:pt>
                  <c:pt idx="731">
                    <c:v>Rolling Mean (30 Minute)</c:v>
                  </c:pt>
                  <c:pt idx="732">
                    <c:v>Rolling Mean (30 Minute)</c:v>
                  </c:pt>
                  <c:pt idx="733">
                    <c:v>Rolling Mean (30 Minute)</c:v>
                  </c:pt>
                  <c:pt idx="734">
                    <c:v>Rolling Mean (30 Minute)</c:v>
                  </c:pt>
                  <c:pt idx="735">
                    <c:v>Rolling Mean (30 Minute)</c:v>
                  </c:pt>
                  <c:pt idx="736">
                    <c:v>Rolling Mean (30 Minute)</c:v>
                  </c:pt>
                  <c:pt idx="737">
                    <c:v>Rolling Mean (30 Minute)</c:v>
                  </c:pt>
                  <c:pt idx="738">
                    <c:v>Rolling Mean (30 Minute)</c:v>
                  </c:pt>
                  <c:pt idx="739">
                    <c:v>Rolling Mean (30 Minute)</c:v>
                  </c:pt>
                  <c:pt idx="740">
                    <c:v>Rolling Mean (30 Minute)</c:v>
                  </c:pt>
                  <c:pt idx="741">
                    <c:v>Rolling Mean (30 Minute)</c:v>
                  </c:pt>
                  <c:pt idx="742">
                    <c:v>Rolling Mean (30 Minute)</c:v>
                  </c:pt>
                  <c:pt idx="743">
                    <c:v>Rolling Mean (30 Minute)</c:v>
                  </c:pt>
                  <c:pt idx="744">
                    <c:v>Rolling Mean (30 Minute)</c:v>
                  </c:pt>
                  <c:pt idx="745">
                    <c:v>Rolling Mean (30 Minute)</c:v>
                  </c:pt>
                  <c:pt idx="746">
                    <c:v>Rolling Mean (30 Minute)</c:v>
                  </c:pt>
                  <c:pt idx="747">
                    <c:v>Rolling Mean (30 Minute)</c:v>
                  </c:pt>
                  <c:pt idx="748">
                    <c:v>Rolling Mean (30 Minute)</c:v>
                  </c:pt>
                  <c:pt idx="749">
                    <c:v>Rolling Mean (30 Minute)</c:v>
                  </c:pt>
                  <c:pt idx="750">
                    <c:v>Rolling Mean (30 Minute)</c:v>
                  </c:pt>
                  <c:pt idx="751">
                    <c:v>Rolling Mean (30 Minute)</c:v>
                  </c:pt>
                  <c:pt idx="752">
                    <c:v>Rolling Mean (30 Minute)</c:v>
                  </c:pt>
                  <c:pt idx="753">
                    <c:v>Rolling Mean (30 Minute)</c:v>
                  </c:pt>
                  <c:pt idx="754">
                    <c:v>Rolling Mean (30 Minute)</c:v>
                  </c:pt>
                  <c:pt idx="755">
                    <c:v>Rolling Mean (30 Minute)</c:v>
                  </c:pt>
                  <c:pt idx="756">
                    <c:v>Rolling Mean (30 Minute)</c:v>
                  </c:pt>
                  <c:pt idx="757">
                    <c:v>Rolling Mean (30 Minute)</c:v>
                  </c:pt>
                  <c:pt idx="758">
                    <c:v>Rolling Mean (30 Minute)</c:v>
                  </c:pt>
                  <c:pt idx="759">
                    <c:v>Rolling Mean (30 Minute)</c:v>
                  </c:pt>
                  <c:pt idx="760">
                    <c:v>Rolling Mean (30 Minute)</c:v>
                  </c:pt>
                  <c:pt idx="761">
                    <c:v>Rolling Mean (30 Minute)</c:v>
                  </c:pt>
                  <c:pt idx="762">
                    <c:v>Rolling Mean (30 Minute)</c:v>
                  </c:pt>
                  <c:pt idx="763">
                    <c:v>Rolling Mean (30 Minute)</c:v>
                  </c:pt>
                  <c:pt idx="764">
                    <c:v>Rolling Mean (30 Minute)</c:v>
                  </c:pt>
                  <c:pt idx="765">
                    <c:v>Rolling Mean (30 Minute)</c:v>
                  </c:pt>
                  <c:pt idx="766">
                    <c:v>Rolling Mean (30 Minute)</c:v>
                  </c:pt>
                  <c:pt idx="767">
                    <c:v>Rolling Mean (30 Minute)</c:v>
                  </c:pt>
                  <c:pt idx="768">
                    <c:v>Rolling Mean (30 Minute)</c:v>
                  </c:pt>
                  <c:pt idx="769">
                    <c:v>Rolling Mean (30 Minute)</c:v>
                  </c:pt>
                  <c:pt idx="770">
                    <c:v>Rolling Mean (30 Minute)</c:v>
                  </c:pt>
                  <c:pt idx="771">
                    <c:v>Rolling Mean (30 Minute)</c:v>
                  </c:pt>
                  <c:pt idx="772">
                    <c:v>Rolling Mean (30 Minute)</c:v>
                  </c:pt>
                  <c:pt idx="773">
                    <c:v>Rolling Mean (30 Minute)</c:v>
                  </c:pt>
                  <c:pt idx="774">
                    <c:v>Rolling Mean (30 Minute)</c:v>
                  </c:pt>
                  <c:pt idx="775">
                    <c:v>Rolling Mean (30 Minute)</c:v>
                  </c:pt>
                  <c:pt idx="776">
                    <c:v>Rolling Mean (30 Minute)</c:v>
                  </c:pt>
                  <c:pt idx="777">
                    <c:v>Rolling Mean (30 Minute)</c:v>
                  </c:pt>
                  <c:pt idx="778">
                    <c:v>Rolling Mean (30 Minute)</c:v>
                  </c:pt>
                  <c:pt idx="779">
                    <c:v>Rolling Mean (30 Minute)</c:v>
                  </c:pt>
                  <c:pt idx="780">
                    <c:v>Rolling Mean (30 Minute)</c:v>
                  </c:pt>
                  <c:pt idx="781">
                    <c:v>Rolling Mean (30 Minute)</c:v>
                  </c:pt>
                  <c:pt idx="782">
                    <c:v>Rolling Mean (30 Minute)</c:v>
                  </c:pt>
                  <c:pt idx="783">
                    <c:v>Rolling Mean (30 Minute)</c:v>
                  </c:pt>
                  <c:pt idx="784">
                    <c:v>Rolling Mean (30 Minute)</c:v>
                  </c:pt>
                  <c:pt idx="785">
                    <c:v>Rolling Mean (30 Minute)</c:v>
                  </c:pt>
                  <c:pt idx="786">
                    <c:v>Rolling Mean (30 Minute)</c:v>
                  </c:pt>
                  <c:pt idx="787">
                    <c:v>Rolling Mean (30 Minute)</c:v>
                  </c:pt>
                  <c:pt idx="788">
                    <c:v>Rolling Mean (30 Minute)</c:v>
                  </c:pt>
                  <c:pt idx="789">
                    <c:v>Rolling Mean (30 Minute)</c:v>
                  </c:pt>
                  <c:pt idx="790">
                    <c:v>Rolling Mean (30 Minute)</c:v>
                  </c:pt>
                  <c:pt idx="791">
                    <c:v>Rolling Mean (30 Minute)</c:v>
                  </c:pt>
                  <c:pt idx="792">
                    <c:v>Rolling Mean (30 Minute)</c:v>
                  </c:pt>
                  <c:pt idx="793">
                    <c:v>Rolling Mean (30 Minute)</c:v>
                  </c:pt>
                  <c:pt idx="794">
                    <c:v>Rolling Mean (30 Minute)</c:v>
                  </c:pt>
                  <c:pt idx="795">
                    <c:v>Rolling Mean (30 Minute)</c:v>
                  </c:pt>
                  <c:pt idx="796">
                    <c:v>Rolling Mean (30 Minute)</c:v>
                  </c:pt>
                  <c:pt idx="797">
                    <c:v>Rolling Mean (30 Minute)</c:v>
                  </c:pt>
                  <c:pt idx="798">
                    <c:v>Rolling Mean (30 Minute)</c:v>
                  </c:pt>
                  <c:pt idx="799">
                    <c:v>Rolling Mean (30 Minute)</c:v>
                  </c:pt>
                  <c:pt idx="800">
                    <c:v>Rolling Mean (30 Minute)</c:v>
                  </c:pt>
                  <c:pt idx="801">
                    <c:v>Rolling Mean (30 Minute)</c:v>
                  </c:pt>
                  <c:pt idx="802">
                    <c:v>Rolling Mean (30 Minute)</c:v>
                  </c:pt>
                  <c:pt idx="803">
                    <c:v>Rolling Mean (30 Minute)</c:v>
                  </c:pt>
                  <c:pt idx="804">
                    <c:v>Rolling Mean (30 Minute)</c:v>
                  </c:pt>
                  <c:pt idx="805">
                    <c:v>Rolling Mean (30 Minute)</c:v>
                  </c:pt>
                  <c:pt idx="806">
                    <c:v>Rolling Mean (30 Minute)</c:v>
                  </c:pt>
                  <c:pt idx="807">
                    <c:v>Rolling Mean (30 Minute)</c:v>
                  </c:pt>
                  <c:pt idx="808">
                    <c:v>Rolling Mean (30 Minute)</c:v>
                  </c:pt>
                  <c:pt idx="809">
                    <c:v>Rolling Mean (30 Minute)</c:v>
                  </c:pt>
                  <c:pt idx="810">
                    <c:v>Rolling Mean (30 Minute)</c:v>
                  </c:pt>
                  <c:pt idx="811">
                    <c:v>Rolling Mean (30 Minute)</c:v>
                  </c:pt>
                  <c:pt idx="812">
                    <c:v>Rolling Mean (30 Minute)</c:v>
                  </c:pt>
                  <c:pt idx="813">
                    <c:v>Rolling Mean (30 Minute)</c:v>
                  </c:pt>
                  <c:pt idx="814">
                    <c:v>Rolling Mean (30 Minute)</c:v>
                  </c:pt>
                  <c:pt idx="815">
                    <c:v>Rolling Mean (30 Minute)</c:v>
                  </c:pt>
                  <c:pt idx="816">
                    <c:v>Rolling Mean (30 Minute)</c:v>
                  </c:pt>
                  <c:pt idx="817">
                    <c:v>Rolling Mean (30 Minute)</c:v>
                  </c:pt>
                  <c:pt idx="818">
                    <c:v>Rolling Mean (30 Minute)</c:v>
                  </c:pt>
                  <c:pt idx="819">
                    <c:v>Rolling Mean (30 Minute)</c:v>
                  </c:pt>
                  <c:pt idx="820">
                    <c:v>Rolling Mean (30 Minute)</c:v>
                  </c:pt>
                  <c:pt idx="821">
                    <c:v>Rolling Mean (30 Minute)</c:v>
                  </c:pt>
                  <c:pt idx="822">
                    <c:v>Rolling Mean (30 Minute)</c:v>
                  </c:pt>
                  <c:pt idx="823">
                    <c:v>Rolling Mean (30 Minute)</c:v>
                  </c:pt>
                  <c:pt idx="824">
                    <c:v>Rolling Mean (30 Minute)</c:v>
                  </c:pt>
                  <c:pt idx="825">
                    <c:v>Rolling Mean (30 Minute)</c:v>
                  </c:pt>
                  <c:pt idx="826">
                    <c:v>Rolling Mean (30 Minute)</c:v>
                  </c:pt>
                  <c:pt idx="827">
                    <c:v>Rolling Mean (30 Minute)</c:v>
                  </c:pt>
                  <c:pt idx="828">
                    <c:v>Rolling Mean (30 Minute)</c:v>
                  </c:pt>
                  <c:pt idx="829">
                    <c:v>Rolling Mean (30 Minute)</c:v>
                  </c:pt>
                  <c:pt idx="830">
                    <c:v>Rolling Mean (30 Minute)</c:v>
                  </c:pt>
                  <c:pt idx="831">
                    <c:v>Rolling Mean (30 Minute)</c:v>
                  </c:pt>
                  <c:pt idx="832">
                    <c:v>Rolling Mean (30 Minute)</c:v>
                  </c:pt>
                  <c:pt idx="833">
                    <c:v>Rolling Mean (30 Minute)</c:v>
                  </c:pt>
                  <c:pt idx="834">
                    <c:v>Rolling Mean (30 Minute)</c:v>
                  </c:pt>
                  <c:pt idx="835">
                    <c:v>Rolling Mean (30 Minute)</c:v>
                  </c:pt>
                  <c:pt idx="836">
                    <c:v>Rolling Mean (30 Minute)</c:v>
                  </c:pt>
                  <c:pt idx="837">
                    <c:v>Rolling Mean (30 Minute)</c:v>
                  </c:pt>
                  <c:pt idx="838">
                    <c:v>Rolling Mean (30 Minute)</c:v>
                  </c:pt>
                  <c:pt idx="839">
                    <c:v>Rolling Mean (30 Minute)</c:v>
                  </c:pt>
                  <c:pt idx="840">
                    <c:v>Rolling Mean (30 Minute)</c:v>
                  </c:pt>
                  <c:pt idx="841">
                    <c:v>Rolling Mean (30 Minute)</c:v>
                  </c:pt>
                  <c:pt idx="842">
                    <c:v>Rolling Mean (30 Minute)</c:v>
                  </c:pt>
                  <c:pt idx="843">
                    <c:v>Rolling Mean (30 Minute)</c:v>
                  </c:pt>
                  <c:pt idx="844">
                    <c:v>Rolling Mean (30 Minute)</c:v>
                  </c:pt>
                  <c:pt idx="845">
                    <c:v>Rolling Mean (30 Minute)</c:v>
                  </c:pt>
                  <c:pt idx="846">
                    <c:v>Rolling Mean (30 Minute)</c:v>
                  </c:pt>
                  <c:pt idx="847">
                    <c:v>Rolling Mean (30 Minute)</c:v>
                  </c:pt>
                  <c:pt idx="848">
                    <c:v>Rolling Mean (30 Minute)</c:v>
                  </c:pt>
                  <c:pt idx="849">
                    <c:v>Rolling Mean (30 Minute)</c:v>
                  </c:pt>
                  <c:pt idx="850">
                    <c:v>Rolling Mean (30 Minute)</c:v>
                  </c:pt>
                  <c:pt idx="851">
                    <c:v>Rolling Mean (30 Minute)</c:v>
                  </c:pt>
                  <c:pt idx="852">
                    <c:v>Rolling Mean (30 Minute)</c:v>
                  </c:pt>
                  <c:pt idx="853">
                    <c:v>Rolling Mean (30 Minute)</c:v>
                  </c:pt>
                  <c:pt idx="854">
                    <c:v>Rolling Mean (30 Minute)</c:v>
                  </c:pt>
                  <c:pt idx="855">
                    <c:v>Rolling Mean (30 Minute)</c:v>
                  </c:pt>
                  <c:pt idx="856">
                    <c:v>Rolling Mean (30 Minute)</c:v>
                  </c:pt>
                  <c:pt idx="857">
                    <c:v>Rolling Mean (30 Minute)</c:v>
                  </c:pt>
                  <c:pt idx="858">
                    <c:v>Rolling Mean (30 Minute)</c:v>
                  </c:pt>
                  <c:pt idx="859">
                    <c:v>Rolling Mean (30 Minute)</c:v>
                  </c:pt>
                  <c:pt idx="860">
                    <c:v>Rolling Mean (30 Minute)</c:v>
                  </c:pt>
                  <c:pt idx="861">
                    <c:v>Rolling Mean (30 Minute)</c:v>
                  </c:pt>
                  <c:pt idx="862">
                    <c:v>Rolling Mean (30 Minute)</c:v>
                  </c:pt>
                  <c:pt idx="863">
                    <c:v>Rolling Mean (30 Minute)</c:v>
                  </c:pt>
                  <c:pt idx="864">
                    <c:v>Rolling Mean (30 Minute)</c:v>
                  </c:pt>
                  <c:pt idx="865">
                    <c:v>Rolling Mean (30 Minute)</c:v>
                  </c:pt>
                  <c:pt idx="866">
                    <c:v>Rolling Mean (30 Minute)</c:v>
                  </c:pt>
                  <c:pt idx="867">
                    <c:v>Rolling Mean (30 Minute)</c:v>
                  </c:pt>
                  <c:pt idx="868">
                    <c:v>Rolling Mean (30 Minute)</c:v>
                  </c:pt>
                  <c:pt idx="869">
                    <c:v>Rolling Mean (30 Minute)</c:v>
                  </c:pt>
                  <c:pt idx="870">
                    <c:v>Rolling Mean (30 Minute)</c:v>
                  </c:pt>
                  <c:pt idx="871">
                    <c:v>Rolling Mean (30 Minute)</c:v>
                  </c:pt>
                  <c:pt idx="872">
                    <c:v>Rolling Mean (30 Minute)</c:v>
                  </c:pt>
                  <c:pt idx="873">
                    <c:v>Rolling Mean (30 Minute)</c:v>
                  </c:pt>
                  <c:pt idx="874">
                    <c:v>Rolling Mean (30 Minute)</c:v>
                  </c:pt>
                  <c:pt idx="875">
                    <c:v>Rolling Mean (30 Minute)</c:v>
                  </c:pt>
                  <c:pt idx="876">
                    <c:v>Rolling Mean (30 Minute)</c:v>
                  </c:pt>
                  <c:pt idx="877">
                    <c:v>Rolling Mean (30 Minute)</c:v>
                  </c:pt>
                  <c:pt idx="878">
                    <c:v>Rolling Mean (30 Minute)</c:v>
                  </c:pt>
                  <c:pt idx="879">
                    <c:v>Rolling Mean (30 Minute)</c:v>
                  </c:pt>
                  <c:pt idx="880">
                    <c:v>Rolling Mean (30 Minute)</c:v>
                  </c:pt>
                  <c:pt idx="881">
                    <c:v>Rolling Mean (30 Minute)</c:v>
                  </c:pt>
                  <c:pt idx="882">
                    <c:v>Rolling Mean (30 Minute)</c:v>
                  </c:pt>
                  <c:pt idx="883">
                    <c:v>Rolling Mean (30 Minute)</c:v>
                  </c:pt>
                  <c:pt idx="884">
                    <c:v>Rolling Mean (30 Minute)</c:v>
                  </c:pt>
                  <c:pt idx="885">
                    <c:v>Rolling Mean (30 Minute)</c:v>
                  </c:pt>
                  <c:pt idx="886">
                    <c:v>Rolling Mean (30 Minute)</c:v>
                  </c:pt>
                  <c:pt idx="887">
                    <c:v>Rolling Mean (30 Minute)</c:v>
                  </c:pt>
                  <c:pt idx="888">
                    <c:v>Rolling Mean (30 Minute)</c:v>
                  </c:pt>
                  <c:pt idx="889">
                    <c:v>Rolling Mean (30 Minute)</c:v>
                  </c:pt>
                  <c:pt idx="890">
                    <c:v>Rolling Mean (30 Minute)</c:v>
                  </c:pt>
                  <c:pt idx="891">
                    <c:v>Rolling Mean (30 Minute)</c:v>
                  </c:pt>
                  <c:pt idx="892">
                    <c:v>Rolling Mean (30 Minute)</c:v>
                  </c:pt>
                  <c:pt idx="893">
                    <c:v>Rolling Mean (30 Minute)</c:v>
                  </c:pt>
                  <c:pt idx="894">
                    <c:v>Rolling Mean (30 Minute)</c:v>
                  </c:pt>
                  <c:pt idx="895">
                    <c:v>Rolling Mean (30 Minute)</c:v>
                  </c:pt>
                  <c:pt idx="896">
                    <c:v>Rolling Mean (30 Minute)</c:v>
                  </c:pt>
                  <c:pt idx="897">
                    <c:v>Rolling Mean (30 Minute)</c:v>
                  </c:pt>
                  <c:pt idx="898">
                    <c:v>Rolling Mean (30 Minute)</c:v>
                  </c:pt>
                  <c:pt idx="899">
                    <c:v>Rolling Mean (30 Minute)</c:v>
                  </c:pt>
                  <c:pt idx="900">
                    <c:v>Rolling Mean (30 Minute)</c:v>
                  </c:pt>
                  <c:pt idx="901">
                    <c:v>Rolling Mean (30 Minute)</c:v>
                  </c:pt>
                  <c:pt idx="902">
                    <c:v>Rolling Mean (30 Minute)</c:v>
                  </c:pt>
                  <c:pt idx="903">
                    <c:v>Rolling Mean (30 Minute)</c:v>
                  </c:pt>
                  <c:pt idx="904">
                    <c:v>Rolling Mean (30 Minute)</c:v>
                  </c:pt>
                  <c:pt idx="905">
                    <c:v>Rolling Mean (30 Minute)</c:v>
                  </c:pt>
                  <c:pt idx="906">
                    <c:v>Rolling Mean (30 Minute)</c:v>
                  </c:pt>
                  <c:pt idx="907">
                    <c:v>Rolling Mean (30 Minute)</c:v>
                  </c:pt>
                  <c:pt idx="908">
                    <c:v>Rolling Mean (30 Minute)</c:v>
                  </c:pt>
                  <c:pt idx="909">
                    <c:v>Rolling Mean (30 Minute)</c:v>
                  </c:pt>
                  <c:pt idx="910">
                    <c:v>Rolling Mean (30 Minute)</c:v>
                  </c:pt>
                  <c:pt idx="911">
                    <c:v>Rolling Mean (30 Minute)</c:v>
                  </c:pt>
                  <c:pt idx="912">
                    <c:v>Rolling Mean (30 Minute)</c:v>
                  </c:pt>
                  <c:pt idx="913">
                    <c:v>Rolling Mean (30 Minute)</c:v>
                  </c:pt>
                  <c:pt idx="914">
                    <c:v>Rolling Mean (30 Minute)</c:v>
                  </c:pt>
                  <c:pt idx="915">
                    <c:v>Rolling Mean (30 Minute)</c:v>
                  </c:pt>
                  <c:pt idx="916">
                    <c:v>Rolling Mean (30 Minute)</c:v>
                  </c:pt>
                  <c:pt idx="917">
                    <c:v>Rolling Mean (30 Minute)</c:v>
                  </c:pt>
                  <c:pt idx="918">
                    <c:v>Rolling Mean (30 Minute)</c:v>
                  </c:pt>
                  <c:pt idx="919">
                    <c:v>Rolling Mean (30 Minute)</c:v>
                  </c:pt>
                  <c:pt idx="920">
                    <c:v>Rolling Mean (30 Minute)</c:v>
                  </c:pt>
                  <c:pt idx="921">
                    <c:v>Rolling Mean (30 Minute)</c:v>
                  </c:pt>
                  <c:pt idx="922">
                    <c:v>Rolling Mean (30 Minute)</c:v>
                  </c:pt>
                  <c:pt idx="923">
                    <c:v>Rolling Mean (30 Minute)</c:v>
                  </c:pt>
                  <c:pt idx="924">
                    <c:v>Rolling Mean (30 Minute)</c:v>
                  </c:pt>
                  <c:pt idx="925">
                    <c:v>Rolling Mean (30 Minute)</c:v>
                  </c:pt>
                  <c:pt idx="926">
                    <c:v>Rolling Mean (30 Minute)</c:v>
                  </c:pt>
                  <c:pt idx="927">
                    <c:v>Rolling Mean (30 Minute)</c:v>
                  </c:pt>
                  <c:pt idx="928">
                    <c:v>Rolling Mean (30 Minute)</c:v>
                  </c:pt>
                  <c:pt idx="929">
                    <c:v>Rolling Mean (30 Minute)</c:v>
                  </c:pt>
                  <c:pt idx="930">
                    <c:v>Rolling Mean (30 Minute)</c:v>
                  </c:pt>
                  <c:pt idx="931">
                    <c:v>Rolling Mean (30 Minute)</c:v>
                  </c:pt>
                  <c:pt idx="932">
                    <c:v>Rolling Mean (30 Minute)</c:v>
                  </c:pt>
                  <c:pt idx="933">
                    <c:v>Rolling Mean (30 Minute)</c:v>
                  </c:pt>
                  <c:pt idx="934">
                    <c:v>Rolling Mean (30 Minute)</c:v>
                  </c:pt>
                  <c:pt idx="935">
                    <c:v>Rolling Mean (30 Minute)</c:v>
                  </c:pt>
                  <c:pt idx="936">
                    <c:v>Rolling Mean (30 Minute)</c:v>
                  </c:pt>
                  <c:pt idx="937">
                    <c:v>Rolling Mean (30 Minute)</c:v>
                  </c:pt>
                  <c:pt idx="938">
                    <c:v>Rolling Mean (30 Minute)</c:v>
                  </c:pt>
                  <c:pt idx="939">
                    <c:v>Rolling Mean (30 Minute)</c:v>
                  </c:pt>
                  <c:pt idx="940">
                    <c:v>Rolling Mean (30 Minute)</c:v>
                  </c:pt>
                  <c:pt idx="941">
                    <c:v>Rolling Mean (30 Minute)</c:v>
                  </c:pt>
                  <c:pt idx="942">
                    <c:v>Rolling Mean (30 Minute)</c:v>
                  </c:pt>
                  <c:pt idx="943">
                    <c:v>Rolling Mean (30 Minute)</c:v>
                  </c:pt>
                  <c:pt idx="944">
                    <c:v>Rolling Mean (30 Minute)</c:v>
                  </c:pt>
                  <c:pt idx="945">
                    <c:v>Rolling Mean (30 Minute)</c:v>
                  </c:pt>
                  <c:pt idx="946">
                    <c:v>Rolling Mean (30 Minute)</c:v>
                  </c:pt>
                  <c:pt idx="947">
                    <c:v>Rolling Mean (30 Minute)</c:v>
                  </c:pt>
                  <c:pt idx="948">
                    <c:v>Rolling Mean (30 Minute)</c:v>
                  </c:pt>
                  <c:pt idx="949">
                    <c:v>Rolling Mean (30 Minute)</c:v>
                  </c:pt>
                  <c:pt idx="950">
                    <c:v>Rolling Mean (30 Minute)</c:v>
                  </c:pt>
                  <c:pt idx="951">
                    <c:v>Rolling Mean (30 Minute)</c:v>
                  </c:pt>
                  <c:pt idx="952">
                    <c:v>Rolling Mean (30 Minute)</c:v>
                  </c:pt>
                  <c:pt idx="953">
                    <c:v>Rolling Mean (30 Minute)</c:v>
                  </c:pt>
                  <c:pt idx="954">
                    <c:v>Rolling Mean (30 Minute)</c:v>
                  </c:pt>
                  <c:pt idx="955">
                    <c:v>Rolling Mean (30 Minute)</c:v>
                  </c:pt>
                  <c:pt idx="956">
                    <c:v>Rolling Mean (30 Minute)</c:v>
                  </c:pt>
                  <c:pt idx="957">
                    <c:v>Rolling Mean (30 Minute)</c:v>
                  </c:pt>
                  <c:pt idx="958">
                    <c:v>Rolling Mean (30 Minute)</c:v>
                  </c:pt>
                  <c:pt idx="959">
                    <c:v>Rolling Mean (30 Minute)</c:v>
                  </c:pt>
                  <c:pt idx="960">
                    <c:v>Rolling Mean (30 Minute)</c:v>
                  </c:pt>
                  <c:pt idx="961">
                    <c:v>Rolling Mean (30 Minute)</c:v>
                  </c:pt>
                  <c:pt idx="962">
                    <c:v>Rolling Mean (30 Minute)</c:v>
                  </c:pt>
                  <c:pt idx="963">
                    <c:v>Rolling Mean (30 Minute)</c:v>
                  </c:pt>
                  <c:pt idx="964">
                    <c:v>Rolling Mean (30 Minute)</c:v>
                  </c:pt>
                  <c:pt idx="965">
                    <c:v>Rolling Mean (30 Minute)</c:v>
                  </c:pt>
                  <c:pt idx="966">
                    <c:v>Rolling Mean (30 Minute)</c:v>
                  </c:pt>
                  <c:pt idx="967">
                    <c:v>Rolling Mean (30 Minute)</c:v>
                  </c:pt>
                  <c:pt idx="968">
                    <c:v>Rolling Mean (30 Minute)</c:v>
                  </c:pt>
                  <c:pt idx="969">
                    <c:v>Rolling Mean (30 Minute)</c:v>
                  </c:pt>
                  <c:pt idx="970">
                    <c:v>Rolling Mean (30 Minute)</c:v>
                  </c:pt>
                  <c:pt idx="971">
                    <c:v>Rolling Mean (30 Minute)</c:v>
                  </c:pt>
                  <c:pt idx="972">
                    <c:v>Rolling Mean (30 Minute)</c:v>
                  </c:pt>
                  <c:pt idx="973">
                    <c:v>Rolling Mean (30 Minute)</c:v>
                  </c:pt>
                  <c:pt idx="974">
                    <c:v>Rolling Mean (30 Minute)</c:v>
                  </c:pt>
                  <c:pt idx="975">
                    <c:v>Rolling Mean (30 Minute)</c:v>
                  </c:pt>
                  <c:pt idx="976">
                    <c:v>Rolling Mean (30 Minute)</c:v>
                  </c:pt>
                  <c:pt idx="977">
                    <c:v>Rolling Mean (30 Minute)</c:v>
                  </c:pt>
                  <c:pt idx="978">
                    <c:v>Rolling Mean (30 Minute)</c:v>
                  </c:pt>
                  <c:pt idx="979">
                    <c:v>Rolling Mean (30 Minute)</c:v>
                  </c:pt>
                  <c:pt idx="980">
                    <c:v>Rolling Mean (30 Minute)</c:v>
                  </c:pt>
                  <c:pt idx="981">
                    <c:v>Rolling Mean (30 Minute)</c:v>
                  </c:pt>
                  <c:pt idx="982">
                    <c:v>Rolling Mean (30 Minute)</c:v>
                  </c:pt>
                  <c:pt idx="983">
                    <c:v>Rolling Mean (30 Minute)</c:v>
                  </c:pt>
                  <c:pt idx="984">
                    <c:v>Rolling Mean (30 Minute)</c:v>
                  </c:pt>
                  <c:pt idx="985">
                    <c:v>Rolling Mean (30 Minute)</c:v>
                  </c:pt>
                  <c:pt idx="986">
                    <c:v>Rolling Mean (30 Minute)</c:v>
                  </c:pt>
                  <c:pt idx="987">
                    <c:v>Rolling Mean (30 Minute)</c:v>
                  </c:pt>
                  <c:pt idx="988">
                    <c:v>Rolling Mean (30 Minute)</c:v>
                  </c:pt>
                  <c:pt idx="989">
                    <c:v>Rolling Mean (30 Minute)</c:v>
                  </c:pt>
                  <c:pt idx="990">
                    <c:v>Rolling Mean (30 Minute)</c:v>
                  </c:pt>
                  <c:pt idx="991">
                    <c:v>Rolling Mean (30 Minute)</c:v>
                  </c:pt>
                  <c:pt idx="992">
                    <c:v>Rolling Mean (30 Minute)</c:v>
                  </c:pt>
                  <c:pt idx="993">
                    <c:v>Rolling Mean (30 Minute)</c:v>
                  </c:pt>
                  <c:pt idx="994">
                    <c:v>Rolling Mean (30 Minute)</c:v>
                  </c:pt>
                  <c:pt idx="995">
                    <c:v>Rolling Mean (30 Minute)</c:v>
                  </c:pt>
                  <c:pt idx="996">
                    <c:v>Rolling Mean (30 Minute)</c:v>
                  </c:pt>
                  <c:pt idx="997">
                    <c:v>Rolling Mean (30 Minute)</c:v>
                  </c:pt>
                  <c:pt idx="998">
                    <c:v>Rolling Mean (30 Minute)</c:v>
                  </c:pt>
                  <c:pt idx="999">
                    <c:v>Rolling Mean (30 Minute)</c:v>
                  </c:pt>
                  <c:pt idx="1000">
                    <c:v>Rolling Mean (30 Minute)</c:v>
                  </c:pt>
                  <c:pt idx="1001">
                    <c:v>Rolling Mean (30 Minute)</c:v>
                  </c:pt>
                  <c:pt idx="1002">
                    <c:v>Rolling Mean (30 Minute)</c:v>
                  </c:pt>
                  <c:pt idx="1003">
                    <c:v>Rolling Mean (30 Minute)</c:v>
                  </c:pt>
                  <c:pt idx="1004">
                    <c:v>Rolling Mean (30 Minute)</c:v>
                  </c:pt>
                  <c:pt idx="1005">
                    <c:v>Rolling Mean (30 Minute)</c:v>
                  </c:pt>
                  <c:pt idx="1006">
                    <c:v>Rolling Mean (30 Minute)</c:v>
                  </c:pt>
                  <c:pt idx="1007">
                    <c:v>Rolling Mean (30 Minute)</c:v>
                  </c:pt>
                  <c:pt idx="1008">
                    <c:v>Rolling Mean (30 Minute)</c:v>
                  </c:pt>
                  <c:pt idx="1009">
                    <c:v>Rolling Mean (30 Minute)</c:v>
                  </c:pt>
                  <c:pt idx="1010">
                    <c:v>Rolling Mean (30 Minute)</c:v>
                  </c:pt>
                  <c:pt idx="1011">
                    <c:v>Rolling Mean (30 Minute)</c:v>
                  </c:pt>
                  <c:pt idx="1012">
                    <c:v>Rolling Mean (30 Minute)</c:v>
                  </c:pt>
                  <c:pt idx="1013">
                    <c:v>Rolling Mean (30 Minute)</c:v>
                  </c:pt>
                  <c:pt idx="1014">
                    <c:v>Rolling Mean (30 Minute)</c:v>
                  </c:pt>
                  <c:pt idx="1015">
                    <c:v>Rolling Mean (30 Minute)</c:v>
                  </c:pt>
                  <c:pt idx="1016">
                    <c:v>Rolling Mean (30 Minute)</c:v>
                  </c:pt>
                  <c:pt idx="1017">
                    <c:v>Rolling Mean (30 Minute)</c:v>
                  </c:pt>
                  <c:pt idx="1018">
                    <c:v>Rolling Mean (30 Minute)</c:v>
                  </c:pt>
                  <c:pt idx="1019">
                    <c:v>Rolling Mean (30 Minute)</c:v>
                  </c:pt>
                  <c:pt idx="1020">
                    <c:v>Rolling Mean (30 Minute)</c:v>
                  </c:pt>
                  <c:pt idx="1021">
                    <c:v>Rolling Mean (30 Minute)</c:v>
                  </c:pt>
                  <c:pt idx="1022">
                    <c:v>Rolling Mean (30 Minute)</c:v>
                  </c:pt>
                  <c:pt idx="1023">
                    <c:v>Rolling Mean (30 Minute)</c:v>
                  </c:pt>
                  <c:pt idx="1024">
                    <c:v>Rolling Mean (30 Minute)</c:v>
                  </c:pt>
                  <c:pt idx="1025">
                    <c:v>Rolling Mean (30 Minute)</c:v>
                  </c:pt>
                  <c:pt idx="1026">
                    <c:v>Rolling Mean (30 Minute)</c:v>
                  </c:pt>
                  <c:pt idx="1027">
                    <c:v>Rolling Mean (30 Minute)</c:v>
                  </c:pt>
                  <c:pt idx="1028">
                    <c:v>Rolling Mean (30 Minute)</c:v>
                  </c:pt>
                  <c:pt idx="1029">
                    <c:v>Rolling Mean (30 Minute)</c:v>
                  </c:pt>
                  <c:pt idx="1030">
                    <c:v>Rolling Mean (30 Minute)</c:v>
                  </c:pt>
                  <c:pt idx="1031">
                    <c:v>Rolling Mean (30 Minute)</c:v>
                  </c:pt>
                  <c:pt idx="1032">
                    <c:v>Rolling Mean (30 Minute)</c:v>
                  </c:pt>
                  <c:pt idx="1033">
                    <c:v>Rolling Mean (30 Minute)</c:v>
                  </c:pt>
                  <c:pt idx="1034">
                    <c:v>Rolling Mean (30 Minute)</c:v>
                  </c:pt>
                  <c:pt idx="1035">
                    <c:v>Rolling Mean (30 Minute)</c:v>
                  </c:pt>
                  <c:pt idx="1036">
                    <c:v>Rolling Mean (30 Minute)</c:v>
                  </c:pt>
                  <c:pt idx="1037">
                    <c:v>Rolling Mean (30 Minute)</c:v>
                  </c:pt>
                  <c:pt idx="1038">
                    <c:v>Rolling Mean (30 Minute)</c:v>
                  </c:pt>
                  <c:pt idx="1039">
                    <c:v>Rolling Mean (30 Minute)</c:v>
                  </c:pt>
                  <c:pt idx="1040">
                    <c:v>Rolling Mean (30 Minute)</c:v>
                  </c:pt>
                  <c:pt idx="1041">
                    <c:v>Rolling Mean (30 Minute)</c:v>
                  </c:pt>
                  <c:pt idx="1042">
                    <c:v>Rolling Mean (30 Minute)</c:v>
                  </c:pt>
                  <c:pt idx="1043">
                    <c:v>Rolling Mean (30 Minute)</c:v>
                  </c:pt>
                  <c:pt idx="1044">
                    <c:v>Rolling Mean (30 Minute)</c:v>
                  </c:pt>
                  <c:pt idx="1045">
                    <c:v>Rolling Mean (30 Minute)</c:v>
                  </c:pt>
                  <c:pt idx="1046">
                    <c:v>Rolling Mean (30 Minute)</c:v>
                  </c:pt>
                  <c:pt idx="1047">
                    <c:v>Rolling Mean (30 Minute)</c:v>
                  </c:pt>
                  <c:pt idx="1048">
                    <c:v>Rolling Mean (30 Minute)</c:v>
                  </c:pt>
                  <c:pt idx="1049">
                    <c:v>Rolling Mean (30 Minute)</c:v>
                  </c:pt>
                  <c:pt idx="1050">
                    <c:v>Rolling Mean (30 Minute)</c:v>
                  </c:pt>
                  <c:pt idx="1051">
                    <c:v>Rolling Mean (30 Minute)</c:v>
                  </c:pt>
                  <c:pt idx="1052">
                    <c:v>Rolling Mean (30 Minute)</c:v>
                  </c:pt>
                  <c:pt idx="1053">
                    <c:v>Rolling Mean (30 Minute)</c:v>
                  </c:pt>
                  <c:pt idx="1054">
                    <c:v>Rolling Mean (30 Minute)</c:v>
                  </c:pt>
                  <c:pt idx="1055">
                    <c:v>Rolling Mean (30 Minute)</c:v>
                  </c:pt>
                  <c:pt idx="1056">
                    <c:v>Rolling Mean (30 Minute)</c:v>
                  </c:pt>
                  <c:pt idx="1057">
                    <c:v>Rolling Mean (30 Minute)</c:v>
                  </c:pt>
                  <c:pt idx="1058">
                    <c:v>Rolling Mean (30 Minute)</c:v>
                  </c:pt>
                  <c:pt idx="1059">
                    <c:v>Rolling Mean (30 Minute)</c:v>
                  </c:pt>
                  <c:pt idx="1060">
                    <c:v>Rolling Mean (30 Minute)</c:v>
                  </c:pt>
                  <c:pt idx="1061">
                    <c:v>Rolling Mean (30 Minute)</c:v>
                  </c:pt>
                  <c:pt idx="1062">
                    <c:v>Rolling Mean (30 Minute)</c:v>
                  </c:pt>
                  <c:pt idx="1063">
                    <c:v>Rolling Mean (30 Minute)</c:v>
                  </c:pt>
                  <c:pt idx="1064">
                    <c:v>Rolling Mean (30 Minute)</c:v>
                  </c:pt>
                  <c:pt idx="1065">
                    <c:v>Rolling Mean (30 Minute)</c:v>
                  </c:pt>
                  <c:pt idx="1066">
                    <c:v>Rolling Mean (30 Minute)</c:v>
                  </c:pt>
                  <c:pt idx="1067">
                    <c:v>Rolling Mean (30 Minute)</c:v>
                  </c:pt>
                  <c:pt idx="1068">
                    <c:v>Rolling Mean (30 Minute)</c:v>
                  </c:pt>
                  <c:pt idx="1069">
                    <c:v>Rolling Mean (30 Minute)</c:v>
                  </c:pt>
                  <c:pt idx="1070">
                    <c:v>Rolling Mean (30 Minute)</c:v>
                  </c:pt>
                  <c:pt idx="1071">
                    <c:v>Rolling Mean (30 Minute)</c:v>
                  </c:pt>
                  <c:pt idx="1072">
                    <c:v>Rolling Mean (30 Minute)</c:v>
                  </c:pt>
                  <c:pt idx="1073">
                    <c:v>Rolling Mean (30 Minute)</c:v>
                  </c:pt>
                  <c:pt idx="1074">
                    <c:v>Rolling Mean (30 Minute)</c:v>
                  </c:pt>
                  <c:pt idx="1075">
                    <c:v>Rolling Mean (30 Minute)</c:v>
                  </c:pt>
                  <c:pt idx="1076">
                    <c:v>Rolling Mean (30 Minute)</c:v>
                  </c:pt>
                  <c:pt idx="1077">
                    <c:v>Rolling Mean (30 Minute)</c:v>
                  </c:pt>
                  <c:pt idx="1078">
                    <c:v>Rolling Mean (30 Minute)</c:v>
                  </c:pt>
                  <c:pt idx="1079">
                    <c:v>Rolling Mean (30 Minute)</c:v>
                  </c:pt>
                  <c:pt idx="1080">
                    <c:v>Rolling Mean (30 Minute)</c:v>
                  </c:pt>
                  <c:pt idx="1081">
                    <c:v>Rolling Mean (30 Minute)</c:v>
                  </c:pt>
                  <c:pt idx="1082">
                    <c:v>Rolling Mean (30 Minute)</c:v>
                  </c:pt>
                  <c:pt idx="1083">
                    <c:v>Rolling Mean (30 Minute)</c:v>
                  </c:pt>
                  <c:pt idx="1084">
                    <c:v>Rolling Mean (30 Minute)</c:v>
                  </c:pt>
                  <c:pt idx="1085">
                    <c:v>Rolling Mean (30 Minute)</c:v>
                  </c:pt>
                  <c:pt idx="1086">
                    <c:v>Rolling Mean (30 Minute)</c:v>
                  </c:pt>
                  <c:pt idx="1087">
                    <c:v>Rolling Mean (30 Minute)</c:v>
                  </c:pt>
                  <c:pt idx="1088">
                    <c:v>Rolling Mean (30 Minute)</c:v>
                  </c:pt>
                  <c:pt idx="1089">
                    <c:v>Rolling Mean (30 Minute)</c:v>
                  </c:pt>
                  <c:pt idx="1090">
                    <c:v>Rolling Mean (30 Minute)</c:v>
                  </c:pt>
                  <c:pt idx="1091">
                    <c:v>Rolling Mean (30 Minute)</c:v>
                  </c:pt>
                  <c:pt idx="1092">
                    <c:v>Rolling Mean (30 Minute)</c:v>
                  </c:pt>
                  <c:pt idx="1093">
                    <c:v>Rolling Mean (30 Minute)</c:v>
                  </c:pt>
                  <c:pt idx="1094">
                    <c:v>Rolling Mean (30 Minute)</c:v>
                  </c:pt>
                  <c:pt idx="1095">
                    <c:v>Rolling Mean (30 Minute)</c:v>
                  </c:pt>
                  <c:pt idx="1096">
                    <c:v>Rolling Mean (30 Minute)</c:v>
                  </c:pt>
                  <c:pt idx="1097">
                    <c:v>Rolling Mean (30 Minute)</c:v>
                  </c:pt>
                  <c:pt idx="1098">
                    <c:v>Rolling Mean (30 Minute)</c:v>
                  </c:pt>
                  <c:pt idx="1099">
                    <c:v>Rolling Mean (30 Minute)</c:v>
                  </c:pt>
                  <c:pt idx="1100">
                    <c:v>Rolling Mean (30 Minute)</c:v>
                  </c:pt>
                  <c:pt idx="1101">
                    <c:v>Rolling Mean (30 Minute)</c:v>
                  </c:pt>
                  <c:pt idx="1102">
                    <c:v>Rolling Mean (30 Minute)</c:v>
                  </c:pt>
                  <c:pt idx="1103">
                    <c:v>Rolling Mean (30 Minute)</c:v>
                  </c:pt>
                  <c:pt idx="1104">
                    <c:v>Rolling Mean (30 Minute)</c:v>
                  </c:pt>
                  <c:pt idx="1105">
                    <c:v>Rolling Mean (30 Minute)</c:v>
                  </c:pt>
                  <c:pt idx="1106">
                    <c:v>Rolling Mean (30 Minute)</c:v>
                  </c:pt>
                  <c:pt idx="1107">
                    <c:v>Rolling Mean (30 Minute)</c:v>
                  </c:pt>
                  <c:pt idx="1108">
                    <c:v>Rolling Mean (30 Minute)</c:v>
                  </c:pt>
                  <c:pt idx="1109">
                    <c:v>Rolling Mean (30 Minute)</c:v>
                  </c:pt>
                  <c:pt idx="1110">
                    <c:v>Rolling Mean (30 Minute)</c:v>
                  </c:pt>
                  <c:pt idx="1111">
                    <c:v>Rolling Mean (30 Minute)</c:v>
                  </c:pt>
                  <c:pt idx="1112">
                    <c:v>Rolling Mean (30 Minute)</c:v>
                  </c:pt>
                  <c:pt idx="1113">
                    <c:v>Rolling Mean (30 Minute)</c:v>
                  </c:pt>
                  <c:pt idx="1114">
                    <c:v>Rolling Mean (30 Minute)</c:v>
                  </c:pt>
                  <c:pt idx="1115">
                    <c:v>Rolling Mean (30 Minute)</c:v>
                  </c:pt>
                  <c:pt idx="1116">
                    <c:v>Rolling Mean (30 Minute)</c:v>
                  </c:pt>
                  <c:pt idx="1117">
                    <c:v>Rolling Mean (30 Minute)</c:v>
                  </c:pt>
                  <c:pt idx="1118">
                    <c:v>Rolling Mean (30 Minute)</c:v>
                  </c:pt>
                  <c:pt idx="1119">
                    <c:v>Rolling Mean (30 Minute)</c:v>
                  </c:pt>
                  <c:pt idx="1120">
                    <c:v>Rolling Mean (30 Minute)</c:v>
                  </c:pt>
                  <c:pt idx="1121">
                    <c:v>Rolling Mean (30 Minute)</c:v>
                  </c:pt>
                  <c:pt idx="1122">
                    <c:v>Rolling Mean (30 Minute)</c:v>
                  </c:pt>
                  <c:pt idx="1123">
                    <c:v>Rolling Mean (30 Minute)</c:v>
                  </c:pt>
                  <c:pt idx="1124">
                    <c:v>Rolling Mean (30 Minute)</c:v>
                  </c:pt>
                  <c:pt idx="1125">
                    <c:v>Rolling Mean (30 Minute)</c:v>
                  </c:pt>
                  <c:pt idx="1126">
                    <c:v>Rolling Mean (30 Minute)</c:v>
                  </c:pt>
                  <c:pt idx="1127">
                    <c:v>Rolling Mean (30 Minute)</c:v>
                  </c:pt>
                  <c:pt idx="1128">
                    <c:v>Rolling Mean (30 Minute)</c:v>
                  </c:pt>
                  <c:pt idx="1129">
                    <c:v>Rolling Mean (30 Minute)</c:v>
                  </c:pt>
                  <c:pt idx="1130">
                    <c:v>Rolling Mean (30 Minute)</c:v>
                  </c:pt>
                  <c:pt idx="1131">
                    <c:v>Rolling Mean (30 Minute)</c:v>
                  </c:pt>
                  <c:pt idx="1132">
                    <c:v>Rolling Mean (30 Minute)</c:v>
                  </c:pt>
                  <c:pt idx="1133">
                    <c:v>Rolling Mean (30 Minute)</c:v>
                  </c:pt>
                  <c:pt idx="1134">
                    <c:v>Rolling Mean (30 Minute)</c:v>
                  </c:pt>
                  <c:pt idx="1135">
                    <c:v>Rolling Mean (30 Minute)</c:v>
                  </c:pt>
                  <c:pt idx="1136">
                    <c:v>Rolling Mean (30 Minute)</c:v>
                  </c:pt>
                  <c:pt idx="1137">
                    <c:v>Rolling Mean (30 Minute)</c:v>
                  </c:pt>
                  <c:pt idx="1138">
                    <c:v>Rolling Mean (30 Minute)</c:v>
                  </c:pt>
                  <c:pt idx="1139">
                    <c:v>Rolling Mean (30 Minute)</c:v>
                  </c:pt>
                  <c:pt idx="1140">
                    <c:v>Rolling Mean (30 Minute)</c:v>
                  </c:pt>
                  <c:pt idx="1141">
                    <c:v>Rolling Mean (30 Minute)</c:v>
                  </c:pt>
                  <c:pt idx="1142">
                    <c:v>Rolling Mean (30 Minute)</c:v>
                  </c:pt>
                  <c:pt idx="1143">
                    <c:v>Rolling Mean (30 Minute)</c:v>
                  </c:pt>
                  <c:pt idx="1144">
                    <c:v>Rolling Mean (30 Minute)</c:v>
                  </c:pt>
                  <c:pt idx="1145">
                    <c:v>Rolling Mean (30 Minute)</c:v>
                  </c:pt>
                  <c:pt idx="1146">
                    <c:v>Rolling Mean (30 Minute)</c:v>
                  </c:pt>
                  <c:pt idx="1147">
                    <c:v>Rolling Mean (30 Minute)</c:v>
                  </c:pt>
                  <c:pt idx="1148">
                    <c:v>Rolling Mean (30 Minute)</c:v>
                  </c:pt>
                  <c:pt idx="1149">
                    <c:v>Rolling Mean (30 Minute)</c:v>
                  </c:pt>
                  <c:pt idx="1150">
                    <c:v>Rolling Mean (30 Minute)</c:v>
                  </c:pt>
                  <c:pt idx="1151">
                    <c:v>Rolling Mean (30 Minute)</c:v>
                  </c:pt>
                  <c:pt idx="1152">
                    <c:v>Rolling Mean (30 Minute)</c:v>
                  </c:pt>
                  <c:pt idx="1153">
                    <c:v>Rolling Mean (30 Minute)</c:v>
                  </c:pt>
                  <c:pt idx="1154">
                    <c:v>Rolling Mean (30 Minute)</c:v>
                  </c:pt>
                  <c:pt idx="1155">
                    <c:v>Rolling Mean (30 Minute)</c:v>
                  </c:pt>
                  <c:pt idx="1156">
                    <c:v>Rolling Mean (30 Minute)</c:v>
                  </c:pt>
                  <c:pt idx="1157">
                    <c:v>Rolling Mean (30 Minute)</c:v>
                  </c:pt>
                  <c:pt idx="1158">
                    <c:v>Rolling Mean (30 Minute)</c:v>
                  </c:pt>
                  <c:pt idx="1159">
                    <c:v>Rolling Mean (30 Minute)</c:v>
                  </c:pt>
                  <c:pt idx="1160">
                    <c:v>Rolling Mean (30 Minute)</c:v>
                  </c:pt>
                  <c:pt idx="1161">
                    <c:v>Rolling Mean (30 Minute)</c:v>
                  </c:pt>
                  <c:pt idx="1162">
                    <c:v>Rolling Mean (30 Minute)</c:v>
                  </c:pt>
                  <c:pt idx="1163">
                    <c:v>Rolling Mean (30 Minute)</c:v>
                  </c:pt>
                  <c:pt idx="1164">
                    <c:v>Rolling Mean (30 Minute)</c:v>
                  </c:pt>
                  <c:pt idx="1165">
                    <c:v>Rolling Mean (30 Minute)</c:v>
                  </c:pt>
                  <c:pt idx="1166">
                    <c:v>Rolling Mean (30 Minute)</c:v>
                  </c:pt>
                  <c:pt idx="1167">
                    <c:v>Rolling Mean (30 Minute)</c:v>
                  </c:pt>
                  <c:pt idx="1168">
                    <c:v>Rolling Mean (30 Minute)</c:v>
                  </c:pt>
                  <c:pt idx="1169">
                    <c:v>Rolling Mean (30 Minute)</c:v>
                  </c:pt>
                  <c:pt idx="1170">
                    <c:v>Rolling Mean (30 Minute)</c:v>
                  </c:pt>
                  <c:pt idx="1171">
                    <c:v>Rolling Mean (30 Minute)</c:v>
                  </c:pt>
                  <c:pt idx="1172">
                    <c:v>Rolling Mean (30 Minute)</c:v>
                  </c:pt>
                  <c:pt idx="1173">
                    <c:v>Rolling Mean (30 Minute)</c:v>
                  </c:pt>
                  <c:pt idx="1174">
                    <c:v>Rolling Mean (30 Minute)</c:v>
                  </c:pt>
                  <c:pt idx="1175">
                    <c:v>Rolling Mean (30 Minute)</c:v>
                  </c:pt>
                  <c:pt idx="1176">
                    <c:v>Rolling Mean (30 Minute)</c:v>
                  </c:pt>
                  <c:pt idx="1177">
                    <c:v>Rolling Mean (30 Minute)</c:v>
                  </c:pt>
                  <c:pt idx="1178">
                    <c:v>Rolling Mean (30 Minute)</c:v>
                  </c:pt>
                  <c:pt idx="1179">
                    <c:v>Rolling Mean (30 Minute)</c:v>
                  </c:pt>
                  <c:pt idx="1180">
                    <c:v>Rolling Mean (30 Minute)</c:v>
                  </c:pt>
                  <c:pt idx="1181">
                    <c:v>Rolling Mean (30 Minute)</c:v>
                  </c:pt>
                  <c:pt idx="1182">
                    <c:v>Rolling Mean (30 Minute)</c:v>
                  </c:pt>
                  <c:pt idx="1183">
                    <c:v>Rolling Mean (30 Minute)</c:v>
                  </c:pt>
                  <c:pt idx="1184">
                    <c:v>Rolling Mean (30 Minute)</c:v>
                  </c:pt>
                  <c:pt idx="1185">
                    <c:v>Rolling Mean (30 Minute)</c:v>
                  </c:pt>
                  <c:pt idx="1186">
                    <c:v>Rolling Mean (30 Minute)</c:v>
                  </c:pt>
                  <c:pt idx="1187">
                    <c:v>Rolling Mean (30 Minute)</c:v>
                  </c:pt>
                  <c:pt idx="1188">
                    <c:v>Rolling Mean (30 Minute)</c:v>
                  </c:pt>
                  <c:pt idx="1189">
                    <c:v>Rolling Mean (30 Minute)</c:v>
                  </c:pt>
                  <c:pt idx="1190">
                    <c:v>Rolling Mean (30 Minute)</c:v>
                  </c:pt>
                  <c:pt idx="1191">
                    <c:v>Rolling Mean (30 Minute)</c:v>
                  </c:pt>
                  <c:pt idx="1192">
                    <c:v>Rolling Mean (30 Minute)</c:v>
                  </c:pt>
                  <c:pt idx="1193">
                    <c:v>Rolling Mean (30 Minute)</c:v>
                  </c:pt>
                  <c:pt idx="1194">
                    <c:v>Rolling Mean (30 Minute)</c:v>
                  </c:pt>
                  <c:pt idx="1195">
                    <c:v>Rolling Mean (30 Minute)</c:v>
                  </c:pt>
                  <c:pt idx="1196">
                    <c:v>Rolling Mean (30 Minute)</c:v>
                  </c:pt>
                  <c:pt idx="1197">
                    <c:v>Rolling Mean (30 Minute)</c:v>
                  </c:pt>
                  <c:pt idx="1198">
                    <c:v>Rolling Mean (30 Minute)</c:v>
                  </c:pt>
                  <c:pt idx="1199">
                    <c:v>Rolling Mean (30 Minute)</c:v>
                  </c:pt>
                  <c:pt idx="1200">
                    <c:v>Rolling Mean (30 Minute)</c:v>
                  </c:pt>
                  <c:pt idx="1201">
                    <c:v>Rolling Mean (30 Minute)</c:v>
                  </c:pt>
                  <c:pt idx="1202">
                    <c:v>Rolling Mean (30 Minute)</c:v>
                  </c:pt>
                  <c:pt idx="1203">
                    <c:v>Rolling Mean (30 Minute)</c:v>
                  </c:pt>
                  <c:pt idx="1204">
                    <c:v>Rolling Mean (30 Minute)</c:v>
                  </c:pt>
                  <c:pt idx="1205">
                    <c:v>Rolling Mean (30 Minute)</c:v>
                  </c:pt>
                  <c:pt idx="1206">
                    <c:v>Rolling Mean (30 Minute)</c:v>
                  </c:pt>
                  <c:pt idx="1207">
                    <c:v>Rolling Mean (30 Minute)</c:v>
                  </c:pt>
                  <c:pt idx="1208">
                    <c:v>Rolling Mean (30 Minute)</c:v>
                  </c:pt>
                  <c:pt idx="1209">
                    <c:v>Rolling Mean (30 Minute)</c:v>
                  </c:pt>
                  <c:pt idx="1210">
                    <c:v>Rolling Mean (30 Minute)</c:v>
                  </c:pt>
                  <c:pt idx="1211">
                    <c:v>Rolling Mean (30 Minute)</c:v>
                  </c:pt>
                  <c:pt idx="1212">
                    <c:v>Rolling Mean (30 Minute)</c:v>
                  </c:pt>
                  <c:pt idx="1213">
                    <c:v>Rolling Mean (30 Minute)</c:v>
                  </c:pt>
                  <c:pt idx="1214">
                    <c:v>Rolling Mean (30 Minute)</c:v>
                  </c:pt>
                  <c:pt idx="1215">
                    <c:v>Rolling Mean (30 Minute)</c:v>
                  </c:pt>
                  <c:pt idx="1216">
                    <c:v>Rolling Mean (30 Minute)</c:v>
                  </c:pt>
                  <c:pt idx="1217">
                    <c:v>Rolling Mean (30 Minute)</c:v>
                  </c:pt>
                  <c:pt idx="1218">
                    <c:v>Rolling Mean (30 Minute)</c:v>
                  </c:pt>
                  <c:pt idx="1219">
                    <c:v>Rolling Mean (30 Minute)</c:v>
                  </c:pt>
                  <c:pt idx="1220">
                    <c:v>Rolling Mean (30 Minute)</c:v>
                  </c:pt>
                  <c:pt idx="1221">
                    <c:v>Rolling Mean (30 Minute)</c:v>
                  </c:pt>
                  <c:pt idx="1222">
                    <c:v>Rolling Mean (30 Minute)</c:v>
                  </c:pt>
                  <c:pt idx="1223">
                    <c:v>Rolling Mean (30 Minute)</c:v>
                  </c:pt>
                  <c:pt idx="1224">
                    <c:v>Rolling Mean (30 Minute)</c:v>
                  </c:pt>
                  <c:pt idx="1225">
                    <c:v>Rolling Mean (30 Minute)</c:v>
                  </c:pt>
                  <c:pt idx="1226">
                    <c:v>Rolling Mean (30 Minute)</c:v>
                  </c:pt>
                  <c:pt idx="1227">
                    <c:v>Rolling Mean (30 Minute)</c:v>
                  </c:pt>
                  <c:pt idx="1228">
                    <c:v>Rolling Mean (30 Minute)</c:v>
                  </c:pt>
                  <c:pt idx="1229">
                    <c:v>Rolling Mean (30 Minute)</c:v>
                  </c:pt>
                  <c:pt idx="1230">
                    <c:v>Rolling Mean (30 Minute)</c:v>
                  </c:pt>
                  <c:pt idx="1231">
                    <c:v>Rolling Mean (30 Minute)</c:v>
                  </c:pt>
                  <c:pt idx="1232">
                    <c:v>Rolling Mean (30 Minute)</c:v>
                  </c:pt>
                  <c:pt idx="1233">
                    <c:v>Rolling Mean (30 Minute)</c:v>
                  </c:pt>
                  <c:pt idx="1234">
                    <c:v>Rolling Mean (30 Minute)</c:v>
                  </c:pt>
                  <c:pt idx="1235">
                    <c:v>Rolling Mean (30 Minute)</c:v>
                  </c:pt>
                  <c:pt idx="1236">
                    <c:v>Rolling Mean (30 Minute)</c:v>
                  </c:pt>
                  <c:pt idx="1237">
                    <c:v>Rolling Mean (30 Minute)</c:v>
                  </c:pt>
                  <c:pt idx="1238">
                    <c:v>Rolling Mean (30 Minute)</c:v>
                  </c:pt>
                  <c:pt idx="1239">
                    <c:v>Rolling Mean (30 Minute)</c:v>
                  </c:pt>
                  <c:pt idx="1240">
                    <c:v>Rolling Mean (30 Minute)</c:v>
                  </c:pt>
                  <c:pt idx="1241">
                    <c:v>Rolling Mean (30 Minute)</c:v>
                  </c:pt>
                  <c:pt idx="1242">
                    <c:v>Rolling Mean (30 Minute)</c:v>
                  </c:pt>
                  <c:pt idx="1243">
                    <c:v>Rolling Mean (30 Minute)</c:v>
                  </c:pt>
                  <c:pt idx="1244">
                    <c:v>Rolling Mean (30 Minute)</c:v>
                  </c:pt>
                  <c:pt idx="1245">
                    <c:v>Rolling Mean (30 Minute)</c:v>
                  </c:pt>
                  <c:pt idx="1246">
                    <c:v>Rolling Mean (30 Minute)</c:v>
                  </c:pt>
                  <c:pt idx="1247">
                    <c:v>Rolling Mean (30 Minute)</c:v>
                  </c:pt>
                  <c:pt idx="1248">
                    <c:v>Rolling Mean (30 Minute)</c:v>
                  </c:pt>
                  <c:pt idx="1249">
                    <c:v>Rolling Mean (30 Minute)</c:v>
                  </c:pt>
                  <c:pt idx="1250">
                    <c:v>Rolling Mean (30 Minute)</c:v>
                  </c:pt>
                  <c:pt idx="1251">
                    <c:v>Rolling Mean (30 Minute)</c:v>
                  </c:pt>
                  <c:pt idx="1252">
                    <c:v>Rolling Mean (30 Minute)</c:v>
                  </c:pt>
                  <c:pt idx="1253">
                    <c:v>Rolling Mean (30 Minute)</c:v>
                  </c:pt>
                  <c:pt idx="1254">
                    <c:v>Rolling Mean (30 Minute)</c:v>
                  </c:pt>
                  <c:pt idx="1255">
                    <c:v>Rolling Mean (30 Minute)</c:v>
                  </c:pt>
                  <c:pt idx="1256">
                    <c:v>Rolling Mean (30 Minute)</c:v>
                  </c:pt>
                  <c:pt idx="1257">
                    <c:v>Rolling Mean (30 Minute)</c:v>
                  </c:pt>
                  <c:pt idx="1258">
                    <c:v>Rolling Mean (30 Minute)</c:v>
                  </c:pt>
                  <c:pt idx="1259">
                    <c:v>Rolling Mean (30 Minute)</c:v>
                  </c:pt>
                  <c:pt idx="1260">
                    <c:v>Rolling Mean (30 Minute)</c:v>
                  </c:pt>
                  <c:pt idx="1261">
                    <c:v>Rolling Mean (30 Minute)</c:v>
                  </c:pt>
                  <c:pt idx="1262">
                    <c:v>Rolling Mean (30 Minute)</c:v>
                  </c:pt>
                  <c:pt idx="1263">
                    <c:v>Rolling Mean (30 Minute)</c:v>
                  </c:pt>
                  <c:pt idx="1264">
                    <c:v>Rolling Mean (30 Minute)</c:v>
                  </c:pt>
                  <c:pt idx="1265">
                    <c:v>Rolling Mean (30 Minute)</c:v>
                  </c:pt>
                  <c:pt idx="1266">
                    <c:v>Rolling Mean (30 Minute)</c:v>
                  </c:pt>
                  <c:pt idx="1267">
                    <c:v>Rolling Mean (30 Minute)</c:v>
                  </c:pt>
                  <c:pt idx="1268">
                    <c:v>Rolling Mean (30 Minute)</c:v>
                  </c:pt>
                  <c:pt idx="1269">
                    <c:v>Rolling Mean (30 Minute)</c:v>
                  </c:pt>
                  <c:pt idx="1270">
                    <c:v>Rolling Mean (30 Minute)</c:v>
                  </c:pt>
                  <c:pt idx="1271">
                    <c:v>Rolling Mean (30 Minute)</c:v>
                  </c:pt>
                  <c:pt idx="1272">
                    <c:v>Rolling Mean (30 Minute)</c:v>
                  </c:pt>
                  <c:pt idx="1273">
                    <c:v>Rolling Mean (30 Minute)</c:v>
                  </c:pt>
                  <c:pt idx="1274">
                    <c:v>Rolling Mean (30 Minute)</c:v>
                  </c:pt>
                  <c:pt idx="1275">
                    <c:v>Rolling Mean (30 Minute)</c:v>
                  </c:pt>
                  <c:pt idx="1276">
                    <c:v>Rolling Mean (30 Minute)</c:v>
                  </c:pt>
                  <c:pt idx="1277">
                    <c:v>Rolling Mean (30 Minute)</c:v>
                  </c:pt>
                  <c:pt idx="1278">
                    <c:v>Rolling Mean (30 Minute)</c:v>
                  </c:pt>
                  <c:pt idx="1279">
                    <c:v>Rolling Mean (30 Minute)</c:v>
                  </c:pt>
                  <c:pt idx="1280">
                    <c:v>Rolling Mean (30 Minute)</c:v>
                  </c:pt>
                  <c:pt idx="1281">
                    <c:v>Rolling Mean (30 Minute)</c:v>
                  </c:pt>
                  <c:pt idx="1282">
                    <c:v>Rolling Mean (30 Minute)</c:v>
                  </c:pt>
                  <c:pt idx="1283">
                    <c:v>Rolling Mean (30 Minute)</c:v>
                  </c:pt>
                  <c:pt idx="1284">
                    <c:v>Rolling Mean (30 Minute)</c:v>
                  </c:pt>
                  <c:pt idx="1285">
                    <c:v>Rolling Mean (30 Minute)</c:v>
                  </c:pt>
                  <c:pt idx="1286">
                    <c:v>Rolling Mean (30 Minute)</c:v>
                  </c:pt>
                  <c:pt idx="1287">
                    <c:v>Rolling Mean (30 Minute)</c:v>
                  </c:pt>
                  <c:pt idx="1288">
                    <c:v>Rolling Mean (30 Minute)</c:v>
                  </c:pt>
                  <c:pt idx="1289">
                    <c:v>Rolling Mean (30 Minute)</c:v>
                  </c:pt>
                  <c:pt idx="1290">
                    <c:v>Rolling Mean (30 Minute)</c:v>
                  </c:pt>
                  <c:pt idx="1291">
                    <c:v>Rolling Mean (30 Minute)</c:v>
                  </c:pt>
                  <c:pt idx="1292">
                    <c:v>Rolling Mean (30 Minute)</c:v>
                  </c:pt>
                  <c:pt idx="1293">
                    <c:v>Rolling Mean (30 Minute)</c:v>
                  </c:pt>
                  <c:pt idx="1294">
                    <c:v>Rolling Mean (30 Minute)</c:v>
                  </c:pt>
                  <c:pt idx="1295">
                    <c:v>Rolling Mean (30 Minute)</c:v>
                  </c:pt>
                  <c:pt idx="1296">
                    <c:v>Rolling Mean (30 Minute)</c:v>
                  </c:pt>
                  <c:pt idx="1297">
                    <c:v>Rolling Mean (30 Minute)</c:v>
                  </c:pt>
                  <c:pt idx="1298">
                    <c:v>Rolling Mean (30 Minute)</c:v>
                  </c:pt>
                  <c:pt idx="1299">
                    <c:v>Rolling Mean (30 Minute)</c:v>
                  </c:pt>
                  <c:pt idx="1300">
                    <c:v>Rolling Mean (30 Minute)</c:v>
                  </c:pt>
                  <c:pt idx="1301">
                    <c:v>Rolling Mean (30 Minute)</c:v>
                  </c:pt>
                  <c:pt idx="1302">
                    <c:v>Rolling Mean (30 Minute)</c:v>
                  </c:pt>
                  <c:pt idx="1303">
                    <c:v>Rolling Mean (30 Minute)</c:v>
                  </c:pt>
                  <c:pt idx="1304">
                    <c:v>Rolling Mean (30 Minute)</c:v>
                  </c:pt>
                  <c:pt idx="1305">
                    <c:v>Rolling Mean (30 Minute)</c:v>
                  </c:pt>
                  <c:pt idx="1306">
                    <c:v>Rolling Mean (30 Minute)</c:v>
                  </c:pt>
                  <c:pt idx="1307">
                    <c:v>Rolling Mean (30 Minute)</c:v>
                  </c:pt>
                  <c:pt idx="1308">
                    <c:v>Rolling Mean (30 Minute)</c:v>
                  </c:pt>
                  <c:pt idx="1309">
                    <c:v>Rolling Mean (30 Minute)</c:v>
                  </c:pt>
                  <c:pt idx="1310">
                    <c:v>Rolling Mean (30 Minute)</c:v>
                  </c:pt>
                  <c:pt idx="1311">
                    <c:v>Rolling Mean (30 Minute)</c:v>
                  </c:pt>
                  <c:pt idx="1312">
                    <c:v>Rolling Mean (30 Minute)</c:v>
                  </c:pt>
                  <c:pt idx="1313">
                    <c:v>Rolling Mean (30 Minute)</c:v>
                  </c:pt>
                  <c:pt idx="1314">
                    <c:v>Rolling Mean (30 Minute)</c:v>
                  </c:pt>
                  <c:pt idx="1315">
                    <c:v>Rolling Mean (30 Minute)</c:v>
                  </c:pt>
                  <c:pt idx="1316">
                    <c:v>Rolling Mean (30 Minute)</c:v>
                  </c:pt>
                  <c:pt idx="1317">
                    <c:v>Rolling Mean (30 Minute)</c:v>
                  </c:pt>
                  <c:pt idx="1318">
                    <c:v>Rolling Mean (30 Minute)</c:v>
                  </c:pt>
                  <c:pt idx="1319">
                    <c:v>Rolling Mean (30 Minute)</c:v>
                  </c:pt>
                  <c:pt idx="1320">
                    <c:v>Rolling Mean (30 Minute)</c:v>
                  </c:pt>
                  <c:pt idx="1321">
                    <c:v>Rolling Mean (30 Minute)</c:v>
                  </c:pt>
                  <c:pt idx="1322">
                    <c:v>Rolling Mean (30 Minute)</c:v>
                  </c:pt>
                  <c:pt idx="1323">
                    <c:v>Rolling Mean (30 Minute)</c:v>
                  </c:pt>
                  <c:pt idx="1324">
                    <c:v>Rolling Mean (30 Minute)</c:v>
                  </c:pt>
                  <c:pt idx="1325">
                    <c:v>Rolling Mean (30 Minute)</c:v>
                  </c:pt>
                  <c:pt idx="1326">
                    <c:v>Rolling Mean (30 Minute)</c:v>
                  </c:pt>
                  <c:pt idx="1327">
                    <c:v>Rolling Mean (30 Minute)</c:v>
                  </c:pt>
                  <c:pt idx="1328">
                    <c:v>Rolling Mean (30 Minute)</c:v>
                  </c:pt>
                  <c:pt idx="1329">
                    <c:v>Rolling Mean (30 Minute)</c:v>
                  </c:pt>
                  <c:pt idx="1330">
                    <c:v>Rolling Mean (30 Minute)</c:v>
                  </c:pt>
                  <c:pt idx="1331">
                    <c:v>Rolling Mean (30 Minute)</c:v>
                  </c:pt>
                  <c:pt idx="1332">
                    <c:v>Rolling Mean (30 Minute)</c:v>
                  </c:pt>
                  <c:pt idx="1333">
                    <c:v>Rolling Mean (30 Minute)</c:v>
                  </c:pt>
                  <c:pt idx="1334">
                    <c:v>Rolling Mean (30 Minute)</c:v>
                  </c:pt>
                  <c:pt idx="1335">
                    <c:v>Rolling Mean (30 Minute)</c:v>
                  </c:pt>
                  <c:pt idx="1336">
                    <c:v>Rolling Mean (30 Minute)</c:v>
                  </c:pt>
                  <c:pt idx="1337">
                    <c:v>Rolling Mean (30 Minute)</c:v>
                  </c:pt>
                  <c:pt idx="1338">
                    <c:v>Rolling Mean (30 Minute)</c:v>
                  </c:pt>
                  <c:pt idx="1339">
                    <c:v>Rolling Mean (30 Minute)</c:v>
                  </c:pt>
                  <c:pt idx="1340">
                    <c:v>Rolling Mean (30 Minute)</c:v>
                  </c:pt>
                  <c:pt idx="1341">
                    <c:v>Rolling Mean (30 Minute)</c:v>
                  </c:pt>
                  <c:pt idx="1342">
                    <c:v>Rolling Mean (30 Minute)</c:v>
                  </c:pt>
                  <c:pt idx="1343">
                    <c:v>Rolling Mean (30 Minute)</c:v>
                  </c:pt>
                  <c:pt idx="1344">
                    <c:v>Rolling Mean (30 Minute)</c:v>
                  </c:pt>
                  <c:pt idx="1345">
                    <c:v>Rolling Mean (30 Minute)</c:v>
                  </c:pt>
                  <c:pt idx="1346">
                    <c:v>Rolling Mean (30 Minute)</c:v>
                  </c:pt>
                  <c:pt idx="1347">
                    <c:v>Rolling Mean (30 Minute)</c:v>
                  </c:pt>
                  <c:pt idx="1348">
                    <c:v>Rolling Mean (30 Minute)</c:v>
                  </c:pt>
                  <c:pt idx="1349">
                    <c:v>Rolling Mean (30 Minute)</c:v>
                  </c:pt>
                  <c:pt idx="1350">
                    <c:v>Rolling Mean (30 Minute)</c:v>
                  </c:pt>
                  <c:pt idx="1351">
                    <c:v>Rolling Mean (30 Minute)</c:v>
                  </c:pt>
                  <c:pt idx="1352">
                    <c:v>Rolling Mean (30 Minute)</c:v>
                  </c:pt>
                  <c:pt idx="1353">
                    <c:v>Rolling Mean (30 Minute)</c:v>
                  </c:pt>
                  <c:pt idx="1354">
                    <c:v>Rolling Mean (30 Minute)</c:v>
                  </c:pt>
                  <c:pt idx="1355">
                    <c:v>Rolling Mean (30 Minute)</c:v>
                  </c:pt>
                  <c:pt idx="1356">
                    <c:v>Rolling Mean (30 Minute)</c:v>
                  </c:pt>
                  <c:pt idx="1357">
                    <c:v>Rolling Mean (30 Minute)</c:v>
                  </c:pt>
                  <c:pt idx="1358">
                    <c:v>Rolling Mean (30 Minute)</c:v>
                  </c:pt>
                  <c:pt idx="1359">
                    <c:v>Rolling Mean (30 Minute)</c:v>
                  </c:pt>
                  <c:pt idx="1360">
                    <c:v>Rolling Mean (30 Minute)</c:v>
                  </c:pt>
                  <c:pt idx="1361">
                    <c:v>Rolling Mean (30 Minute)</c:v>
                  </c:pt>
                  <c:pt idx="1362">
                    <c:v>Rolling Mean (30 Minute)</c:v>
                  </c:pt>
                  <c:pt idx="1363">
                    <c:v>Rolling Mean (30 Minute)</c:v>
                  </c:pt>
                  <c:pt idx="1364">
                    <c:v>Rolling Mean (30 Minute)</c:v>
                  </c:pt>
                  <c:pt idx="1365">
                    <c:v>Rolling Mean (30 Minute)</c:v>
                  </c:pt>
                  <c:pt idx="1366">
                    <c:v>Rolling Mean (30 Minute)</c:v>
                  </c:pt>
                  <c:pt idx="1367">
                    <c:v>Rolling Mean (30 Minute)</c:v>
                  </c:pt>
                  <c:pt idx="1368">
                    <c:v>Rolling Mean (30 Minute)</c:v>
                  </c:pt>
                  <c:pt idx="1369">
                    <c:v>Rolling Mean (30 Minute)</c:v>
                  </c:pt>
                  <c:pt idx="1370">
                    <c:v>Rolling Mean (30 Minute)</c:v>
                  </c:pt>
                  <c:pt idx="1371">
                    <c:v>Rolling Mean (30 Minute)</c:v>
                  </c:pt>
                  <c:pt idx="1372">
                    <c:v>Rolling Mean (30 Minute)</c:v>
                  </c:pt>
                  <c:pt idx="1373">
                    <c:v>Rolling Mean (30 Minute)</c:v>
                  </c:pt>
                  <c:pt idx="1374">
                    <c:v>Rolling Mean (30 Minute)</c:v>
                  </c:pt>
                  <c:pt idx="1375">
                    <c:v>Rolling Mean (30 Minute)</c:v>
                  </c:pt>
                  <c:pt idx="1376">
                    <c:v>Rolling Mean (30 Minute)</c:v>
                  </c:pt>
                  <c:pt idx="1377">
                    <c:v>Rolling Mean (30 Minute)</c:v>
                  </c:pt>
                  <c:pt idx="1378">
                    <c:v>Rolling Mean (30 Minute)</c:v>
                  </c:pt>
                  <c:pt idx="1379">
                    <c:v>Rolling Mean (30 Minute)</c:v>
                  </c:pt>
                  <c:pt idx="1380">
                    <c:v>Rolling Mean (30 Minute)</c:v>
                  </c:pt>
                  <c:pt idx="1381">
                    <c:v>Rolling Mean (30 Minute)</c:v>
                  </c:pt>
                  <c:pt idx="1382">
                    <c:v>Rolling Mean (30 Minute)</c:v>
                  </c:pt>
                  <c:pt idx="1383">
                    <c:v>Rolling Mean (30 Minute)</c:v>
                  </c:pt>
                  <c:pt idx="1384">
                    <c:v>Rolling Mean (30 Minute)</c:v>
                  </c:pt>
                  <c:pt idx="1385">
                    <c:v>Rolling Mean (30 Minute)</c:v>
                  </c:pt>
                  <c:pt idx="1386">
                    <c:v>Rolling Mean (30 Minute)</c:v>
                  </c:pt>
                  <c:pt idx="1387">
                    <c:v>Rolling Mean (30 Minute)</c:v>
                  </c:pt>
                  <c:pt idx="1388">
                    <c:v>Rolling Mean (30 Minute)</c:v>
                  </c:pt>
                  <c:pt idx="1389">
                    <c:v>Rolling Mean (30 Minute)</c:v>
                  </c:pt>
                  <c:pt idx="1390">
                    <c:v>Rolling Mean (30 Minute)</c:v>
                  </c:pt>
                  <c:pt idx="1391">
                    <c:v>Rolling Mean (30 Minute)</c:v>
                  </c:pt>
                  <c:pt idx="1392">
                    <c:v>Rolling Mean (30 Minute)</c:v>
                  </c:pt>
                  <c:pt idx="1393">
                    <c:v>Rolling Mean (30 Minute)</c:v>
                  </c:pt>
                  <c:pt idx="1394">
                    <c:v>Rolling Mean (30 Minute)</c:v>
                  </c:pt>
                  <c:pt idx="1395">
                    <c:v>Rolling Mean (30 Minute)</c:v>
                  </c:pt>
                  <c:pt idx="1396">
                    <c:v>Rolling Mean (30 Minute)</c:v>
                  </c:pt>
                  <c:pt idx="1397">
                    <c:v>Rolling Mean (30 Minute)</c:v>
                  </c:pt>
                  <c:pt idx="1398">
                    <c:v>Rolling Mean (30 Minute)</c:v>
                  </c:pt>
                  <c:pt idx="1399">
                    <c:v>Rolling Mean (30 Minute)</c:v>
                  </c:pt>
                  <c:pt idx="1400">
                    <c:v>Rolling Mean (30 Minute)</c:v>
                  </c:pt>
                  <c:pt idx="1401">
                    <c:v>Rolling Mean (30 Minute)</c:v>
                  </c:pt>
                  <c:pt idx="1402">
                    <c:v>Rolling Mean (30 Minute)</c:v>
                  </c:pt>
                  <c:pt idx="1403">
                    <c:v>Rolling Mean (30 Minute)</c:v>
                  </c:pt>
                  <c:pt idx="1404">
                    <c:v>Rolling Mean (30 Minute)</c:v>
                  </c:pt>
                  <c:pt idx="1405">
                    <c:v>Rolling Mean (30 Minute)</c:v>
                  </c:pt>
                  <c:pt idx="1406">
                    <c:v>Rolling Mean (30 Minute)</c:v>
                  </c:pt>
                  <c:pt idx="1407">
                    <c:v>Rolling Mean (30 Minute)</c:v>
                  </c:pt>
                  <c:pt idx="1408">
                    <c:v>Rolling Mean (30 Minute)</c:v>
                  </c:pt>
                  <c:pt idx="1409">
                    <c:v>Rolling Mean (30 Minute)</c:v>
                  </c:pt>
                  <c:pt idx="1410">
                    <c:v>Rolling Mean (30 Minute)</c:v>
                  </c:pt>
                  <c:pt idx="1411">
                    <c:v>Rolling Mean (30 Minute)</c:v>
                  </c:pt>
                  <c:pt idx="1412">
                    <c:v>Rolling Mean (30 Minute)</c:v>
                  </c:pt>
                  <c:pt idx="1413">
                    <c:v>Rolling Mean (30 Minute)</c:v>
                  </c:pt>
                  <c:pt idx="1414">
                    <c:v>Rolling Mean (30 Minute)</c:v>
                  </c:pt>
                  <c:pt idx="1415">
                    <c:v>Rolling Mean (30 Minute)</c:v>
                  </c:pt>
                  <c:pt idx="1416">
                    <c:v>Rolling Mean (30 Minute)</c:v>
                  </c:pt>
                  <c:pt idx="1417">
                    <c:v>Rolling Mean (30 Minute)</c:v>
                  </c:pt>
                  <c:pt idx="1418">
                    <c:v>Rolling Mean (30 Minute)</c:v>
                  </c:pt>
                  <c:pt idx="1419">
                    <c:v>Rolling Mean (30 Minute)</c:v>
                  </c:pt>
                  <c:pt idx="1420">
                    <c:v>Rolling Mean (30 Minute)</c:v>
                  </c:pt>
                  <c:pt idx="1421">
                    <c:v>Rolling Mean (30 Minute)</c:v>
                  </c:pt>
                  <c:pt idx="1422">
                    <c:v>Rolling Mean (30 Minute)</c:v>
                  </c:pt>
                  <c:pt idx="1423">
                    <c:v>Rolling Mean (30 Minute)</c:v>
                  </c:pt>
                  <c:pt idx="1424">
                    <c:v>Rolling Mean (30 Minute)</c:v>
                  </c:pt>
                  <c:pt idx="1425">
                    <c:v>Rolling Mean (30 Minute)</c:v>
                  </c:pt>
                  <c:pt idx="1426">
                    <c:v>Rolling Mean (30 Minute)</c:v>
                  </c:pt>
                  <c:pt idx="1427">
                    <c:v>Rolling Mean (30 Minute)</c:v>
                  </c:pt>
                  <c:pt idx="1428">
                    <c:v>Rolling Mean (30 Minute)</c:v>
                  </c:pt>
                  <c:pt idx="1429">
                    <c:v>Rolling Mean (30 Minute)</c:v>
                  </c:pt>
                  <c:pt idx="1430">
                    <c:v>Rolling Mean (30 Minute)</c:v>
                  </c:pt>
                  <c:pt idx="1431">
                    <c:v>Rolling Mean (30 Minute)</c:v>
                  </c:pt>
                  <c:pt idx="1432">
                    <c:v>Rolling Mean (30 Minute)</c:v>
                  </c:pt>
                  <c:pt idx="1433">
                    <c:v>Rolling Mean (30 Minute)</c:v>
                  </c:pt>
                  <c:pt idx="1434">
                    <c:v>Rolling Mean (30 Minute)</c:v>
                  </c:pt>
                  <c:pt idx="1435">
                    <c:v>Rolling Mean (30 Minute)</c:v>
                  </c:pt>
                  <c:pt idx="1436">
                    <c:v>Rolling Mean (30 Minute)</c:v>
                  </c:pt>
                  <c:pt idx="1437">
                    <c:v>Rolling Mean (30 Minute)</c:v>
                  </c:pt>
                  <c:pt idx="1438">
                    <c:v>Rolling Mean (30 Minute)</c:v>
                  </c:pt>
                  <c:pt idx="1439">
                    <c:v>Rolling Mean (30 Minute)</c:v>
                  </c:pt>
                  <c:pt idx="1440">
                    <c:v>Rolling Mean (30 Minute)</c:v>
                  </c:pt>
                  <c:pt idx="1441">
                    <c:v>Rolling Mean (30 Minute)</c:v>
                  </c:pt>
                  <c:pt idx="1442">
                    <c:v>Rolling Mean (30 Minute)</c:v>
                  </c:pt>
                  <c:pt idx="1443">
                    <c:v>Rolling Mean (30 Minute)</c:v>
                  </c:pt>
                  <c:pt idx="1444">
                    <c:v>Rolling Mean (30 Minute)</c:v>
                  </c:pt>
                  <c:pt idx="1445">
                    <c:v>Rolling Mean (30 Minute)</c:v>
                  </c:pt>
                  <c:pt idx="1446">
                    <c:v>Rolling Mean (30 Minute)</c:v>
                  </c:pt>
                  <c:pt idx="1447">
                    <c:v>Rolling Mean (30 Minute)</c:v>
                  </c:pt>
                  <c:pt idx="1448">
                    <c:v>Rolling Mean (30 Minute)</c:v>
                  </c:pt>
                  <c:pt idx="1449">
                    <c:v>Rolling Mean (30 Minute)</c:v>
                  </c:pt>
                  <c:pt idx="1450">
                    <c:v>Rolling Mean (30 Minute)</c:v>
                  </c:pt>
                  <c:pt idx="1451">
                    <c:v>Rolling Mean (30 Minute)</c:v>
                  </c:pt>
                  <c:pt idx="1452">
                    <c:v>Rolling Mean (30 Minute)</c:v>
                  </c:pt>
                  <c:pt idx="1453">
                    <c:v>Rolling Mean (30 Minute)</c:v>
                  </c:pt>
                  <c:pt idx="1454">
                    <c:v>Rolling Mean (30 Minute)</c:v>
                  </c:pt>
                  <c:pt idx="1455">
                    <c:v>Rolling Mean (30 Minute)</c:v>
                  </c:pt>
                  <c:pt idx="1456">
                    <c:v>Rolling Mean (30 Minute)</c:v>
                  </c:pt>
                  <c:pt idx="1457">
                    <c:v>Rolling Mean (30 Minute)</c:v>
                  </c:pt>
                  <c:pt idx="1458">
                    <c:v>Rolling Mean (30 Minute)</c:v>
                  </c:pt>
                  <c:pt idx="1459">
                    <c:v>Rolling Mean (30 Minute)</c:v>
                  </c:pt>
                  <c:pt idx="1460">
                    <c:v>Rolling Mean (30 Minute)</c:v>
                  </c:pt>
                  <c:pt idx="1461">
                    <c:v>Rolling Mean (30 Minute)</c:v>
                  </c:pt>
                  <c:pt idx="1462">
                    <c:v>Rolling Mean (30 Minute)</c:v>
                  </c:pt>
                  <c:pt idx="1463">
                    <c:v>Rolling Mean (30 Minute)</c:v>
                  </c:pt>
                  <c:pt idx="1464">
                    <c:v>Rolling Mean (30 Minute)</c:v>
                  </c:pt>
                  <c:pt idx="1465">
                    <c:v>Rolling Mean (30 Minute)</c:v>
                  </c:pt>
                  <c:pt idx="1466">
                    <c:v>Rolling Mean (30 Minute)</c:v>
                  </c:pt>
                  <c:pt idx="1467">
                    <c:v>Rolling Mean (30 Minute)</c:v>
                  </c:pt>
                  <c:pt idx="1468">
                    <c:v>Rolling Mean (30 Minute)</c:v>
                  </c:pt>
                  <c:pt idx="1469">
                    <c:v>Rolling Mean (30 Minute)</c:v>
                  </c:pt>
                  <c:pt idx="1470">
                    <c:v>Rolling Mean (30 Minute)</c:v>
                  </c:pt>
                  <c:pt idx="1471">
                    <c:v>Rolling Mean (30 Minute)</c:v>
                  </c:pt>
                  <c:pt idx="1472">
                    <c:v>Rolling Mean (30 Minute)</c:v>
                  </c:pt>
                  <c:pt idx="1473">
                    <c:v>Rolling Mean (30 Minute)</c:v>
                  </c:pt>
                  <c:pt idx="1474">
                    <c:v>Rolling Mean (30 Minute)</c:v>
                  </c:pt>
                  <c:pt idx="1475">
                    <c:v>Rolling Mean (30 Minute)</c:v>
                  </c:pt>
                  <c:pt idx="1476">
                    <c:v>Rolling Mean (30 Minute)</c:v>
                  </c:pt>
                  <c:pt idx="1477">
                    <c:v>Rolling Mean (30 Minute)</c:v>
                  </c:pt>
                  <c:pt idx="1478">
                    <c:v>Rolling Mean (30 Minute)</c:v>
                  </c:pt>
                  <c:pt idx="1479">
                    <c:v>Rolling Mean (30 Minute)</c:v>
                  </c:pt>
                  <c:pt idx="1480">
                    <c:v>Rolling Mean (30 Minute)</c:v>
                  </c:pt>
                  <c:pt idx="1481">
                    <c:v>Rolling Mean (30 Minute)</c:v>
                  </c:pt>
                  <c:pt idx="1482">
                    <c:v>Rolling Mean (30 Minute)</c:v>
                  </c:pt>
                  <c:pt idx="1483">
                    <c:v>Rolling Mean (30 Minute)</c:v>
                  </c:pt>
                  <c:pt idx="1484">
                    <c:v>Rolling Mean (30 Minute)</c:v>
                  </c:pt>
                  <c:pt idx="1485">
                    <c:v>Rolling Mean (30 Minute)</c:v>
                  </c:pt>
                  <c:pt idx="1486">
                    <c:v>Rolling Mean (30 Minute)</c:v>
                  </c:pt>
                  <c:pt idx="1487">
                    <c:v>Rolling Mean (30 Minute)</c:v>
                  </c:pt>
                  <c:pt idx="1488">
                    <c:v>Rolling Mean (30 Minute)</c:v>
                  </c:pt>
                  <c:pt idx="1489">
                    <c:v>Rolling Mean (30 Minute)</c:v>
                  </c:pt>
                  <c:pt idx="1490">
                    <c:v>Rolling Mean (30 Minute)</c:v>
                  </c:pt>
                  <c:pt idx="1491">
                    <c:v>Rolling Mean (30 Minute)</c:v>
                  </c:pt>
                  <c:pt idx="1492">
                    <c:v>Rolling Mean (30 Minute)</c:v>
                  </c:pt>
                  <c:pt idx="1493">
                    <c:v>Rolling Mean (30 Minute)</c:v>
                  </c:pt>
                  <c:pt idx="1494">
                    <c:v>Rolling Mean (30 Minute)</c:v>
                  </c:pt>
                  <c:pt idx="1495">
                    <c:v>Rolling Mean (30 Minute)</c:v>
                  </c:pt>
                  <c:pt idx="1496">
                    <c:v>Rolling Mean (30 Minute)</c:v>
                  </c:pt>
                  <c:pt idx="1497">
                    <c:v>Rolling Mean (30 Minute)</c:v>
                  </c:pt>
                  <c:pt idx="1498">
                    <c:v>Rolling Mean (30 Minute)</c:v>
                  </c:pt>
                  <c:pt idx="1499">
                    <c:v>Rolling Mean (30 Minute)</c:v>
                  </c:pt>
                  <c:pt idx="1500">
                    <c:v>Rolling Mean (30 Minute)</c:v>
                  </c:pt>
                  <c:pt idx="1501">
                    <c:v>Rolling Mean (30 Minute)</c:v>
                  </c:pt>
                  <c:pt idx="1502">
                    <c:v>Rolling Mean (30 Minute)</c:v>
                  </c:pt>
                  <c:pt idx="1503">
                    <c:v>Rolling Mean (30 Minute)</c:v>
                  </c:pt>
                  <c:pt idx="1504">
                    <c:v>Rolling Mean (30 Minute)</c:v>
                  </c:pt>
                  <c:pt idx="1505">
                    <c:v>Rolling Mean (30 Minute)</c:v>
                  </c:pt>
                  <c:pt idx="1506">
                    <c:v>Rolling Mean (30 Minute)</c:v>
                  </c:pt>
                  <c:pt idx="1507">
                    <c:v>Rolling Mean (30 Minute)</c:v>
                  </c:pt>
                  <c:pt idx="1508">
                    <c:v>Rolling Mean (30 Minute)</c:v>
                  </c:pt>
                  <c:pt idx="1509">
                    <c:v>Rolling Mean (30 Minute)</c:v>
                  </c:pt>
                  <c:pt idx="1510">
                    <c:v>Rolling Mean (30 Minute)</c:v>
                  </c:pt>
                  <c:pt idx="1511">
                    <c:v>Rolling Mean (30 Minute)</c:v>
                  </c:pt>
                  <c:pt idx="1512">
                    <c:v>Rolling Mean (30 Minute)</c:v>
                  </c:pt>
                  <c:pt idx="1513">
                    <c:v>Rolling Mean (30 Minute)</c:v>
                  </c:pt>
                  <c:pt idx="1514">
                    <c:v>Rolling Mean (30 Minute)</c:v>
                  </c:pt>
                  <c:pt idx="1515">
                    <c:v>Rolling Mean (30 Minute)</c:v>
                  </c:pt>
                  <c:pt idx="1516">
                    <c:v>Rolling Mean (30 Minute)</c:v>
                  </c:pt>
                  <c:pt idx="1517">
                    <c:v>Rolling Mean (30 Minute)</c:v>
                  </c:pt>
                  <c:pt idx="1518">
                    <c:v>Rolling Mean (30 Minute)</c:v>
                  </c:pt>
                  <c:pt idx="1519">
                    <c:v>Rolling Mean (30 Minute)</c:v>
                  </c:pt>
                  <c:pt idx="1520">
                    <c:v>Rolling Mean (30 Minute)</c:v>
                  </c:pt>
                  <c:pt idx="1521">
                    <c:v>Rolling Mean (30 Minute)</c:v>
                  </c:pt>
                  <c:pt idx="1522">
                    <c:v>Rolling Mean (30 Minute)</c:v>
                  </c:pt>
                  <c:pt idx="1523">
                    <c:v>Rolling Mean (30 Minute)</c:v>
                  </c:pt>
                  <c:pt idx="1524">
                    <c:v>Rolling Mean (30 Minute)</c:v>
                  </c:pt>
                  <c:pt idx="1525">
                    <c:v>Rolling Mean (30 Minute)</c:v>
                  </c:pt>
                  <c:pt idx="1526">
                    <c:v>Rolling Mean (30 Minute)</c:v>
                  </c:pt>
                  <c:pt idx="1527">
                    <c:v>Rolling Mean (30 Minute)</c:v>
                  </c:pt>
                  <c:pt idx="1528">
                    <c:v>Rolling Mean (30 Minute)</c:v>
                  </c:pt>
                  <c:pt idx="1529">
                    <c:v>Rolling Mean (30 Minute)</c:v>
                  </c:pt>
                  <c:pt idx="1530">
                    <c:v>Rolling Mean (30 Minute)</c:v>
                  </c:pt>
                  <c:pt idx="1531">
                    <c:v>Rolling Mean (30 Minute)</c:v>
                  </c:pt>
                  <c:pt idx="1532">
                    <c:v>Rolling Mean (30 Minute)</c:v>
                  </c:pt>
                  <c:pt idx="1533">
                    <c:v>Rolling Mean (30 Minute)</c:v>
                  </c:pt>
                  <c:pt idx="1534">
                    <c:v>Rolling Mean (30 Minute)</c:v>
                  </c:pt>
                  <c:pt idx="1535">
                    <c:v>Rolling Mean (30 Minute)</c:v>
                  </c:pt>
                  <c:pt idx="1536">
                    <c:v>Rolling Mean (30 Minute)</c:v>
                  </c:pt>
                  <c:pt idx="1537">
                    <c:v>Rolling Mean (30 Minute)</c:v>
                  </c:pt>
                  <c:pt idx="1538">
                    <c:v>Rolling Mean (30 Minute)</c:v>
                  </c:pt>
                  <c:pt idx="1539">
                    <c:v>Rolling Mean (30 Minute)</c:v>
                  </c:pt>
                  <c:pt idx="1540">
                    <c:v>Rolling Mean (30 Minute)</c:v>
                  </c:pt>
                  <c:pt idx="1541">
                    <c:v>Rolling Mean (30 Minute)</c:v>
                  </c:pt>
                  <c:pt idx="1542">
                    <c:v>Rolling Mean (30 Minute)</c:v>
                  </c:pt>
                  <c:pt idx="1543">
                    <c:v>Rolling Mean (30 Minute)</c:v>
                  </c:pt>
                  <c:pt idx="1544">
                    <c:v>Rolling Mean (30 Minute)</c:v>
                  </c:pt>
                  <c:pt idx="1545">
                    <c:v>Rolling Mean (30 Minute)</c:v>
                  </c:pt>
                  <c:pt idx="1546">
                    <c:v>Rolling Mean (30 Minute)</c:v>
                  </c:pt>
                  <c:pt idx="1547">
                    <c:v>Rolling Mean (30 Minute)</c:v>
                  </c:pt>
                  <c:pt idx="1548">
                    <c:v>Rolling Mean (30 Minute)</c:v>
                  </c:pt>
                  <c:pt idx="1549">
                    <c:v>Rolling Mean (30 Minute)</c:v>
                  </c:pt>
                  <c:pt idx="1550">
                    <c:v>Rolling Mean (30 Minute)</c:v>
                  </c:pt>
                  <c:pt idx="1551">
                    <c:v>Rolling Mean (30 Minute)</c:v>
                  </c:pt>
                  <c:pt idx="1552">
                    <c:v>Rolling Mean (30 Minute)</c:v>
                  </c:pt>
                  <c:pt idx="1553">
                    <c:v>Rolling Mean (30 Minute)</c:v>
                  </c:pt>
                  <c:pt idx="1554">
                    <c:v>Rolling Mean (30 Minute)</c:v>
                  </c:pt>
                  <c:pt idx="1555">
                    <c:v>Rolling Mean (30 Minute)</c:v>
                  </c:pt>
                  <c:pt idx="1556">
                    <c:v>Rolling Mean (30 Minute)</c:v>
                  </c:pt>
                  <c:pt idx="1557">
                    <c:v>Rolling Mean (30 Minute)</c:v>
                  </c:pt>
                  <c:pt idx="1558">
                    <c:v>Rolling Mean (30 Minute)</c:v>
                  </c:pt>
                  <c:pt idx="1559">
                    <c:v>Rolling Mean (30 Minute)</c:v>
                  </c:pt>
                  <c:pt idx="1560">
                    <c:v>Rolling Mean (30 Minute)</c:v>
                  </c:pt>
                  <c:pt idx="1561">
                    <c:v>Rolling Mean (30 Minute)</c:v>
                  </c:pt>
                  <c:pt idx="1562">
                    <c:v>Rolling Mean (30 Minute)</c:v>
                  </c:pt>
                  <c:pt idx="1563">
                    <c:v>Rolling Mean (30 Minute)</c:v>
                  </c:pt>
                  <c:pt idx="1564">
                    <c:v>Rolling Mean (30 Minute)</c:v>
                  </c:pt>
                  <c:pt idx="1565">
                    <c:v>Rolling Mean (30 Minute)</c:v>
                  </c:pt>
                  <c:pt idx="1566">
                    <c:v>Rolling Mean (30 Minute)</c:v>
                  </c:pt>
                  <c:pt idx="1567">
                    <c:v>Rolling Mean (30 Minute)</c:v>
                  </c:pt>
                  <c:pt idx="1568">
                    <c:v>Rolling Mean (30 Minute)</c:v>
                  </c:pt>
                  <c:pt idx="1569">
                    <c:v>Rolling Mean (30 Minute)</c:v>
                  </c:pt>
                  <c:pt idx="1570">
                    <c:v>Rolling Mean (30 Minute)</c:v>
                  </c:pt>
                  <c:pt idx="1571">
                    <c:v>Rolling Mean (30 Minute)</c:v>
                  </c:pt>
                  <c:pt idx="1572">
                    <c:v>Rolling Mean (30 Minute)</c:v>
                  </c:pt>
                  <c:pt idx="1573">
                    <c:v>Rolling Mean (30 Minute)</c:v>
                  </c:pt>
                  <c:pt idx="1574">
                    <c:v>Rolling Mean (30 Minute)</c:v>
                  </c:pt>
                  <c:pt idx="1575">
                    <c:v>Rolling Mean (30 Minute)</c:v>
                  </c:pt>
                  <c:pt idx="1576">
                    <c:v>Rolling Mean (30 Minute)</c:v>
                  </c:pt>
                  <c:pt idx="1577">
                    <c:v>Rolling Mean (30 Minute)</c:v>
                  </c:pt>
                  <c:pt idx="1578">
                    <c:v>Rolling Mean (30 Minute)</c:v>
                  </c:pt>
                  <c:pt idx="1579">
                    <c:v>Rolling Mean (30 Minute)</c:v>
                  </c:pt>
                  <c:pt idx="1580">
                    <c:v>Rolling Mean (30 Minute)</c:v>
                  </c:pt>
                  <c:pt idx="1581">
                    <c:v>Rolling Mean (30 Minute)</c:v>
                  </c:pt>
                  <c:pt idx="1582">
                    <c:v>Rolling Mean (30 Minute)</c:v>
                  </c:pt>
                  <c:pt idx="1583">
                    <c:v>Rolling Mean (30 Minute)</c:v>
                  </c:pt>
                  <c:pt idx="1584">
                    <c:v>Rolling Mean (30 Minute)</c:v>
                  </c:pt>
                  <c:pt idx="1585">
                    <c:v>Rolling Mean (30 Minute)</c:v>
                  </c:pt>
                  <c:pt idx="1586">
                    <c:v>Rolling Mean (30 Minute)</c:v>
                  </c:pt>
                  <c:pt idx="1587">
                    <c:v>Rolling Mean (30 Minute)</c:v>
                  </c:pt>
                  <c:pt idx="1588">
                    <c:v>Rolling Mean (30 Minute)</c:v>
                  </c:pt>
                  <c:pt idx="1589">
                    <c:v>Rolling Mean (30 Minute)</c:v>
                  </c:pt>
                  <c:pt idx="1590">
                    <c:v>Rolling Mean (30 Minute)</c:v>
                  </c:pt>
                  <c:pt idx="1591">
                    <c:v>Rolling Mean (30 Minute)</c:v>
                  </c:pt>
                  <c:pt idx="1592">
                    <c:v>Rolling Mean (30 Minute)</c:v>
                  </c:pt>
                  <c:pt idx="1593">
                    <c:v>Rolling Mean (30 Minute)</c:v>
                  </c:pt>
                  <c:pt idx="1594">
                    <c:v>Rolling Mean (30 Minute)</c:v>
                  </c:pt>
                  <c:pt idx="1595">
                    <c:v>Rolling Mean (30 Minute)</c:v>
                  </c:pt>
                  <c:pt idx="1596">
                    <c:v>Rolling Mean (30 Minute)</c:v>
                  </c:pt>
                  <c:pt idx="1597">
                    <c:v>Rolling Mean (30 Minute)</c:v>
                  </c:pt>
                  <c:pt idx="1598">
                    <c:v>Rolling Mean (30 Minute)</c:v>
                  </c:pt>
                  <c:pt idx="1599">
                    <c:v>Rolling Mean (30 Minute)</c:v>
                  </c:pt>
                  <c:pt idx="1600">
                    <c:v>Rolling Mean (30 Minute)</c:v>
                  </c:pt>
                  <c:pt idx="1601">
                    <c:v>Rolling Mean (30 Minute)</c:v>
                  </c:pt>
                  <c:pt idx="1602">
                    <c:v>Rolling Mean (30 Minute)</c:v>
                  </c:pt>
                  <c:pt idx="1603">
                    <c:v>Rolling Mean (30 Minute)</c:v>
                  </c:pt>
                  <c:pt idx="1604">
                    <c:v>Rolling Mean (30 Minute)</c:v>
                  </c:pt>
                  <c:pt idx="1605">
                    <c:v>Rolling Mean (30 Minute)</c:v>
                  </c:pt>
                  <c:pt idx="1606">
                    <c:v>Rolling Mean (30 Minute)</c:v>
                  </c:pt>
                  <c:pt idx="1607">
                    <c:v>Rolling Mean (30 Minute)</c:v>
                  </c:pt>
                  <c:pt idx="1608">
                    <c:v>Rolling Mean (30 Minute)</c:v>
                  </c:pt>
                  <c:pt idx="1609">
                    <c:v>Rolling Mean (30 Minute)</c:v>
                  </c:pt>
                  <c:pt idx="1610">
                    <c:v>Rolling Mean (30 Minute)</c:v>
                  </c:pt>
                  <c:pt idx="1611">
                    <c:v>Rolling Mean (30 Minute)</c:v>
                  </c:pt>
                  <c:pt idx="1612">
                    <c:v>Rolling Mean (30 Minute)</c:v>
                  </c:pt>
                  <c:pt idx="1613">
                    <c:v>Rolling Mean (30 Minute)</c:v>
                  </c:pt>
                  <c:pt idx="1614">
                    <c:v>Rolling Mean (30 Minute)</c:v>
                  </c:pt>
                  <c:pt idx="1615">
                    <c:v>Rolling Mean (30 Minute)</c:v>
                  </c:pt>
                  <c:pt idx="1616">
                    <c:v>Rolling Mean (30 Minute)</c:v>
                  </c:pt>
                  <c:pt idx="1617">
                    <c:v>Rolling Mean (30 Minute)</c:v>
                  </c:pt>
                  <c:pt idx="1618">
                    <c:v>Rolling Mean (30 Minute)</c:v>
                  </c:pt>
                  <c:pt idx="1619">
                    <c:v>Rolling Mean (30 Minute)</c:v>
                  </c:pt>
                  <c:pt idx="1620">
                    <c:v>Rolling Mean (30 Minute)</c:v>
                  </c:pt>
                  <c:pt idx="1621">
                    <c:v>Rolling Mean (30 Minute)</c:v>
                  </c:pt>
                  <c:pt idx="1622">
                    <c:v>Rolling Mean (30 Minute)</c:v>
                  </c:pt>
                  <c:pt idx="1623">
                    <c:v>Rolling Mean (30 Minute)</c:v>
                  </c:pt>
                  <c:pt idx="1624">
                    <c:v>Rolling Mean (30 Minute)</c:v>
                  </c:pt>
                  <c:pt idx="1625">
                    <c:v>Rolling Mean (30 Minute)</c:v>
                  </c:pt>
                  <c:pt idx="1626">
                    <c:v>Rolling Mean (30 Minute)</c:v>
                  </c:pt>
                  <c:pt idx="1627">
                    <c:v>Rolling Mean (30 Minute)</c:v>
                  </c:pt>
                  <c:pt idx="1628">
                    <c:v>Rolling Mean (30 Minute)</c:v>
                  </c:pt>
                  <c:pt idx="1629">
                    <c:v>Rolling Mean (30 Minute)</c:v>
                  </c:pt>
                  <c:pt idx="1630">
                    <c:v>Rolling Mean (30 Minute)</c:v>
                  </c:pt>
                  <c:pt idx="1631">
                    <c:v>Rolling Mean (30 Minute)</c:v>
                  </c:pt>
                  <c:pt idx="1632">
                    <c:v>Rolling Mean (30 Minute)</c:v>
                  </c:pt>
                  <c:pt idx="1633">
                    <c:v>Rolling Mean (30 Minute)</c:v>
                  </c:pt>
                  <c:pt idx="1634">
                    <c:v>Rolling Mean (30 Minute)</c:v>
                  </c:pt>
                  <c:pt idx="1635">
                    <c:v>Rolling Mean (30 Minute)</c:v>
                  </c:pt>
                  <c:pt idx="1636">
                    <c:v>Rolling Mean (30 Minute)</c:v>
                  </c:pt>
                  <c:pt idx="1637">
                    <c:v>Rolling Mean (30 Minute)</c:v>
                  </c:pt>
                  <c:pt idx="1638">
                    <c:v>Rolling Mean (30 Minute)</c:v>
                  </c:pt>
                  <c:pt idx="1639">
                    <c:v>Rolling Mean (30 Minute)</c:v>
                  </c:pt>
                  <c:pt idx="1640">
                    <c:v>Rolling Mean (30 Minute)</c:v>
                  </c:pt>
                  <c:pt idx="1641">
                    <c:v>Rolling Mean (30 Minute)</c:v>
                  </c:pt>
                  <c:pt idx="1642">
                    <c:v>Rolling Mean (30 Minute)</c:v>
                  </c:pt>
                  <c:pt idx="1643">
                    <c:v>Rolling Mean (30 Minute)</c:v>
                  </c:pt>
                  <c:pt idx="1644">
                    <c:v>Rolling Mean (30 Minute)</c:v>
                  </c:pt>
                  <c:pt idx="1645">
                    <c:v>Rolling Mean (30 Minute)</c:v>
                  </c:pt>
                  <c:pt idx="1646">
                    <c:v>Rolling Mean (30 Minute)</c:v>
                  </c:pt>
                  <c:pt idx="1647">
                    <c:v>Rolling Mean (30 Minute)</c:v>
                  </c:pt>
                  <c:pt idx="1648">
                    <c:v>Rolling Mean (30 Minute)</c:v>
                  </c:pt>
                  <c:pt idx="1649">
                    <c:v>Rolling Mean (30 Minute)</c:v>
                  </c:pt>
                  <c:pt idx="1650">
                    <c:v>Rolling Mean (30 Minute)</c:v>
                  </c:pt>
                  <c:pt idx="1651">
                    <c:v>Rolling Mean (30 Minute)</c:v>
                  </c:pt>
                  <c:pt idx="1652">
                    <c:v>Rolling Mean (30 Minute)</c:v>
                  </c:pt>
                  <c:pt idx="1653">
                    <c:v>Rolling Mean (30 Minute)</c:v>
                  </c:pt>
                  <c:pt idx="1654">
                    <c:v>Rolling Mean (30 Minute)</c:v>
                  </c:pt>
                  <c:pt idx="1655">
                    <c:v>Rolling Mean (30 Minute)</c:v>
                  </c:pt>
                  <c:pt idx="1656">
                    <c:v>Rolling Mean (30 Minute)</c:v>
                  </c:pt>
                  <c:pt idx="1657">
                    <c:v>Rolling Mean (30 Minute)</c:v>
                  </c:pt>
                  <c:pt idx="1658">
                    <c:v>Rolling Mean (30 Minute)</c:v>
                  </c:pt>
                  <c:pt idx="1659">
                    <c:v>Rolling Mean (30 Minute)</c:v>
                  </c:pt>
                  <c:pt idx="1660">
                    <c:v>Rolling Mean (30 Minute)</c:v>
                  </c:pt>
                  <c:pt idx="1661">
                    <c:v>Rolling Mean (30 Minute)</c:v>
                  </c:pt>
                  <c:pt idx="1662">
                    <c:v>Rolling Mean (30 Minute)</c:v>
                  </c:pt>
                  <c:pt idx="1663">
                    <c:v>Rolling Mean (30 Minute)</c:v>
                  </c:pt>
                  <c:pt idx="1664">
                    <c:v>Rolling Mean (30 Minute)</c:v>
                  </c:pt>
                  <c:pt idx="1665">
                    <c:v>Rolling Mean (30 Minute)</c:v>
                  </c:pt>
                  <c:pt idx="1666">
                    <c:v>Rolling Mean (30 Minute)</c:v>
                  </c:pt>
                  <c:pt idx="1667">
                    <c:v>Rolling Mean (30 Minute)</c:v>
                  </c:pt>
                  <c:pt idx="1668">
                    <c:v>Rolling Mean (30 Minute)</c:v>
                  </c:pt>
                  <c:pt idx="1669">
                    <c:v>Rolling Mean (30 Minute)</c:v>
                  </c:pt>
                  <c:pt idx="1670">
                    <c:v>Rolling Mean (30 Minute)</c:v>
                  </c:pt>
                  <c:pt idx="1671">
                    <c:v>Rolling Mean (30 Minute)</c:v>
                  </c:pt>
                  <c:pt idx="1672">
                    <c:v>Rolling Mean (30 Minute)</c:v>
                  </c:pt>
                  <c:pt idx="1673">
                    <c:v>Rolling Mean (30 Minute)</c:v>
                  </c:pt>
                  <c:pt idx="1674">
                    <c:v>Rolling Mean (30 Minute)</c:v>
                  </c:pt>
                  <c:pt idx="1675">
                    <c:v>Rolling Mean (30 Minute)</c:v>
                  </c:pt>
                  <c:pt idx="1676">
                    <c:v>Rolling Mean (30 Minute)</c:v>
                  </c:pt>
                  <c:pt idx="1677">
                    <c:v>Rolling Mean (30 Minute)</c:v>
                  </c:pt>
                  <c:pt idx="1678">
                    <c:v>Rolling Mean (30 Minute)</c:v>
                  </c:pt>
                  <c:pt idx="1679">
                    <c:v>Rolling Mean (30 Minute)</c:v>
                  </c:pt>
                  <c:pt idx="1680">
                    <c:v>Rolling Mean (30 Minute)</c:v>
                  </c:pt>
                  <c:pt idx="1681">
                    <c:v>Rolling Mean (30 Minute)</c:v>
                  </c:pt>
                  <c:pt idx="1682">
                    <c:v>Rolling Mean (30 Minute)</c:v>
                  </c:pt>
                  <c:pt idx="1683">
                    <c:v>Rolling Mean (30 Minute)</c:v>
                  </c:pt>
                  <c:pt idx="1684">
                    <c:v>Rolling Mean (30 Minute)</c:v>
                  </c:pt>
                  <c:pt idx="1685">
                    <c:v>Rolling Mean (30 Minute)</c:v>
                  </c:pt>
                  <c:pt idx="1686">
                    <c:v>Rolling Mean (30 Minute)</c:v>
                  </c:pt>
                  <c:pt idx="1687">
                    <c:v>Rolling Mean (30 Minute)</c:v>
                  </c:pt>
                  <c:pt idx="1688">
                    <c:v>Rolling Mean (30 Minute)</c:v>
                  </c:pt>
                  <c:pt idx="1689">
                    <c:v>Rolling Mean (30 Minute)</c:v>
                  </c:pt>
                  <c:pt idx="1690">
                    <c:v>Rolling Mean (30 Minute)</c:v>
                  </c:pt>
                  <c:pt idx="1691">
                    <c:v>Rolling Mean (30 Minute)</c:v>
                  </c:pt>
                  <c:pt idx="1692">
                    <c:v>Rolling Mean (30 Minute)</c:v>
                  </c:pt>
                  <c:pt idx="1693">
                    <c:v>Rolling Mean (30 Minute)</c:v>
                  </c:pt>
                  <c:pt idx="1694">
                    <c:v>Rolling Mean (30 Minute)</c:v>
                  </c:pt>
                  <c:pt idx="1695">
                    <c:v>Rolling Mean (30 Minute)</c:v>
                  </c:pt>
                  <c:pt idx="1696">
                    <c:v>Rolling Mean (30 Minute)</c:v>
                  </c:pt>
                  <c:pt idx="1697">
                    <c:v>Rolling Mean (30 Minute)</c:v>
                  </c:pt>
                  <c:pt idx="1698">
                    <c:v>Rolling Mean (30 Minute)</c:v>
                  </c:pt>
                  <c:pt idx="1699">
                    <c:v>Rolling Mean (30 Minute)</c:v>
                  </c:pt>
                  <c:pt idx="1700">
                    <c:v>Rolling Mean (30 Minute)</c:v>
                  </c:pt>
                  <c:pt idx="1701">
                    <c:v>Rolling Mean (30 Minute)</c:v>
                  </c:pt>
                  <c:pt idx="1702">
                    <c:v>Rolling Mean (30 Minute)</c:v>
                  </c:pt>
                  <c:pt idx="1703">
                    <c:v>Rolling Mean (30 Minute)</c:v>
                  </c:pt>
                  <c:pt idx="1704">
                    <c:v>Rolling Mean (30 Minute)</c:v>
                  </c:pt>
                  <c:pt idx="1705">
                    <c:v>Rolling Mean (30 Minute)</c:v>
                  </c:pt>
                  <c:pt idx="1706">
                    <c:v>Rolling Mean (30 Minute)</c:v>
                  </c:pt>
                  <c:pt idx="1707">
                    <c:v>Rolling Mean (30 Minute)</c:v>
                  </c:pt>
                  <c:pt idx="1708">
                    <c:v>Rolling Mean (30 Minute)</c:v>
                  </c:pt>
                  <c:pt idx="1709">
                    <c:v>Rolling Mean (30 Minute)</c:v>
                  </c:pt>
                  <c:pt idx="1710">
                    <c:v>Rolling Mean (30 Minute)</c:v>
                  </c:pt>
                  <c:pt idx="1711">
                    <c:v>Rolling Mean (30 Minute)</c:v>
                  </c:pt>
                  <c:pt idx="1712">
                    <c:v>Rolling Mean (30 Minute)</c:v>
                  </c:pt>
                  <c:pt idx="1713">
                    <c:v>Rolling Mean (30 Minute)</c:v>
                  </c:pt>
                  <c:pt idx="1714">
                    <c:v>Rolling Mean (30 Minute)</c:v>
                  </c:pt>
                  <c:pt idx="1715">
                    <c:v>Rolling Mean (30 Minute)</c:v>
                  </c:pt>
                  <c:pt idx="1716">
                    <c:v>Rolling Mean (30 Minute)</c:v>
                  </c:pt>
                  <c:pt idx="1717">
                    <c:v>Rolling Mean (30 Minute)</c:v>
                  </c:pt>
                  <c:pt idx="1718">
                    <c:v>Rolling Mean (30 Minute)</c:v>
                  </c:pt>
                  <c:pt idx="1719">
                    <c:v>Rolling Mean (30 Minute)</c:v>
                  </c:pt>
                  <c:pt idx="1720">
                    <c:v>Rolling Mean (30 Minute)</c:v>
                  </c:pt>
                  <c:pt idx="1721">
                    <c:v>Rolling Mean (30 Minute)</c:v>
                  </c:pt>
                  <c:pt idx="1722">
                    <c:v>Rolling Mean (30 Minute)</c:v>
                  </c:pt>
                  <c:pt idx="1723">
                    <c:v>Rolling Mean (30 Minute)</c:v>
                  </c:pt>
                  <c:pt idx="1724">
                    <c:v>Rolling Mean (30 Minute)</c:v>
                  </c:pt>
                  <c:pt idx="1725">
                    <c:v>Rolling Mean (30 Minute)</c:v>
                  </c:pt>
                  <c:pt idx="1726">
                    <c:v>Rolling Mean (30 Minute)</c:v>
                  </c:pt>
                  <c:pt idx="1727">
                    <c:v>Rolling Mean (30 Minute)</c:v>
                  </c:pt>
                  <c:pt idx="1728">
                    <c:v>Rolling Mean (30 Minute)</c:v>
                  </c:pt>
                  <c:pt idx="1729">
                    <c:v>Rolling Mean (30 Minute)</c:v>
                  </c:pt>
                  <c:pt idx="1730">
                    <c:v>Rolling Mean (30 Minute)</c:v>
                  </c:pt>
                  <c:pt idx="1731">
                    <c:v>Rolling Mean (30 Minute)</c:v>
                  </c:pt>
                  <c:pt idx="1732">
                    <c:v>Rolling Mean (30 Minute)</c:v>
                  </c:pt>
                  <c:pt idx="1733">
                    <c:v>Rolling Mean (30 Minute)</c:v>
                  </c:pt>
                  <c:pt idx="1734">
                    <c:v>Rolling Mean (30 Minute)</c:v>
                  </c:pt>
                  <c:pt idx="1735">
                    <c:v>Rolling Mean (30 Minute)</c:v>
                  </c:pt>
                  <c:pt idx="1736">
                    <c:v>Rolling Mean (30 Minute)</c:v>
                  </c:pt>
                  <c:pt idx="1737">
                    <c:v>Rolling Mean (30 Minute)</c:v>
                  </c:pt>
                  <c:pt idx="1738">
                    <c:v>Rolling Mean (30 Minute)</c:v>
                  </c:pt>
                  <c:pt idx="1739">
                    <c:v>Rolling Mean (30 Minute)</c:v>
                  </c:pt>
                  <c:pt idx="1740">
                    <c:v>Rolling Mean (30 Minute)</c:v>
                  </c:pt>
                  <c:pt idx="1741">
                    <c:v>Rolling Mean (30 Minute)</c:v>
                  </c:pt>
                  <c:pt idx="1742">
                    <c:v>Rolling Mean (30 Minute)</c:v>
                  </c:pt>
                  <c:pt idx="1743">
                    <c:v>Rolling Mean (30 Minute)</c:v>
                  </c:pt>
                  <c:pt idx="1744">
                    <c:v>Rolling Mean (30 Minute)</c:v>
                  </c:pt>
                  <c:pt idx="1745">
                    <c:v>Rolling Mean (30 Minute)</c:v>
                  </c:pt>
                  <c:pt idx="1746">
                    <c:v>Rolling Mean (30 Minute)</c:v>
                  </c:pt>
                  <c:pt idx="1747">
                    <c:v>Rolling Mean (30 Minute)</c:v>
                  </c:pt>
                  <c:pt idx="1748">
                    <c:v>Rolling Mean (30 Minute)</c:v>
                  </c:pt>
                  <c:pt idx="1749">
                    <c:v>Rolling Mean (30 Minute)</c:v>
                  </c:pt>
                  <c:pt idx="1750">
                    <c:v>Rolling Mean (30 Minute)</c:v>
                  </c:pt>
                  <c:pt idx="1751">
                    <c:v>Rolling Mean (30 Minute)</c:v>
                  </c:pt>
                  <c:pt idx="1752">
                    <c:v>Rolling Mean (30 Minute)</c:v>
                  </c:pt>
                  <c:pt idx="1753">
                    <c:v>Rolling Mean (30 Minute)</c:v>
                  </c:pt>
                  <c:pt idx="1754">
                    <c:v>Rolling Mean (30 Minute)</c:v>
                  </c:pt>
                  <c:pt idx="1755">
                    <c:v>Rolling Mean (30 Minute)</c:v>
                  </c:pt>
                  <c:pt idx="1756">
                    <c:v>Rolling Mean (30 Minute)</c:v>
                  </c:pt>
                  <c:pt idx="1757">
                    <c:v>Rolling Mean (30 Minute)</c:v>
                  </c:pt>
                  <c:pt idx="1758">
                    <c:v>Rolling Mean (30 Minute)</c:v>
                  </c:pt>
                  <c:pt idx="1759">
                    <c:v>Rolling Mean (30 Minute)</c:v>
                  </c:pt>
                  <c:pt idx="1760">
                    <c:v>Rolling Mean (30 Minute)</c:v>
                  </c:pt>
                  <c:pt idx="1761">
                    <c:v>Rolling Mean (30 Minute)</c:v>
                  </c:pt>
                  <c:pt idx="1762">
                    <c:v>Rolling Mean (30 Minute)</c:v>
                  </c:pt>
                  <c:pt idx="1763">
                    <c:v>Rolling Mean (30 Minute)</c:v>
                  </c:pt>
                  <c:pt idx="1764">
                    <c:v>Rolling Mean (30 Minute)</c:v>
                  </c:pt>
                  <c:pt idx="1765">
                    <c:v>Rolling Mean (30 Minute)</c:v>
                  </c:pt>
                  <c:pt idx="1766">
                    <c:v>Rolling Mean (30 Minute)</c:v>
                  </c:pt>
                  <c:pt idx="1767">
                    <c:v>Rolling Mean (30 Minute)</c:v>
                  </c:pt>
                  <c:pt idx="1768">
                    <c:v>Rolling Mean (30 Minute)</c:v>
                  </c:pt>
                  <c:pt idx="1769">
                    <c:v>Rolling Mean (30 Minute)</c:v>
                  </c:pt>
                  <c:pt idx="1770">
                    <c:v>Rolling Mean (30 Minute)</c:v>
                  </c:pt>
                  <c:pt idx="1771">
                    <c:v>Rolling Mean (30 Minute)</c:v>
                  </c:pt>
                  <c:pt idx="1772">
                    <c:v>Rolling Mean (30 Minute)</c:v>
                  </c:pt>
                  <c:pt idx="1773">
                    <c:v>Rolling Mean (30 Minute)</c:v>
                  </c:pt>
                  <c:pt idx="1774">
                    <c:v>Rolling Mean (30 Minute)</c:v>
                  </c:pt>
                  <c:pt idx="1775">
                    <c:v>Rolling Mean (30 Minute)</c:v>
                  </c:pt>
                  <c:pt idx="1776">
                    <c:v>Rolling Mean (30 Minute)</c:v>
                  </c:pt>
                  <c:pt idx="1777">
                    <c:v>Rolling Mean (30 Minute)</c:v>
                  </c:pt>
                  <c:pt idx="1778">
                    <c:v>Rolling Mean (30 Minute)</c:v>
                  </c:pt>
                  <c:pt idx="1779">
                    <c:v>Rolling Mean (30 Minute)</c:v>
                  </c:pt>
                  <c:pt idx="1780">
                    <c:v>Rolling Mean (30 Minute)</c:v>
                  </c:pt>
                  <c:pt idx="1781">
                    <c:v>Rolling Mean (30 Minute)</c:v>
                  </c:pt>
                  <c:pt idx="1782">
                    <c:v>Rolling Mean (30 Minute)</c:v>
                  </c:pt>
                  <c:pt idx="1783">
                    <c:v>Rolling Mean (30 Minute)</c:v>
                  </c:pt>
                  <c:pt idx="1784">
                    <c:v>Rolling Mean (30 Minute)</c:v>
                  </c:pt>
                  <c:pt idx="1785">
                    <c:v>Rolling Mean (30 Minute)</c:v>
                  </c:pt>
                  <c:pt idx="1786">
                    <c:v>Rolling Mean (30 Minute)</c:v>
                  </c:pt>
                  <c:pt idx="1787">
                    <c:v>Rolling Mean (30 Minute)</c:v>
                  </c:pt>
                  <c:pt idx="1788">
                    <c:v>Rolling Mean (30 Minute)</c:v>
                  </c:pt>
                  <c:pt idx="1789">
                    <c:v>Rolling Mean (30 Minute)</c:v>
                  </c:pt>
                  <c:pt idx="1790">
                    <c:v>Rolling Mean (30 Minute)</c:v>
                  </c:pt>
                  <c:pt idx="1791">
                    <c:v>Rolling Mean (30 Minute)</c:v>
                  </c:pt>
                  <c:pt idx="1792">
                    <c:v>Rolling Mean (30 Minute)</c:v>
                  </c:pt>
                  <c:pt idx="1793">
                    <c:v>Rolling Mean (30 Minute)</c:v>
                  </c:pt>
                  <c:pt idx="1794">
                    <c:v>Rolling Mean (30 Minute)</c:v>
                  </c:pt>
                  <c:pt idx="1795">
                    <c:v>Rolling Mean (30 Minute)</c:v>
                  </c:pt>
                  <c:pt idx="1796">
                    <c:v>Rolling Mean (30 Minute)</c:v>
                  </c:pt>
                  <c:pt idx="1797">
                    <c:v>Rolling Mean (30 Minute)</c:v>
                  </c:pt>
                  <c:pt idx="1798">
                    <c:v>Rolling Mean (30 Minute)</c:v>
                  </c:pt>
                  <c:pt idx="1799">
                    <c:v>Rolling Mean (30 Minute)</c:v>
                  </c:pt>
                  <c:pt idx="1800">
                    <c:v>Rolling Mean (30 Minute)</c:v>
                  </c:pt>
                  <c:pt idx="1801">
                    <c:v>Rolling Mean (30 Minute)</c:v>
                  </c:pt>
                  <c:pt idx="1802">
                    <c:v>Rolling Mean (30 Minute)</c:v>
                  </c:pt>
                  <c:pt idx="1803">
                    <c:v>Rolling Mean (30 Minute)</c:v>
                  </c:pt>
                  <c:pt idx="1804">
                    <c:v>Rolling Mean (30 Minute)</c:v>
                  </c:pt>
                  <c:pt idx="1805">
                    <c:v>Rolling Mean (30 Minute)</c:v>
                  </c:pt>
                  <c:pt idx="1806">
                    <c:v>Rolling Mean (30 Minute)</c:v>
                  </c:pt>
                  <c:pt idx="1807">
                    <c:v>Rolling Mean (30 Minute)</c:v>
                  </c:pt>
                  <c:pt idx="1808">
                    <c:v>Rolling Mean (30 Minute)</c:v>
                  </c:pt>
                  <c:pt idx="1809">
                    <c:v>Rolling Mean (30 Minute)</c:v>
                  </c:pt>
                  <c:pt idx="1810">
                    <c:v>Rolling Mean (30 Minute)</c:v>
                  </c:pt>
                  <c:pt idx="1811">
                    <c:v>Rolling Mean (30 Minute)</c:v>
                  </c:pt>
                  <c:pt idx="1812">
                    <c:v>Rolling Mean (30 Minute)</c:v>
                  </c:pt>
                  <c:pt idx="1813">
                    <c:v>Rolling Mean (30 Minute)</c:v>
                  </c:pt>
                  <c:pt idx="1814">
                    <c:v>Rolling Mean (30 Minute)</c:v>
                  </c:pt>
                  <c:pt idx="1815">
                    <c:v>Rolling Mean (30 Minute)</c:v>
                  </c:pt>
                  <c:pt idx="1816">
                    <c:v>Rolling Mean (30 Minute)</c:v>
                  </c:pt>
                  <c:pt idx="1817">
                    <c:v>Rolling Mean (30 Minute)</c:v>
                  </c:pt>
                  <c:pt idx="1818">
                    <c:v>Rolling Mean (30 Minute)</c:v>
                  </c:pt>
                  <c:pt idx="1819">
                    <c:v>Rolling Mean (30 Minute)</c:v>
                  </c:pt>
                  <c:pt idx="1820">
                    <c:v>Rolling Mean (30 Minute)</c:v>
                  </c:pt>
                  <c:pt idx="1821">
                    <c:v>Rolling Mean (30 Minute)</c:v>
                  </c:pt>
                  <c:pt idx="1822">
                    <c:v>Rolling Mean (30 Minute)</c:v>
                  </c:pt>
                  <c:pt idx="1823">
                    <c:v>Rolling Mean (30 Minute)</c:v>
                  </c:pt>
                  <c:pt idx="1824">
                    <c:v>Rolling Mean (30 Minute)</c:v>
                  </c:pt>
                  <c:pt idx="1825">
                    <c:v>Rolling Mean (30 Minute)</c:v>
                  </c:pt>
                  <c:pt idx="1826">
                    <c:v>Rolling Mean (30 Minute)</c:v>
                  </c:pt>
                  <c:pt idx="1827">
                    <c:v>Rolling Mean (30 Minute)</c:v>
                  </c:pt>
                  <c:pt idx="1828">
                    <c:v>Rolling Mean (30 Minute)</c:v>
                  </c:pt>
                  <c:pt idx="1829">
                    <c:v>Rolling Mean (30 Minute)</c:v>
                  </c:pt>
                  <c:pt idx="1830">
                    <c:v>Rolling Mean (30 Minute)</c:v>
                  </c:pt>
                  <c:pt idx="1831">
                    <c:v>Rolling Mean (30 Minute)</c:v>
                  </c:pt>
                  <c:pt idx="1832">
                    <c:v>Rolling Mean (30 Minute)</c:v>
                  </c:pt>
                  <c:pt idx="1833">
                    <c:v>Rolling Mean (30 Minute)</c:v>
                  </c:pt>
                  <c:pt idx="1834">
                    <c:v>Rolling Mean (30 Minute)</c:v>
                  </c:pt>
                  <c:pt idx="1835">
                    <c:v>Rolling Mean (30 Minute)</c:v>
                  </c:pt>
                  <c:pt idx="1836">
                    <c:v>Rolling Mean (30 Minute)</c:v>
                  </c:pt>
                  <c:pt idx="1837">
                    <c:v>Rolling Mean (30 Minute)</c:v>
                  </c:pt>
                  <c:pt idx="1838">
                    <c:v>Rolling Mean (30 Minute)</c:v>
                  </c:pt>
                  <c:pt idx="1839">
                    <c:v>Rolling Mean (30 Minute)</c:v>
                  </c:pt>
                  <c:pt idx="1840">
                    <c:v>Rolling Mean (30 Minute)</c:v>
                  </c:pt>
                  <c:pt idx="1841">
                    <c:v>Rolling Mean (30 Minute)</c:v>
                  </c:pt>
                  <c:pt idx="1842">
                    <c:v>Rolling Mean (30 Minute)</c:v>
                  </c:pt>
                  <c:pt idx="1843">
                    <c:v>Rolling Mean (30 Minute)</c:v>
                  </c:pt>
                  <c:pt idx="1844">
                    <c:v>Rolling Mean (30 Minute)</c:v>
                  </c:pt>
                  <c:pt idx="1845">
                    <c:v>Rolling Mean (30 Minute)</c:v>
                  </c:pt>
                  <c:pt idx="1846">
                    <c:v>Rolling Mean (30 Minute)</c:v>
                  </c:pt>
                  <c:pt idx="1847">
                    <c:v>Rolling Mean (30 Minute)</c:v>
                  </c:pt>
                  <c:pt idx="1848">
                    <c:v>Rolling Mean (30 Minute)</c:v>
                  </c:pt>
                  <c:pt idx="1849">
                    <c:v>Rolling Mean (30 Minute)</c:v>
                  </c:pt>
                  <c:pt idx="1850">
                    <c:v>Rolling Mean (30 Minute)</c:v>
                  </c:pt>
                  <c:pt idx="1851">
                    <c:v>Rolling Mean (30 Minute)</c:v>
                  </c:pt>
                  <c:pt idx="1852">
                    <c:v>Rolling Mean (30 Minute)</c:v>
                  </c:pt>
                  <c:pt idx="1853">
                    <c:v>Rolling Mean (30 Minute)</c:v>
                  </c:pt>
                  <c:pt idx="1854">
                    <c:v>Rolling Mean (30 Minute)</c:v>
                  </c:pt>
                  <c:pt idx="1855">
                    <c:v>Rolling Mean (30 Minute)</c:v>
                  </c:pt>
                  <c:pt idx="1856">
                    <c:v>Rolling Mean (30 Minute)</c:v>
                  </c:pt>
                  <c:pt idx="1857">
                    <c:v>Rolling Mean (30 Minute)</c:v>
                  </c:pt>
                  <c:pt idx="1858">
                    <c:v>Rolling Mean (30 Minute)</c:v>
                  </c:pt>
                  <c:pt idx="1859">
                    <c:v>Rolling Mean (30 Minute)</c:v>
                  </c:pt>
                  <c:pt idx="1860">
                    <c:v>Rolling Mean (30 Minute)</c:v>
                  </c:pt>
                  <c:pt idx="1861">
                    <c:v>Rolling Mean (30 Minute)</c:v>
                  </c:pt>
                  <c:pt idx="1862">
                    <c:v>Rolling Mean (30 Minute)</c:v>
                  </c:pt>
                  <c:pt idx="1863">
                    <c:v>Rolling Mean (30 Minute)</c:v>
                  </c:pt>
                  <c:pt idx="1864">
                    <c:v>Rolling Mean (30 Minute)</c:v>
                  </c:pt>
                  <c:pt idx="1865">
                    <c:v>Rolling Mean (30 Minute)</c:v>
                  </c:pt>
                  <c:pt idx="1866">
                    <c:v>Rolling Mean (30 Minute)</c:v>
                  </c:pt>
                  <c:pt idx="1867">
                    <c:v>Rolling Mean (30 Minute)</c:v>
                  </c:pt>
                  <c:pt idx="1868">
                    <c:v>Rolling Mean (30 Minute)</c:v>
                  </c:pt>
                  <c:pt idx="1869">
                    <c:v>Rolling Mean (30 Minute)</c:v>
                  </c:pt>
                  <c:pt idx="1870">
                    <c:v>Rolling Mean (30 Minute)</c:v>
                  </c:pt>
                  <c:pt idx="1871">
                    <c:v>Rolling Mean (30 Minute)</c:v>
                  </c:pt>
                  <c:pt idx="1872">
                    <c:v>Rolling Mean (30 Minute)</c:v>
                  </c:pt>
                  <c:pt idx="1873">
                    <c:v>Rolling Mean (30 Minute)</c:v>
                  </c:pt>
                  <c:pt idx="1874">
                    <c:v>Rolling Mean (30 Minute)</c:v>
                  </c:pt>
                  <c:pt idx="1875">
                    <c:v>Rolling Mean (30 Minute)</c:v>
                  </c:pt>
                  <c:pt idx="1876">
                    <c:v>Rolling Mean (30 Minute)</c:v>
                  </c:pt>
                  <c:pt idx="1877">
                    <c:v>Rolling Mean (30 Minute)</c:v>
                  </c:pt>
                  <c:pt idx="1878">
                    <c:v>Rolling Mean (30 Minute)</c:v>
                  </c:pt>
                  <c:pt idx="1879">
                    <c:v>Rolling Mean (30 Minute)</c:v>
                  </c:pt>
                  <c:pt idx="1880">
                    <c:v>Rolling Mean (30 Minute)</c:v>
                  </c:pt>
                  <c:pt idx="1881">
                    <c:v>Rolling Mean (30 Minute)</c:v>
                  </c:pt>
                  <c:pt idx="1882">
                    <c:v>Rolling Mean (30 Minute)</c:v>
                  </c:pt>
                  <c:pt idx="1883">
                    <c:v>Rolling Mean (30 Minute)</c:v>
                  </c:pt>
                  <c:pt idx="1884">
                    <c:v>Rolling Mean (30 Minute)</c:v>
                  </c:pt>
                  <c:pt idx="1885">
                    <c:v>Rolling Mean (30 Minute)</c:v>
                  </c:pt>
                  <c:pt idx="1886">
                    <c:v>Rolling Mean (30 Minute)</c:v>
                  </c:pt>
                  <c:pt idx="1887">
                    <c:v>Rolling Mean (30 Minute)</c:v>
                  </c:pt>
                  <c:pt idx="1888">
                    <c:v>Rolling Mean (30 Minute)</c:v>
                  </c:pt>
                  <c:pt idx="1889">
                    <c:v>Rolling Mean (30 Minute)</c:v>
                  </c:pt>
                  <c:pt idx="1890">
                    <c:v>Rolling Mean (30 Minute)</c:v>
                  </c:pt>
                  <c:pt idx="1891">
                    <c:v>Rolling Mean (30 Minute)</c:v>
                  </c:pt>
                  <c:pt idx="1892">
                    <c:v>Rolling Mean (30 Minute)</c:v>
                  </c:pt>
                  <c:pt idx="1893">
                    <c:v>Rolling Mean (30 Minute)</c:v>
                  </c:pt>
                  <c:pt idx="1894">
                    <c:v>Rolling Mean (30 Minute)</c:v>
                  </c:pt>
                  <c:pt idx="1895">
                    <c:v>Rolling Mean (30 Minute)</c:v>
                  </c:pt>
                  <c:pt idx="1896">
                    <c:v>Rolling Mean (30 Minute)</c:v>
                  </c:pt>
                  <c:pt idx="1897">
                    <c:v>Rolling Mean (30 Minute)</c:v>
                  </c:pt>
                  <c:pt idx="1898">
                    <c:v>Rolling Mean (30 Minute)</c:v>
                  </c:pt>
                  <c:pt idx="1899">
                    <c:v>Rolling Mean (30 Minute)</c:v>
                  </c:pt>
                  <c:pt idx="1900">
                    <c:v>Rolling Mean (30 Minute)</c:v>
                  </c:pt>
                  <c:pt idx="1901">
                    <c:v>Rolling Mean (30 Minute)</c:v>
                  </c:pt>
                  <c:pt idx="1902">
                    <c:v>Rolling Mean (30 Minute)</c:v>
                  </c:pt>
                  <c:pt idx="1903">
                    <c:v>Rolling Mean (30 Minute)</c:v>
                  </c:pt>
                  <c:pt idx="1904">
                    <c:v>Rolling Mean (30 Minute)</c:v>
                  </c:pt>
                  <c:pt idx="1905">
                    <c:v>Rolling Mean (30 Minute)</c:v>
                  </c:pt>
                  <c:pt idx="1906">
                    <c:v>Rolling Mean (30 Minute)</c:v>
                  </c:pt>
                  <c:pt idx="1907">
                    <c:v>Rolling Mean (30 Minute)</c:v>
                  </c:pt>
                  <c:pt idx="1908">
                    <c:v>Rolling Mean (30 Minute)</c:v>
                  </c:pt>
                  <c:pt idx="1909">
                    <c:v>Rolling Mean (30 Minute)</c:v>
                  </c:pt>
                  <c:pt idx="1910">
                    <c:v>Rolling Mean (30 Minute)</c:v>
                  </c:pt>
                  <c:pt idx="1911">
                    <c:v>Rolling Mean (30 Minute)</c:v>
                  </c:pt>
                  <c:pt idx="1912">
                    <c:v>Rolling Mean (30 Minute)</c:v>
                  </c:pt>
                  <c:pt idx="1913">
                    <c:v>Rolling Mean (30 Minute)</c:v>
                  </c:pt>
                  <c:pt idx="1914">
                    <c:v>Rolling Mean (30 Minute)</c:v>
                  </c:pt>
                  <c:pt idx="1915">
                    <c:v>Rolling Mean (30 Minute)</c:v>
                  </c:pt>
                  <c:pt idx="1916">
                    <c:v>Rolling Mean (30 Minute)</c:v>
                  </c:pt>
                  <c:pt idx="1917">
                    <c:v>Rolling Mean (30 Minute)</c:v>
                  </c:pt>
                  <c:pt idx="1918">
                    <c:v>Rolling Mean (30 Minute)</c:v>
                  </c:pt>
                  <c:pt idx="1919">
                    <c:v>Rolling Mean (30 Minute)</c:v>
                  </c:pt>
                  <c:pt idx="1920">
                    <c:v>Rolling Mean (30 Minute)</c:v>
                  </c:pt>
                  <c:pt idx="1921">
                    <c:v>Rolling Mean (30 Minute)</c:v>
                  </c:pt>
                  <c:pt idx="1922">
                    <c:v>Rolling Mean (30 Minute)</c:v>
                  </c:pt>
                  <c:pt idx="1923">
                    <c:v>Rolling Mean (30 Minute)</c:v>
                  </c:pt>
                  <c:pt idx="1924">
                    <c:v>Rolling Mean (30 Minute)</c:v>
                  </c:pt>
                  <c:pt idx="1925">
                    <c:v>Rolling Mean (30 Minute)</c:v>
                  </c:pt>
                  <c:pt idx="1926">
                    <c:v>Rolling Mean (30 Minute)</c:v>
                  </c:pt>
                  <c:pt idx="1927">
                    <c:v>Rolling Mean (30 Minute)</c:v>
                  </c:pt>
                  <c:pt idx="1928">
                    <c:v>Rolling Mean (30 Minute)</c:v>
                  </c:pt>
                  <c:pt idx="1929">
                    <c:v>Rolling Mean (30 Minute)</c:v>
                  </c:pt>
                  <c:pt idx="1930">
                    <c:v>Rolling Mean (30 Minute)</c:v>
                  </c:pt>
                  <c:pt idx="1931">
                    <c:v>Rolling Mean (30 Minute)</c:v>
                  </c:pt>
                  <c:pt idx="1932">
                    <c:v>Rolling Mean (30 Minute)</c:v>
                  </c:pt>
                  <c:pt idx="1933">
                    <c:v>Rolling Mean (30 Minute)</c:v>
                  </c:pt>
                  <c:pt idx="1934">
                    <c:v>Rolling Mean (30 Minute)</c:v>
                  </c:pt>
                  <c:pt idx="1935">
                    <c:v>Rolling Mean (30 Minute)</c:v>
                  </c:pt>
                  <c:pt idx="1936">
                    <c:v>Rolling Mean (30 Minute)</c:v>
                  </c:pt>
                  <c:pt idx="1937">
                    <c:v>Rolling Mean (30 Minute)</c:v>
                  </c:pt>
                  <c:pt idx="1938">
                    <c:v>Rolling Mean (30 Minute)</c:v>
                  </c:pt>
                  <c:pt idx="1939">
                    <c:v>Rolling Mean (30 Minute)</c:v>
                  </c:pt>
                  <c:pt idx="1940">
                    <c:v>Rolling Mean (30 Minute)</c:v>
                  </c:pt>
                  <c:pt idx="1941">
                    <c:v>Rolling Mean (30 Minute)</c:v>
                  </c:pt>
                  <c:pt idx="1942">
                    <c:v>Rolling Mean (30 Minute)</c:v>
                  </c:pt>
                  <c:pt idx="1943">
                    <c:v>Rolling Mean (30 Minute)</c:v>
                  </c:pt>
                  <c:pt idx="1944">
                    <c:v>Rolling Mean (30 Minute)</c:v>
                  </c:pt>
                  <c:pt idx="1945">
                    <c:v>Rolling Mean (30 Minute)</c:v>
                  </c:pt>
                  <c:pt idx="1946">
                    <c:v>Rolling Mean (30 Minute)</c:v>
                  </c:pt>
                  <c:pt idx="1947">
                    <c:v>Rolling Mean (30 Minute)</c:v>
                  </c:pt>
                  <c:pt idx="1948">
                    <c:v>Rolling Mean (30 Minute)</c:v>
                  </c:pt>
                  <c:pt idx="1949">
                    <c:v>Rolling Mean (30 Minute)</c:v>
                  </c:pt>
                  <c:pt idx="1950">
                    <c:v>Rolling Mean (30 Minute)</c:v>
                  </c:pt>
                  <c:pt idx="1951">
                    <c:v>Rolling Mean (30 Minute)</c:v>
                  </c:pt>
                  <c:pt idx="1952">
                    <c:v>Rolling Mean (30 Minute)</c:v>
                  </c:pt>
                  <c:pt idx="1953">
                    <c:v>Rolling Mean (30 Minute)</c:v>
                  </c:pt>
                  <c:pt idx="1954">
                    <c:v>Rolling Mean (30 Minute)</c:v>
                  </c:pt>
                  <c:pt idx="1955">
                    <c:v>Rolling Mean (30 Minute)</c:v>
                  </c:pt>
                  <c:pt idx="1956">
                    <c:v>Rolling Mean (30 Minute)</c:v>
                  </c:pt>
                  <c:pt idx="1957">
                    <c:v>Rolling Mean (30 Minute)</c:v>
                  </c:pt>
                  <c:pt idx="1958">
                    <c:v>Rolling Mean (30 Minute)</c:v>
                  </c:pt>
                  <c:pt idx="1959">
                    <c:v>Rolling Mean (30 Minute)</c:v>
                  </c:pt>
                  <c:pt idx="1960">
                    <c:v>Rolling Mean (30 Minute)</c:v>
                  </c:pt>
                  <c:pt idx="1961">
                    <c:v>Rolling Mean (30 Minute)</c:v>
                  </c:pt>
                  <c:pt idx="1962">
                    <c:v>Rolling Mean (30 Minute)</c:v>
                  </c:pt>
                  <c:pt idx="1963">
                    <c:v>Rolling Mean (30 Minute)</c:v>
                  </c:pt>
                  <c:pt idx="1964">
                    <c:v>Rolling Mean (30 Minute)</c:v>
                  </c:pt>
                  <c:pt idx="1965">
                    <c:v>Rolling Mean (30 Minute)</c:v>
                  </c:pt>
                  <c:pt idx="1966">
                    <c:v>Rolling Mean (30 Minute)</c:v>
                  </c:pt>
                  <c:pt idx="1967">
                    <c:v>Rolling Mean (30 Minute)</c:v>
                  </c:pt>
                  <c:pt idx="1968">
                    <c:v>Rolling Mean (30 Minute)</c:v>
                  </c:pt>
                  <c:pt idx="1969">
                    <c:v>Rolling Mean (30 Minute)</c:v>
                  </c:pt>
                  <c:pt idx="1970">
                    <c:v>Rolling Mean (30 Minute)</c:v>
                  </c:pt>
                  <c:pt idx="1971">
                    <c:v>Rolling Mean (30 Minute)</c:v>
                  </c:pt>
                  <c:pt idx="1972">
                    <c:v>Rolling Mean (30 Minute)</c:v>
                  </c:pt>
                  <c:pt idx="1973">
                    <c:v>Rolling Mean (30 Minute)</c:v>
                  </c:pt>
                  <c:pt idx="1974">
                    <c:v>Rolling Mean (30 Minute)</c:v>
                  </c:pt>
                  <c:pt idx="1975">
                    <c:v>Rolling Mean (30 Minute)</c:v>
                  </c:pt>
                  <c:pt idx="1976">
                    <c:v>Rolling Mean (30 Minute)</c:v>
                  </c:pt>
                  <c:pt idx="1977">
                    <c:v>Rolling Mean (30 Minute)</c:v>
                  </c:pt>
                  <c:pt idx="1978">
                    <c:v>Rolling Mean (30 Minute)</c:v>
                  </c:pt>
                  <c:pt idx="1979">
                    <c:v>Rolling Mean (30 Minute)</c:v>
                  </c:pt>
                  <c:pt idx="1980">
                    <c:v>Rolling Mean (30 Minute)</c:v>
                  </c:pt>
                  <c:pt idx="1981">
                    <c:v>Rolling Mean (30 Minute)</c:v>
                  </c:pt>
                  <c:pt idx="1982">
                    <c:v>Rolling Mean (30 Minute)</c:v>
                  </c:pt>
                  <c:pt idx="1983">
                    <c:v>Rolling Mean (30 Minute)</c:v>
                  </c:pt>
                  <c:pt idx="1984">
                    <c:v>Rolling Mean (30 Minute)</c:v>
                  </c:pt>
                  <c:pt idx="1985">
                    <c:v>Rolling Mean (30 Minute)</c:v>
                  </c:pt>
                  <c:pt idx="1986">
                    <c:v>Rolling Mean (30 Minute)</c:v>
                  </c:pt>
                  <c:pt idx="1987">
                    <c:v>Rolling Mean (30 Minute)</c:v>
                  </c:pt>
                  <c:pt idx="1988">
                    <c:v>Rolling Mean (30 Minute)</c:v>
                  </c:pt>
                  <c:pt idx="1989">
                    <c:v>Rolling Mean (30 Minute)</c:v>
                  </c:pt>
                  <c:pt idx="1990">
                    <c:v>Rolling Mean (30 Minute)</c:v>
                  </c:pt>
                  <c:pt idx="1991">
                    <c:v>Rolling Mean (30 Minute)</c:v>
                  </c:pt>
                  <c:pt idx="1992">
                    <c:v>Rolling Mean (30 Minute)</c:v>
                  </c:pt>
                  <c:pt idx="1993">
                    <c:v>Rolling Mean (30 Minute)</c:v>
                  </c:pt>
                  <c:pt idx="1994">
                    <c:v>Rolling Mean (30 Minute)</c:v>
                  </c:pt>
                  <c:pt idx="1995">
                    <c:v>Rolling Mean (30 Minute)</c:v>
                  </c:pt>
                  <c:pt idx="1996">
                    <c:v>Rolling Mean (30 Minute)</c:v>
                  </c:pt>
                  <c:pt idx="1997">
                    <c:v>Rolling Mean (30 Minute)</c:v>
                  </c:pt>
                  <c:pt idx="1998">
                    <c:v>Rolling Mean (30 Minute)</c:v>
                  </c:pt>
                  <c:pt idx="1999">
                    <c:v>Rolling Mean (30 Minute)</c:v>
                  </c:pt>
                  <c:pt idx="2000">
                    <c:v>Rolling Mean (30 Minute)</c:v>
                  </c:pt>
                  <c:pt idx="2001">
                    <c:v>Rolling Mean (30 Minute)</c:v>
                  </c:pt>
                  <c:pt idx="2002">
                    <c:v>Rolling Mean (30 Minute)</c:v>
                  </c:pt>
                  <c:pt idx="2003">
                    <c:v>Rolling Mean (30 Minute)</c:v>
                  </c:pt>
                  <c:pt idx="2004">
                    <c:v>Rolling Mean (30 Minute)</c:v>
                  </c:pt>
                  <c:pt idx="2005">
                    <c:v>Rolling Mean (30 Minute)</c:v>
                  </c:pt>
                  <c:pt idx="2006">
                    <c:v>Rolling Mean (30 Minute)</c:v>
                  </c:pt>
                  <c:pt idx="2007">
                    <c:v>Rolling Mean (30 Minute)</c:v>
                  </c:pt>
                  <c:pt idx="2008">
                    <c:v>Rolling Mean (30 Minute)</c:v>
                  </c:pt>
                  <c:pt idx="2009">
                    <c:v>Rolling Mean (30 Minute)</c:v>
                  </c:pt>
                  <c:pt idx="2010">
                    <c:v>Rolling Mean (30 Minute)</c:v>
                  </c:pt>
                  <c:pt idx="2011">
                    <c:v>Rolling Mean (30 Minute)</c:v>
                  </c:pt>
                  <c:pt idx="2012">
                    <c:v>Rolling Mean (30 Minute)</c:v>
                  </c:pt>
                  <c:pt idx="2013">
                    <c:v>Rolling Mean (30 Minute)</c:v>
                  </c:pt>
                  <c:pt idx="2014">
                    <c:v>Rolling Mean (30 Minute)</c:v>
                  </c:pt>
                  <c:pt idx="2015">
                    <c:v>Rolling Mean (30 Minute)</c:v>
                  </c:pt>
                  <c:pt idx="2016">
                    <c:v>Rolling Mean (30 Minute)</c:v>
                  </c:pt>
                  <c:pt idx="2017">
                    <c:v>Rolling Mean (30 Minute)</c:v>
                  </c:pt>
                  <c:pt idx="2018">
                    <c:v>Rolling Mean (30 Minute)</c:v>
                  </c:pt>
                  <c:pt idx="2019">
                    <c:v>Rolling Mean (30 Minute)</c:v>
                  </c:pt>
                  <c:pt idx="2020">
                    <c:v>Rolling Mean (30 Minute)</c:v>
                  </c:pt>
                  <c:pt idx="2021">
                    <c:v>Rolling Mean (30 Minute)</c:v>
                  </c:pt>
                  <c:pt idx="2022">
                    <c:v>Rolling Mean (30 Minute)</c:v>
                  </c:pt>
                  <c:pt idx="2023">
                    <c:v>Rolling Mean (30 Minute)</c:v>
                  </c:pt>
                  <c:pt idx="2024">
                    <c:v>Rolling Mean (30 Minute)</c:v>
                  </c:pt>
                  <c:pt idx="2025">
                    <c:v>Rolling Mean (30 Minute)</c:v>
                  </c:pt>
                  <c:pt idx="2026">
                    <c:v>Rolling Mean (30 Minute)</c:v>
                  </c:pt>
                  <c:pt idx="2027">
                    <c:v>Rolling Mean (30 Minute)</c:v>
                  </c:pt>
                  <c:pt idx="2028">
                    <c:v>Rolling Mean (30 Minute)</c:v>
                  </c:pt>
                  <c:pt idx="2029">
                    <c:v>Rolling Mean (30 Minute)</c:v>
                  </c:pt>
                  <c:pt idx="2030">
                    <c:v>Rolling Mean (30 Minute)</c:v>
                  </c:pt>
                  <c:pt idx="2031">
                    <c:v>Rolling Mean (30 Minute)</c:v>
                  </c:pt>
                  <c:pt idx="2032">
                    <c:v>Rolling Mean (30 Minute)</c:v>
                  </c:pt>
                  <c:pt idx="2033">
                    <c:v>Rolling Mean (30 Minute)</c:v>
                  </c:pt>
                  <c:pt idx="2034">
                    <c:v>Rolling Mean (30 Minute)</c:v>
                  </c:pt>
                  <c:pt idx="2035">
                    <c:v>Rolling Mean (30 Minute)</c:v>
                  </c:pt>
                  <c:pt idx="2036">
                    <c:v>Rolling Mean (30 Minute)</c:v>
                  </c:pt>
                  <c:pt idx="2037">
                    <c:v>Rolling Mean (30 Minute)</c:v>
                  </c:pt>
                  <c:pt idx="2038">
                    <c:v>Rolling Mean (30 Minute)</c:v>
                  </c:pt>
                  <c:pt idx="2039">
                    <c:v>Rolling Mean (30 Minute)</c:v>
                  </c:pt>
                  <c:pt idx="2040">
                    <c:v>Rolling Mean (30 Minute)</c:v>
                  </c:pt>
                  <c:pt idx="2041">
                    <c:v>Rolling Mean (30 Minute)</c:v>
                  </c:pt>
                  <c:pt idx="2042">
                    <c:v>Rolling Mean (30 Minute)</c:v>
                  </c:pt>
                  <c:pt idx="2043">
                    <c:v>Rolling Mean (30 Minute)</c:v>
                  </c:pt>
                  <c:pt idx="2044">
                    <c:v>Rolling Mean (30 Minute)</c:v>
                  </c:pt>
                  <c:pt idx="2045">
                    <c:v>Rolling Mean (30 Minute)</c:v>
                  </c:pt>
                  <c:pt idx="2046">
                    <c:v>Rolling Mean (30 Minute)</c:v>
                  </c:pt>
                  <c:pt idx="2047">
                    <c:v>Rolling Mean (30 Minute)</c:v>
                  </c:pt>
                  <c:pt idx="2048">
                    <c:v>Rolling Mean (30 Minute)</c:v>
                  </c:pt>
                  <c:pt idx="2049">
                    <c:v>Rolling Mean (30 Minute)</c:v>
                  </c:pt>
                  <c:pt idx="2050">
                    <c:v>Rolling Mean (30 Minute)</c:v>
                  </c:pt>
                  <c:pt idx="2051">
                    <c:v>Rolling Mean (30 Minute)</c:v>
                  </c:pt>
                  <c:pt idx="2052">
                    <c:v>Rolling Mean (30 Minute)</c:v>
                  </c:pt>
                  <c:pt idx="2053">
                    <c:v>Rolling Mean (30 Minute)</c:v>
                  </c:pt>
                  <c:pt idx="2054">
                    <c:v>Rolling Mean (30 Minute)</c:v>
                  </c:pt>
                  <c:pt idx="2055">
                    <c:v>Rolling Mean (30 Minute)</c:v>
                  </c:pt>
                  <c:pt idx="2056">
                    <c:v>Rolling Mean (30 Minute)</c:v>
                  </c:pt>
                  <c:pt idx="2057">
                    <c:v>Rolling Mean (30 Minute)</c:v>
                  </c:pt>
                  <c:pt idx="2058">
                    <c:v>Rolling Mean (30 Minute)</c:v>
                  </c:pt>
                  <c:pt idx="2059">
                    <c:v>Rolling Mean (30 Minute)</c:v>
                  </c:pt>
                  <c:pt idx="2060">
                    <c:v>Rolling Mean (30 Minute)</c:v>
                  </c:pt>
                  <c:pt idx="2061">
                    <c:v>Rolling Mean (30 Minute)</c:v>
                  </c:pt>
                  <c:pt idx="2062">
                    <c:v>Rolling Mean (30 Minute)</c:v>
                  </c:pt>
                  <c:pt idx="2063">
                    <c:v>Rolling Mean (30 Minute)</c:v>
                  </c:pt>
                  <c:pt idx="2064">
                    <c:v>Rolling Mean (30 Minute)</c:v>
                  </c:pt>
                  <c:pt idx="2065">
                    <c:v>Rolling Mean (30 Minute)</c:v>
                  </c:pt>
                  <c:pt idx="2066">
                    <c:v>Rolling Mean (30 Minute)</c:v>
                  </c:pt>
                  <c:pt idx="2067">
                    <c:v>Rolling Mean (30 Minute)</c:v>
                  </c:pt>
                  <c:pt idx="2068">
                    <c:v>Rolling Mean (30 Minute)</c:v>
                  </c:pt>
                  <c:pt idx="2069">
                    <c:v>Rolling Mean (30 Minute)</c:v>
                  </c:pt>
                  <c:pt idx="2070">
                    <c:v>Rolling Mean (30 Minute)</c:v>
                  </c:pt>
                  <c:pt idx="2071">
                    <c:v>Rolling Mean (30 Minute)</c:v>
                  </c:pt>
                  <c:pt idx="2072">
                    <c:v>Rolling Mean (30 Minute)</c:v>
                  </c:pt>
                  <c:pt idx="2073">
                    <c:v>Rolling Mean (30 Minute)</c:v>
                  </c:pt>
                  <c:pt idx="2074">
                    <c:v>Rolling Mean (30 Minute)</c:v>
                  </c:pt>
                  <c:pt idx="2075">
                    <c:v>Rolling Mean (30 Minute)</c:v>
                  </c:pt>
                  <c:pt idx="2076">
                    <c:v>Rolling Mean (30 Minute)</c:v>
                  </c:pt>
                  <c:pt idx="2077">
                    <c:v>Rolling Mean (30 Minute)</c:v>
                  </c:pt>
                  <c:pt idx="2078">
                    <c:v>Rolling Mean (30 Minute)</c:v>
                  </c:pt>
                  <c:pt idx="2079">
                    <c:v>Rolling Mean (30 Minute)</c:v>
                  </c:pt>
                  <c:pt idx="2080">
                    <c:v>Rolling Mean (30 Minute)</c:v>
                  </c:pt>
                  <c:pt idx="2081">
                    <c:v>Rolling Mean (30 Minute)</c:v>
                  </c:pt>
                  <c:pt idx="2082">
                    <c:v>Rolling Mean (30 Minute)</c:v>
                  </c:pt>
                  <c:pt idx="2083">
                    <c:v>Rolling Mean (30 Minute)</c:v>
                  </c:pt>
                  <c:pt idx="2084">
                    <c:v>Rolling Mean (30 Minute)</c:v>
                  </c:pt>
                  <c:pt idx="2085">
                    <c:v>Rolling Mean (30 Minute)</c:v>
                  </c:pt>
                  <c:pt idx="2086">
                    <c:v>Rolling Mean (30 Minute)</c:v>
                  </c:pt>
                  <c:pt idx="2087">
                    <c:v>Rolling Mean (30 Minute)</c:v>
                  </c:pt>
                  <c:pt idx="2088">
                    <c:v>Rolling Mean (30 Minute)</c:v>
                  </c:pt>
                  <c:pt idx="2089">
                    <c:v>Rolling Mean (30 Minute)</c:v>
                  </c:pt>
                  <c:pt idx="2090">
                    <c:v>Rolling Mean (30 Minute)</c:v>
                  </c:pt>
                  <c:pt idx="2091">
                    <c:v>Rolling Mean (30 Minute)</c:v>
                  </c:pt>
                  <c:pt idx="2092">
                    <c:v>Rolling Mean (30 Minute)</c:v>
                  </c:pt>
                  <c:pt idx="2093">
                    <c:v>Rolling Mean (30 Minute)</c:v>
                  </c:pt>
                  <c:pt idx="2094">
                    <c:v>Rolling Mean (30 Minute)</c:v>
                  </c:pt>
                  <c:pt idx="2095">
                    <c:v>Rolling Mean (30 Minute)</c:v>
                  </c:pt>
                  <c:pt idx="2096">
                    <c:v>Rolling Mean (30 Minute)</c:v>
                  </c:pt>
                  <c:pt idx="2097">
                    <c:v>Rolling Mean (30 Minute)</c:v>
                  </c:pt>
                  <c:pt idx="2098">
                    <c:v>Rolling Mean (30 Minute)</c:v>
                  </c:pt>
                  <c:pt idx="2099">
                    <c:v>Rolling Mean (30 Minute)</c:v>
                  </c:pt>
                  <c:pt idx="2100">
                    <c:v>Rolling Mean (30 Minute)</c:v>
                  </c:pt>
                  <c:pt idx="2101">
                    <c:v>Rolling Mean (30 Minute)</c:v>
                  </c:pt>
                  <c:pt idx="2102">
                    <c:v>Rolling Mean (30 Minute)</c:v>
                  </c:pt>
                  <c:pt idx="2103">
                    <c:v>Rolling Mean (30 Minute)</c:v>
                  </c:pt>
                  <c:pt idx="2104">
                    <c:v>Rolling Mean (30 Minute)</c:v>
                  </c:pt>
                  <c:pt idx="2105">
                    <c:v>Rolling Mean (30 Minute)</c:v>
                  </c:pt>
                  <c:pt idx="2106">
                    <c:v>Rolling Mean (30 Minute)</c:v>
                  </c:pt>
                  <c:pt idx="2107">
                    <c:v>Rolling Mean (30 Minute)</c:v>
                  </c:pt>
                  <c:pt idx="2108">
                    <c:v>Rolling Mean (30 Minute)</c:v>
                  </c:pt>
                  <c:pt idx="2109">
                    <c:v>Rolling Mean (30 Minute)</c:v>
                  </c:pt>
                  <c:pt idx="2110">
                    <c:v>Rolling Mean (30 Minute)</c:v>
                  </c:pt>
                  <c:pt idx="2111">
                    <c:v>Rolling Mean (30 Minute)</c:v>
                  </c:pt>
                  <c:pt idx="2112">
                    <c:v>Rolling Mean (30 Minute)</c:v>
                  </c:pt>
                  <c:pt idx="2113">
                    <c:v>Rolling Mean (30 Minute)</c:v>
                  </c:pt>
                  <c:pt idx="2114">
                    <c:v>Rolling Mean (30 Minute)</c:v>
                  </c:pt>
                  <c:pt idx="2115">
                    <c:v>Rolling Mean (30 Minute)</c:v>
                  </c:pt>
                  <c:pt idx="2116">
                    <c:v>Rolling Mean (30 Minute)</c:v>
                  </c:pt>
                  <c:pt idx="2117">
                    <c:v>Rolling Mean (30 Minute)</c:v>
                  </c:pt>
                  <c:pt idx="2118">
                    <c:v>Rolling Mean (30 Minute)</c:v>
                  </c:pt>
                  <c:pt idx="2119">
                    <c:v>Rolling Mean (30 Minute)</c:v>
                  </c:pt>
                  <c:pt idx="2120">
                    <c:v>Rolling Mean (30 Minute)</c:v>
                  </c:pt>
                  <c:pt idx="2121">
                    <c:v>Rolling Mean (30 Minute)</c:v>
                  </c:pt>
                  <c:pt idx="2122">
                    <c:v>Rolling Mean (30 Minute)</c:v>
                  </c:pt>
                  <c:pt idx="2123">
                    <c:v>Rolling Mean (30 Minute)</c:v>
                  </c:pt>
                  <c:pt idx="2124">
                    <c:v>Rolling Mean (30 Minute)</c:v>
                  </c:pt>
                  <c:pt idx="2125">
                    <c:v>Rolling Mean (30 Minute)</c:v>
                  </c:pt>
                  <c:pt idx="2126">
                    <c:v>Rolling Mean (30 Minute)</c:v>
                  </c:pt>
                  <c:pt idx="2127">
                    <c:v>Rolling Mean (30 Minute)</c:v>
                  </c:pt>
                  <c:pt idx="2128">
                    <c:v>Rolling Mean (30 Minute)</c:v>
                  </c:pt>
                  <c:pt idx="2129">
                    <c:v>Rolling Mean (30 Minute)</c:v>
                  </c:pt>
                  <c:pt idx="2130">
                    <c:v>Rolling Mean (30 Minute)</c:v>
                  </c:pt>
                  <c:pt idx="2131">
                    <c:v>Rolling Mean (30 Minute)</c:v>
                  </c:pt>
                  <c:pt idx="2132">
                    <c:v>Rolling Mean (30 Minute)</c:v>
                  </c:pt>
                  <c:pt idx="2133">
                    <c:v>Rolling Mean (30 Minute)</c:v>
                  </c:pt>
                  <c:pt idx="2134">
                    <c:v>Rolling Mean (30 Minute)</c:v>
                  </c:pt>
                  <c:pt idx="2135">
                    <c:v>Rolling Mean (30 Minute)</c:v>
                  </c:pt>
                  <c:pt idx="2136">
                    <c:v>Rolling Mean (30 Minute)</c:v>
                  </c:pt>
                  <c:pt idx="2137">
                    <c:v>Rolling Mean (30 Minute)</c:v>
                  </c:pt>
                  <c:pt idx="2138">
                    <c:v>Rolling Mean (30 Minute)</c:v>
                  </c:pt>
                  <c:pt idx="2139">
                    <c:v>Rolling Mean (30 Minute)</c:v>
                  </c:pt>
                  <c:pt idx="2140">
                    <c:v>Rolling Mean (30 Minute)</c:v>
                  </c:pt>
                  <c:pt idx="2141">
                    <c:v>Rolling Mean (30 Minute)</c:v>
                  </c:pt>
                  <c:pt idx="2142">
                    <c:v>Rolling Mean (30 Minute)</c:v>
                  </c:pt>
                  <c:pt idx="2143">
                    <c:v>Rolling Mean (30 Minute)</c:v>
                  </c:pt>
                  <c:pt idx="2144">
                    <c:v>Rolling Mean (30 Minute)</c:v>
                  </c:pt>
                  <c:pt idx="2145">
                    <c:v>Rolling Mean (30 Minute)</c:v>
                  </c:pt>
                  <c:pt idx="2146">
                    <c:v>Rolling Mean (30 Minute)</c:v>
                  </c:pt>
                  <c:pt idx="2147">
                    <c:v>Rolling Mean (30 Minute)</c:v>
                  </c:pt>
                  <c:pt idx="2148">
                    <c:v>Rolling Mean (30 Minute)</c:v>
                  </c:pt>
                  <c:pt idx="2149">
                    <c:v>Rolling Mean (30 Minute)</c:v>
                  </c:pt>
                  <c:pt idx="2150">
                    <c:v>Rolling Mean (30 Minute)</c:v>
                  </c:pt>
                  <c:pt idx="2151">
                    <c:v>Rolling Mean (30 Minute)</c:v>
                  </c:pt>
                  <c:pt idx="2152">
                    <c:v>Rolling Mean (30 Minute)</c:v>
                  </c:pt>
                  <c:pt idx="2153">
                    <c:v>Rolling Mean (30 Minute)</c:v>
                  </c:pt>
                  <c:pt idx="2154">
                    <c:v>Rolling Mean (30 Minute)</c:v>
                  </c:pt>
                  <c:pt idx="2155">
                    <c:v>Rolling Mean (30 Minute)</c:v>
                  </c:pt>
                  <c:pt idx="2156">
                    <c:v>Rolling Mean (30 Minute)</c:v>
                  </c:pt>
                  <c:pt idx="2157">
                    <c:v>Rolling Mean (30 Minute)</c:v>
                  </c:pt>
                  <c:pt idx="2158">
                    <c:v>Rolling Mean (30 Minute)</c:v>
                  </c:pt>
                  <c:pt idx="2159">
                    <c:v>Rolling Mean (30 Minute)</c:v>
                  </c:pt>
                  <c:pt idx="2160">
                    <c:v>Rolling Mean (30 Minute)</c:v>
                  </c:pt>
                  <c:pt idx="2161">
                    <c:v>Rolling Mean (30 Minute)</c:v>
                  </c:pt>
                  <c:pt idx="2162">
                    <c:v>Rolling Mean (30 Minute)</c:v>
                  </c:pt>
                  <c:pt idx="2163">
                    <c:v>Rolling Mean (30 Minute)</c:v>
                  </c:pt>
                  <c:pt idx="2164">
                    <c:v>Rolling Mean (30 Minute)</c:v>
                  </c:pt>
                  <c:pt idx="2165">
                    <c:v>Rolling Mean (30 Minute)</c:v>
                  </c:pt>
                  <c:pt idx="2166">
                    <c:v>Rolling Mean (30 Minute)</c:v>
                  </c:pt>
                  <c:pt idx="2167">
                    <c:v>Rolling Mean (30 Minute)</c:v>
                  </c:pt>
                  <c:pt idx="2168">
                    <c:v>Rolling Mean (30 Minute)</c:v>
                  </c:pt>
                  <c:pt idx="2169">
                    <c:v>Rolling Mean (30 Minute)</c:v>
                  </c:pt>
                  <c:pt idx="2170">
                    <c:v>Rolling Mean (30 Minute)</c:v>
                  </c:pt>
                  <c:pt idx="2171">
                    <c:v>Rolling Mean (30 Minute)</c:v>
                  </c:pt>
                  <c:pt idx="2172">
                    <c:v>Rolling Mean (30 Minute)</c:v>
                  </c:pt>
                  <c:pt idx="2173">
                    <c:v>Rolling Mean (30 Minute)</c:v>
                  </c:pt>
                  <c:pt idx="2174">
                    <c:v>Rolling Mean (30 Minute)</c:v>
                  </c:pt>
                  <c:pt idx="2175">
                    <c:v>Rolling Mean (30 Minute)</c:v>
                  </c:pt>
                  <c:pt idx="2176">
                    <c:v>Rolling Mean (30 Minute)</c:v>
                  </c:pt>
                  <c:pt idx="2177">
                    <c:v>Rolling Mean (30 Minute)</c:v>
                  </c:pt>
                  <c:pt idx="2178">
                    <c:v>Rolling Mean (30 Minute)</c:v>
                  </c:pt>
                  <c:pt idx="2179">
                    <c:v>Rolling Mean (30 Minute)</c:v>
                  </c:pt>
                  <c:pt idx="2180">
                    <c:v>Rolling Mean (30 Minute)</c:v>
                  </c:pt>
                  <c:pt idx="2181">
                    <c:v>Rolling Mean (30 Minute)</c:v>
                  </c:pt>
                  <c:pt idx="2182">
                    <c:v>Rolling Mean (30 Minute)</c:v>
                  </c:pt>
                  <c:pt idx="2183">
                    <c:v>Rolling Mean (30 Minute)</c:v>
                  </c:pt>
                  <c:pt idx="2184">
                    <c:v>Rolling Mean (30 Minute)</c:v>
                  </c:pt>
                  <c:pt idx="2185">
                    <c:v>Rolling Mean (30 Minute)</c:v>
                  </c:pt>
                  <c:pt idx="2186">
                    <c:v>Rolling Mean (30 Minute)</c:v>
                  </c:pt>
                  <c:pt idx="2187">
                    <c:v>Rolling Mean (30 Minute)</c:v>
                  </c:pt>
                  <c:pt idx="2188">
                    <c:v>Rolling Mean (30 Minute)</c:v>
                  </c:pt>
                  <c:pt idx="2189">
                    <c:v>Rolling Mean (30 Minute)</c:v>
                  </c:pt>
                  <c:pt idx="2190">
                    <c:v>Rolling Mean (30 Minute)</c:v>
                  </c:pt>
                  <c:pt idx="2191">
                    <c:v>Rolling Mean (30 Minute)</c:v>
                  </c:pt>
                  <c:pt idx="2192">
                    <c:v>Rolling Mean (30 Minute)</c:v>
                  </c:pt>
                  <c:pt idx="2193">
                    <c:v>Rolling Mean (30 Minute)</c:v>
                  </c:pt>
                  <c:pt idx="2194">
                    <c:v>Rolling Mean (30 Minute)</c:v>
                  </c:pt>
                  <c:pt idx="2195">
                    <c:v>Rolling Mean (30 Minute)</c:v>
                  </c:pt>
                  <c:pt idx="2196">
                    <c:v>Rolling Mean (30 Minute)</c:v>
                  </c:pt>
                  <c:pt idx="2197">
                    <c:v>Rolling Mean (30 Minute)</c:v>
                  </c:pt>
                  <c:pt idx="2198">
                    <c:v>Rolling Mean (30 Minute)</c:v>
                  </c:pt>
                  <c:pt idx="2199">
                    <c:v>Rolling Mean (30 Minute)</c:v>
                  </c:pt>
                  <c:pt idx="2200">
                    <c:v>Rolling Mean (30 Minute)</c:v>
                  </c:pt>
                  <c:pt idx="2201">
                    <c:v>Rolling Mean (30 Minute)</c:v>
                  </c:pt>
                  <c:pt idx="2202">
                    <c:v>Rolling Mean (30 Minute)</c:v>
                  </c:pt>
                  <c:pt idx="2203">
                    <c:v>Rolling Mean (30 Minute)</c:v>
                  </c:pt>
                  <c:pt idx="2204">
                    <c:v>Rolling Mean (30 Minute)</c:v>
                  </c:pt>
                  <c:pt idx="2205">
                    <c:v>Rolling Mean (30 Minute)</c:v>
                  </c:pt>
                  <c:pt idx="2206">
                    <c:v>Rolling Mean (30 Minute)</c:v>
                  </c:pt>
                  <c:pt idx="2207">
                    <c:v>Rolling Mean (30 Minute)</c:v>
                  </c:pt>
                  <c:pt idx="2208">
                    <c:v>Rolling Mean (30 Minute)</c:v>
                  </c:pt>
                  <c:pt idx="2209">
                    <c:v>Rolling Mean (30 Minute)</c:v>
                  </c:pt>
                  <c:pt idx="2210">
                    <c:v>Rolling Mean (30 Minute)</c:v>
                  </c:pt>
                  <c:pt idx="2211">
                    <c:v>Rolling Mean (30 Minute)</c:v>
                  </c:pt>
                  <c:pt idx="2212">
                    <c:v>Rolling Mean (30 Minute)</c:v>
                  </c:pt>
                  <c:pt idx="2213">
                    <c:v>Rolling Mean (30 Minute)</c:v>
                  </c:pt>
                  <c:pt idx="2214">
                    <c:v>Rolling Mean (30 Minute)</c:v>
                  </c:pt>
                  <c:pt idx="2215">
                    <c:v>Rolling Mean (30 Minute)</c:v>
                  </c:pt>
                  <c:pt idx="2216">
                    <c:v>Rolling Mean (30 Minute)</c:v>
                  </c:pt>
                  <c:pt idx="2217">
                    <c:v>Rolling Mean (30 Minute)</c:v>
                  </c:pt>
                  <c:pt idx="2218">
                    <c:v>Rolling Mean (30 Minute)</c:v>
                  </c:pt>
                  <c:pt idx="2219">
                    <c:v>Rolling Mean (30 Minute)</c:v>
                  </c:pt>
                  <c:pt idx="2220">
                    <c:v>Rolling Mean (30 Minute)</c:v>
                  </c:pt>
                  <c:pt idx="2221">
                    <c:v>Rolling Mean (30 Minute)</c:v>
                  </c:pt>
                  <c:pt idx="2222">
                    <c:v>Rolling Mean (30 Minute)</c:v>
                  </c:pt>
                  <c:pt idx="2223">
                    <c:v>Rolling Mean (30 Minute)</c:v>
                  </c:pt>
                  <c:pt idx="2224">
                    <c:v>Rolling Mean (30 Minute)</c:v>
                  </c:pt>
                  <c:pt idx="2225">
                    <c:v>Rolling Mean (30 Minute)</c:v>
                  </c:pt>
                  <c:pt idx="2226">
                    <c:v>Rolling Mean (30 Minute)</c:v>
                  </c:pt>
                  <c:pt idx="2227">
                    <c:v>Rolling Mean (30 Minute)</c:v>
                  </c:pt>
                  <c:pt idx="2228">
                    <c:v>Rolling Mean (30 Minute)</c:v>
                  </c:pt>
                  <c:pt idx="2229">
                    <c:v>Rolling Mean (30 Minute)</c:v>
                  </c:pt>
                  <c:pt idx="2230">
                    <c:v>Rolling Mean (30 Minute)</c:v>
                  </c:pt>
                  <c:pt idx="2231">
                    <c:v>Rolling Mean (30 Minute)</c:v>
                  </c:pt>
                  <c:pt idx="2232">
                    <c:v>Rolling Mean (30 Minute)</c:v>
                  </c:pt>
                  <c:pt idx="2233">
                    <c:v>Rolling Mean (30 Minute)</c:v>
                  </c:pt>
                  <c:pt idx="2234">
                    <c:v>Rolling Mean (30 Minute)</c:v>
                  </c:pt>
                  <c:pt idx="2235">
                    <c:v>Rolling Mean (30 Minute)</c:v>
                  </c:pt>
                  <c:pt idx="2236">
                    <c:v>Rolling Mean (30 Minute)</c:v>
                  </c:pt>
                  <c:pt idx="2237">
                    <c:v>Rolling Mean (30 Minute)</c:v>
                  </c:pt>
                  <c:pt idx="2238">
                    <c:v>Rolling Mean (30 Minute)</c:v>
                  </c:pt>
                  <c:pt idx="2239">
                    <c:v>Rolling Mean (30 Minute)</c:v>
                  </c:pt>
                  <c:pt idx="2240">
                    <c:v>Rolling Mean (30 Minute)</c:v>
                  </c:pt>
                  <c:pt idx="2241">
                    <c:v>Rolling Mean (30 Minute)</c:v>
                  </c:pt>
                  <c:pt idx="2242">
                    <c:v>Rolling Mean (30 Minute)</c:v>
                  </c:pt>
                  <c:pt idx="2243">
                    <c:v>Rolling Mean (30 Minute)</c:v>
                  </c:pt>
                  <c:pt idx="2244">
                    <c:v>Rolling Mean (30 Minute)</c:v>
                  </c:pt>
                  <c:pt idx="2245">
                    <c:v>Rolling Mean (30 Minute)</c:v>
                  </c:pt>
                  <c:pt idx="2246">
                    <c:v>Rolling Mean (30 Minute)</c:v>
                  </c:pt>
                  <c:pt idx="2247">
                    <c:v>Rolling Mean (30 Minute)</c:v>
                  </c:pt>
                  <c:pt idx="2248">
                    <c:v>Rolling Mean (30 Minute)</c:v>
                  </c:pt>
                  <c:pt idx="2249">
                    <c:v>Rolling Mean (30 Minute)</c:v>
                  </c:pt>
                  <c:pt idx="2250">
                    <c:v>Rolling Mean (30 Minute)</c:v>
                  </c:pt>
                  <c:pt idx="2251">
                    <c:v>Rolling Mean (30 Minute)</c:v>
                  </c:pt>
                  <c:pt idx="2252">
                    <c:v>Rolling Mean (30 Minute)</c:v>
                  </c:pt>
                  <c:pt idx="2253">
                    <c:v>Rolling Mean (30 Minute)</c:v>
                  </c:pt>
                  <c:pt idx="2254">
                    <c:v>Rolling Mean (30 Minute)</c:v>
                  </c:pt>
                  <c:pt idx="2255">
                    <c:v>Rolling Mean (30 Minute)</c:v>
                  </c:pt>
                  <c:pt idx="2256">
                    <c:v>Rolling Mean (30 Minute)</c:v>
                  </c:pt>
                  <c:pt idx="2257">
                    <c:v>Rolling Mean (30 Minute)</c:v>
                  </c:pt>
                  <c:pt idx="2258">
                    <c:v>Rolling Mean (30 Minute)</c:v>
                  </c:pt>
                  <c:pt idx="2259">
                    <c:v>Rolling Mean (30 Minute)</c:v>
                  </c:pt>
                  <c:pt idx="2260">
                    <c:v>Rolling Mean (30 Minute)</c:v>
                  </c:pt>
                  <c:pt idx="2261">
                    <c:v>Rolling Mean (30 Minute)</c:v>
                  </c:pt>
                  <c:pt idx="2262">
                    <c:v>Rolling Mean (30 Minute)</c:v>
                  </c:pt>
                  <c:pt idx="2263">
                    <c:v>Rolling Mean (30 Minute)</c:v>
                  </c:pt>
                  <c:pt idx="2264">
                    <c:v>Rolling Mean (30 Minute)</c:v>
                  </c:pt>
                  <c:pt idx="2265">
                    <c:v>Rolling Mean (30 Minute)</c:v>
                  </c:pt>
                  <c:pt idx="2266">
                    <c:v>Rolling Mean (30 Minute)</c:v>
                  </c:pt>
                  <c:pt idx="2267">
                    <c:v>Rolling Mean (30 Minute)</c:v>
                  </c:pt>
                  <c:pt idx="2268">
                    <c:v>Rolling Mean (30 Minute)</c:v>
                  </c:pt>
                  <c:pt idx="2269">
                    <c:v>Rolling Mean (30 Minute)</c:v>
                  </c:pt>
                  <c:pt idx="2270">
                    <c:v>Rolling Mean (30 Minute)</c:v>
                  </c:pt>
                  <c:pt idx="2271">
                    <c:v>Rolling Mean (30 Minute)</c:v>
                  </c:pt>
                  <c:pt idx="2272">
                    <c:v>Rolling Mean (30 Minute)</c:v>
                  </c:pt>
                  <c:pt idx="2273">
                    <c:v>Rolling Mean (30 Minute)</c:v>
                  </c:pt>
                  <c:pt idx="2274">
                    <c:v>Rolling Mean (30 Minute)</c:v>
                  </c:pt>
                  <c:pt idx="2275">
                    <c:v>Rolling Mean (30 Minute)</c:v>
                  </c:pt>
                  <c:pt idx="2276">
                    <c:v>Rolling Mean (30 Minute)</c:v>
                  </c:pt>
                  <c:pt idx="2277">
                    <c:v>Rolling Mean (30 Minute)</c:v>
                  </c:pt>
                  <c:pt idx="2278">
                    <c:v>Rolling Mean (30 Minute)</c:v>
                  </c:pt>
                  <c:pt idx="2279">
                    <c:v>Rolling Mean (30 Minute)</c:v>
                  </c:pt>
                  <c:pt idx="2280">
                    <c:v>Rolling Mean (30 Minute)</c:v>
                  </c:pt>
                  <c:pt idx="2281">
                    <c:v>Rolling Mean (30 Minute)</c:v>
                  </c:pt>
                  <c:pt idx="2282">
                    <c:v>Rolling Mean (30 Minute)</c:v>
                  </c:pt>
                  <c:pt idx="2283">
                    <c:v>Rolling Mean (30 Minute)</c:v>
                  </c:pt>
                  <c:pt idx="2284">
                    <c:v>Rolling Mean (30 Minute)</c:v>
                  </c:pt>
                  <c:pt idx="2285">
                    <c:v>Rolling Mean (30 Minute)</c:v>
                  </c:pt>
                  <c:pt idx="2286">
                    <c:v>Rolling Mean (30 Minute)</c:v>
                  </c:pt>
                  <c:pt idx="2287">
                    <c:v>Rolling Mean (30 Minute)</c:v>
                  </c:pt>
                  <c:pt idx="2288">
                    <c:v>Rolling Mean (30 Minute)</c:v>
                  </c:pt>
                  <c:pt idx="2289">
                    <c:v>Rolling Mean (30 Minute)</c:v>
                  </c:pt>
                  <c:pt idx="2290">
                    <c:v>Rolling Mean (30 Minute)</c:v>
                  </c:pt>
                  <c:pt idx="2291">
                    <c:v>Rolling Mean (30 Minute)</c:v>
                  </c:pt>
                  <c:pt idx="2292">
                    <c:v>Rolling Mean (30 Minute)</c:v>
                  </c:pt>
                  <c:pt idx="2293">
                    <c:v>Rolling Mean (30 Minute)</c:v>
                  </c:pt>
                  <c:pt idx="2294">
                    <c:v>Rolling Mean (30 Minute)</c:v>
                  </c:pt>
                  <c:pt idx="2295">
                    <c:v>Rolling Mean (30 Minute)</c:v>
                  </c:pt>
                  <c:pt idx="2296">
                    <c:v>Rolling Mean (30 Minute)</c:v>
                  </c:pt>
                  <c:pt idx="2297">
                    <c:v>Rolling Mean (30 Minute)</c:v>
                  </c:pt>
                  <c:pt idx="2298">
                    <c:v>Rolling Mean (30 Minute)</c:v>
                  </c:pt>
                  <c:pt idx="2299">
                    <c:v>Rolling Mean (30 Minute)</c:v>
                  </c:pt>
                  <c:pt idx="2300">
                    <c:v>Rolling Mean (30 Minute)</c:v>
                  </c:pt>
                  <c:pt idx="2301">
                    <c:v>Rolling Mean (30 Minute)</c:v>
                  </c:pt>
                  <c:pt idx="2302">
                    <c:v>Rolling Mean (30 Minute)</c:v>
                  </c:pt>
                  <c:pt idx="2303">
                    <c:v>Rolling Mean (30 Minute)</c:v>
                  </c:pt>
                  <c:pt idx="2304">
                    <c:v>Rolling Mean (30 Minute)</c:v>
                  </c:pt>
                  <c:pt idx="2305">
                    <c:v>Rolling Mean (30 Minute)</c:v>
                  </c:pt>
                  <c:pt idx="2306">
                    <c:v>Rolling Mean (30 Minute)</c:v>
                  </c:pt>
                  <c:pt idx="2307">
                    <c:v>Rolling Mean (30 Minute)</c:v>
                  </c:pt>
                  <c:pt idx="2308">
                    <c:v>Rolling Mean (30 Minute)</c:v>
                  </c:pt>
                  <c:pt idx="2309">
                    <c:v>Rolling Mean (30 Minute)</c:v>
                  </c:pt>
                  <c:pt idx="2310">
                    <c:v>Rolling Mean (30 Minute)</c:v>
                  </c:pt>
                  <c:pt idx="2311">
                    <c:v>Rolling Mean (30 Minute)</c:v>
                  </c:pt>
                  <c:pt idx="2312">
                    <c:v>Rolling Mean (30 Minute)</c:v>
                  </c:pt>
                  <c:pt idx="2313">
                    <c:v>Rolling Mean (30 Minute)</c:v>
                  </c:pt>
                  <c:pt idx="2314">
                    <c:v>Rolling Mean (30 Minute)</c:v>
                  </c:pt>
                  <c:pt idx="2315">
                    <c:v>Rolling Mean (30 Minute)</c:v>
                  </c:pt>
                  <c:pt idx="2316">
                    <c:v>Rolling Mean (30 Minute)</c:v>
                  </c:pt>
                  <c:pt idx="2317">
                    <c:v>Rolling Mean (30 Minute)</c:v>
                  </c:pt>
                  <c:pt idx="2318">
                    <c:v>Rolling Mean (30 Minute)</c:v>
                  </c:pt>
                  <c:pt idx="2319">
                    <c:v>Rolling Mean (30 Minute)</c:v>
                  </c:pt>
                  <c:pt idx="2320">
                    <c:v>Rolling Mean (30 Minute)</c:v>
                  </c:pt>
                  <c:pt idx="2321">
                    <c:v>Rolling Mean (30 Minute)</c:v>
                  </c:pt>
                  <c:pt idx="2322">
                    <c:v>Rolling Mean (30 Minute)</c:v>
                  </c:pt>
                  <c:pt idx="2323">
                    <c:v>Rolling Mean (30 Minute)</c:v>
                  </c:pt>
                  <c:pt idx="2324">
                    <c:v>Rolling Mean (30 Minute)</c:v>
                  </c:pt>
                  <c:pt idx="2325">
                    <c:v>Rolling Mean (30 Minute)</c:v>
                  </c:pt>
                  <c:pt idx="2326">
                    <c:v>Rolling Mean (30 Minute)</c:v>
                  </c:pt>
                  <c:pt idx="2327">
                    <c:v>Rolling Mean (30 Minute)</c:v>
                  </c:pt>
                  <c:pt idx="2328">
                    <c:v>Rolling Mean (30 Minute)</c:v>
                  </c:pt>
                  <c:pt idx="2329">
                    <c:v>Rolling Mean (30 Minute)</c:v>
                  </c:pt>
                  <c:pt idx="2330">
                    <c:v>Rolling Mean (30 Minute)</c:v>
                  </c:pt>
                  <c:pt idx="2331">
                    <c:v>Rolling Mean (30 Minute)</c:v>
                  </c:pt>
                  <c:pt idx="2332">
                    <c:v>Rolling Mean (30 Minute)</c:v>
                  </c:pt>
                  <c:pt idx="2333">
                    <c:v>Rolling Mean (30 Minute)</c:v>
                  </c:pt>
                  <c:pt idx="2334">
                    <c:v>Rolling Mean (30 Minute)</c:v>
                  </c:pt>
                  <c:pt idx="2335">
                    <c:v>Rolling Mean (30 Minute)</c:v>
                  </c:pt>
                  <c:pt idx="2336">
                    <c:v>Rolling Mean (30 Minute)</c:v>
                  </c:pt>
                  <c:pt idx="2337">
                    <c:v>Rolling Mean (30 Minute)</c:v>
                  </c:pt>
                  <c:pt idx="2338">
                    <c:v>Rolling Mean (30 Minute)</c:v>
                  </c:pt>
                  <c:pt idx="2339">
                    <c:v>Rolling Mean (30 Minute)</c:v>
                  </c:pt>
                  <c:pt idx="2340">
                    <c:v>Rolling Mean (30 Minute)</c:v>
                  </c:pt>
                  <c:pt idx="2341">
                    <c:v>Rolling Mean (30 Minute)</c:v>
                  </c:pt>
                  <c:pt idx="2342">
                    <c:v>Rolling Mean (30 Minute)</c:v>
                  </c:pt>
                  <c:pt idx="2343">
                    <c:v>Rolling Mean (30 Minute)</c:v>
                  </c:pt>
                  <c:pt idx="2344">
                    <c:v>Rolling Mean (30 Minute)</c:v>
                  </c:pt>
                  <c:pt idx="2345">
                    <c:v>Rolling Mean (30 Minute)</c:v>
                  </c:pt>
                  <c:pt idx="2346">
                    <c:v>Rolling Mean (30 Minute)</c:v>
                  </c:pt>
                  <c:pt idx="2347">
                    <c:v>Rolling Mean (30 Minute)</c:v>
                  </c:pt>
                  <c:pt idx="2348">
                    <c:v>Rolling Mean (30 Minute)</c:v>
                  </c:pt>
                  <c:pt idx="2349">
                    <c:v>Rolling Mean (30 Minute)</c:v>
                  </c:pt>
                  <c:pt idx="2350">
                    <c:v>Rolling Mean (30 Minute)</c:v>
                  </c:pt>
                  <c:pt idx="2351">
                    <c:v>Rolling Mean (30 Minute)</c:v>
                  </c:pt>
                  <c:pt idx="2352">
                    <c:v>Rolling Mean (30 Minute)</c:v>
                  </c:pt>
                  <c:pt idx="2353">
                    <c:v>Rolling Mean (30 Minute)</c:v>
                  </c:pt>
                  <c:pt idx="2354">
                    <c:v>Rolling Mean (30 Minute)</c:v>
                  </c:pt>
                  <c:pt idx="2355">
                    <c:v>Rolling Mean (30 Minute)</c:v>
                  </c:pt>
                  <c:pt idx="2356">
                    <c:v>Rolling Mean (30 Minute)</c:v>
                  </c:pt>
                  <c:pt idx="2357">
                    <c:v>Rolling Mean (30 Minute)</c:v>
                  </c:pt>
                  <c:pt idx="2358">
                    <c:v>Rolling Mean (30 Minute)</c:v>
                  </c:pt>
                  <c:pt idx="2359">
                    <c:v>Rolling Mean (30 Minute)</c:v>
                  </c:pt>
                  <c:pt idx="2360">
                    <c:v>Rolling Mean (30 Minute)</c:v>
                  </c:pt>
                  <c:pt idx="2361">
                    <c:v>Rolling Mean (30 Minute)</c:v>
                  </c:pt>
                  <c:pt idx="2362">
                    <c:v>Rolling Mean (30 Minute)</c:v>
                  </c:pt>
                  <c:pt idx="2363">
                    <c:v>Rolling Mean (30 Minute)</c:v>
                  </c:pt>
                  <c:pt idx="2364">
                    <c:v>Rolling Mean (30 Minute)</c:v>
                  </c:pt>
                  <c:pt idx="2365">
                    <c:v>Rolling Mean (30 Minute)</c:v>
                  </c:pt>
                  <c:pt idx="2366">
                    <c:v>Rolling Mean (30 Minute)</c:v>
                  </c:pt>
                  <c:pt idx="2367">
                    <c:v>Rolling Mean (30 Minute)</c:v>
                  </c:pt>
                  <c:pt idx="2368">
                    <c:v>Rolling Mean (30 Minute)</c:v>
                  </c:pt>
                  <c:pt idx="2369">
                    <c:v>Rolling Mean (30 Minute)</c:v>
                  </c:pt>
                  <c:pt idx="2370">
                    <c:v>Rolling Mean (30 Minute)</c:v>
                  </c:pt>
                  <c:pt idx="2371">
                    <c:v>Rolling Mean (30 Minute)</c:v>
                  </c:pt>
                  <c:pt idx="2372">
                    <c:v>Rolling Mean (30 Minute)</c:v>
                  </c:pt>
                  <c:pt idx="2373">
                    <c:v>Rolling Mean (30 Minute)</c:v>
                  </c:pt>
                  <c:pt idx="2374">
                    <c:v>Rolling Mean (30 Minute)</c:v>
                  </c:pt>
                  <c:pt idx="2375">
                    <c:v>Rolling Mean (30 Minute)</c:v>
                  </c:pt>
                  <c:pt idx="2376">
                    <c:v>Rolling Mean (30 Minute)</c:v>
                  </c:pt>
                  <c:pt idx="2377">
                    <c:v>Rolling Mean (30 Minute)</c:v>
                  </c:pt>
                  <c:pt idx="2378">
                    <c:v>Rolling Mean (30 Minute)</c:v>
                  </c:pt>
                  <c:pt idx="2379">
                    <c:v>Rolling Mean (30 Minute)</c:v>
                  </c:pt>
                  <c:pt idx="2380">
                    <c:v>Rolling Mean (30 Minute)</c:v>
                  </c:pt>
                  <c:pt idx="2381">
                    <c:v>Rolling Mean (30 Minute)</c:v>
                  </c:pt>
                  <c:pt idx="2382">
                    <c:v>Rolling Mean (30 Minute)</c:v>
                  </c:pt>
                  <c:pt idx="2383">
                    <c:v>Rolling Mean (30 Minute)</c:v>
                  </c:pt>
                  <c:pt idx="2384">
                    <c:v>Rolling Mean (30 Minute)</c:v>
                  </c:pt>
                  <c:pt idx="2385">
                    <c:v>Rolling Mean (30 Minute)</c:v>
                  </c:pt>
                  <c:pt idx="2386">
                    <c:v>Rolling Mean (30 Minute)</c:v>
                  </c:pt>
                  <c:pt idx="2387">
                    <c:v>Rolling Mean (30 Minute)</c:v>
                  </c:pt>
                  <c:pt idx="2388">
                    <c:v>Rolling Mean (30 Minute)</c:v>
                  </c:pt>
                  <c:pt idx="2389">
                    <c:v>Rolling Mean (30 Minute)</c:v>
                  </c:pt>
                  <c:pt idx="2390">
                    <c:v>Rolling Mean (30 Minute)</c:v>
                  </c:pt>
                  <c:pt idx="2391">
                    <c:v>Rolling Mean (30 Minute)</c:v>
                  </c:pt>
                  <c:pt idx="2392">
                    <c:v>Rolling Mean (30 Minute)</c:v>
                  </c:pt>
                  <c:pt idx="2393">
                    <c:v>Rolling Mean (30 Minute)</c:v>
                  </c:pt>
                  <c:pt idx="2394">
                    <c:v>Rolling Mean (30 Minute)</c:v>
                  </c:pt>
                  <c:pt idx="2395">
                    <c:v>Rolling Mean (30 Minute)</c:v>
                  </c:pt>
                  <c:pt idx="2396">
                    <c:v>Rolling Mean (30 Minute)</c:v>
                  </c:pt>
                  <c:pt idx="2397">
                    <c:v>Rolling Mean (30 Minute)</c:v>
                  </c:pt>
                  <c:pt idx="2398">
                    <c:v>Rolling Mean (30 Minute)</c:v>
                  </c:pt>
                  <c:pt idx="2399">
                    <c:v>Rolling Mean (30 Minute)</c:v>
                  </c:pt>
                  <c:pt idx="2400">
                    <c:v>Rolling Mean (30 Minute)</c:v>
                  </c:pt>
                  <c:pt idx="2401">
                    <c:v>Rolling Mean (30 Minute)</c:v>
                  </c:pt>
                  <c:pt idx="2402">
                    <c:v>Rolling Mean (30 Minute)</c:v>
                  </c:pt>
                  <c:pt idx="2403">
                    <c:v>Rolling Mean (30 Minute)</c:v>
                  </c:pt>
                  <c:pt idx="2404">
                    <c:v>Rolling Mean (30 Minute)</c:v>
                  </c:pt>
                  <c:pt idx="2405">
                    <c:v>Rolling Mean (30 Minute)</c:v>
                  </c:pt>
                  <c:pt idx="2406">
                    <c:v>Rolling Mean (30 Minute)</c:v>
                  </c:pt>
                  <c:pt idx="2407">
                    <c:v>Rolling Mean (30 Minute)</c:v>
                  </c:pt>
                  <c:pt idx="2408">
                    <c:v>Rolling Mean (30 Minute)</c:v>
                  </c:pt>
                  <c:pt idx="2409">
                    <c:v>Rolling Mean (30 Minute)</c:v>
                  </c:pt>
                  <c:pt idx="2410">
                    <c:v>Rolling Mean (30 Minute)</c:v>
                  </c:pt>
                  <c:pt idx="2411">
                    <c:v>Rolling Mean (30 Minute)</c:v>
                  </c:pt>
                  <c:pt idx="2412">
                    <c:v>Rolling Mean (30 Minute)</c:v>
                  </c:pt>
                  <c:pt idx="2413">
                    <c:v>Rolling Mean (30 Minute)</c:v>
                  </c:pt>
                  <c:pt idx="2414">
                    <c:v>Rolling Mean (30 Minute)</c:v>
                  </c:pt>
                  <c:pt idx="2415">
                    <c:v>Rolling Mean (30 Minute)</c:v>
                  </c:pt>
                  <c:pt idx="2416">
                    <c:v>Rolling Mean (30 Minute)</c:v>
                  </c:pt>
                  <c:pt idx="2417">
                    <c:v>Rolling Mean (30 Minute)</c:v>
                  </c:pt>
                  <c:pt idx="2418">
                    <c:v>Rolling Mean (30 Minute)</c:v>
                  </c:pt>
                  <c:pt idx="2419">
                    <c:v>Rolling Mean (30 Minute)</c:v>
                  </c:pt>
                  <c:pt idx="2420">
                    <c:v>Rolling Mean (30 Minute)</c:v>
                  </c:pt>
                  <c:pt idx="2421">
                    <c:v>Rolling Mean (30 Minute)</c:v>
                  </c:pt>
                  <c:pt idx="2422">
                    <c:v>Rolling Mean (30 Minute)</c:v>
                  </c:pt>
                  <c:pt idx="2423">
                    <c:v>Rolling Mean (30 Minute)</c:v>
                  </c:pt>
                  <c:pt idx="2424">
                    <c:v>Rolling Mean (30 Minute)</c:v>
                  </c:pt>
                  <c:pt idx="2425">
                    <c:v>Rolling Mean (30 Minute)</c:v>
                  </c:pt>
                  <c:pt idx="2426">
                    <c:v>Rolling Mean (30 Minute)</c:v>
                  </c:pt>
                  <c:pt idx="2427">
                    <c:v>Rolling Mean (30 Minute)</c:v>
                  </c:pt>
                  <c:pt idx="2428">
                    <c:v>Rolling Mean (30 Minute)</c:v>
                  </c:pt>
                  <c:pt idx="2429">
                    <c:v>Rolling Mean (30 Minute)</c:v>
                  </c:pt>
                  <c:pt idx="2430">
                    <c:v>Rolling Mean (30 Minute)</c:v>
                  </c:pt>
                  <c:pt idx="2431">
                    <c:v>Rolling Mean (30 Minute)</c:v>
                  </c:pt>
                  <c:pt idx="2432">
                    <c:v>Rolling Mean (30 Minute)</c:v>
                  </c:pt>
                  <c:pt idx="2433">
                    <c:v>Rolling Mean (30 Minute)</c:v>
                  </c:pt>
                  <c:pt idx="2434">
                    <c:v>Rolling Mean (30 Minute)</c:v>
                  </c:pt>
                  <c:pt idx="2435">
                    <c:v>Rolling Mean (30 Minute)</c:v>
                  </c:pt>
                  <c:pt idx="2436">
                    <c:v>Rolling Mean (30 Minute)</c:v>
                  </c:pt>
                  <c:pt idx="2437">
                    <c:v>Rolling Mean (30 Minute)</c:v>
                  </c:pt>
                  <c:pt idx="2438">
                    <c:v>Rolling Mean (30 Minute)</c:v>
                  </c:pt>
                  <c:pt idx="2439">
                    <c:v>Rolling Mean (30 Minute)</c:v>
                  </c:pt>
                  <c:pt idx="2440">
                    <c:v>Rolling Mean (30 Minute)</c:v>
                  </c:pt>
                  <c:pt idx="2441">
                    <c:v>Rolling Mean (30 Minute)</c:v>
                  </c:pt>
                  <c:pt idx="2442">
                    <c:v>Rolling Mean (30 Minute)</c:v>
                  </c:pt>
                  <c:pt idx="2443">
                    <c:v>Rolling Mean (30 Minute)</c:v>
                  </c:pt>
                  <c:pt idx="2444">
                    <c:v>Rolling Mean (30 Minute)</c:v>
                  </c:pt>
                  <c:pt idx="2445">
                    <c:v>Rolling Mean (30 Minute)</c:v>
                  </c:pt>
                  <c:pt idx="2446">
                    <c:v>Rolling Mean (30 Minute)</c:v>
                  </c:pt>
                  <c:pt idx="2447">
                    <c:v>Rolling Mean (30 Minute)</c:v>
                  </c:pt>
                  <c:pt idx="2448">
                    <c:v>Rolling Mean (30 Minute)</c:v>
                  </c:pt>
                  <c:pt idx="2449">
                    <c:v>Rolling Mean (30 Minute)</c:v>
                  </c:pt>
                  <c:pt idx="2450">
                    <c:v>Rolling Mean (30 Minute)</c:v>
                  </c:pt>
                  <c:pt idx="2451">
                    <c:v>Rolling Mean (30 Minute)</c:v>
                  </c:pt>
                </c:lvl>
              </c:multiLvlStrCache>
            </c:multiLvlStrRef>
          </c:cat>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EEAA-4648-9585-8881DB12715D}"/>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multiLvlStrRef>
              <c:f>'DRT Rolling Mean'!$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Mean (30 Minute)</c:v>
                  </c:pt>
                  <c:pt idx="1">
                    <c:v>Rolling Mean (30 Minute)</c:v>
                  </c:pt>
                  <c:pt idx="2">
                    <c:v>Rolling Mean (30 Minute)</c:v>
                  </c:pt>
                  <c:pt idx="3">
                    <c:v>Rolling Mean (30 Minute)</c:v>
                  </c:pt>
                  <c:pt idx="4">
                    <c:v>Rolling Mean (30 Minute)</c:v>
                  </c:pt>
                  <c:pt idx="5">
                    <c:v>Rolling Mean (30 Minute)</c:v>
                  </c:pt>
                  <c:pt idx="6">
                    <c:v>Rolling Mean (30 Minute)</c:v>
                  </c:pt>
                  <c:pt idx="7">
                    <c:v>Rolling Mean (30 Minute)</c:v>
                  </c:pt>
                  <c:pt idx="8">
                    <c:v>Rolling Mean (30 Minute)</c:v>
                  </c:pt>
                  <c:pt idx="9">
                    <c:v>Rolling Mean (30 Minute)</c:v>
                  </c:pt>
                  <c:pt idx="10">
                    <c:v>Rolling Mean (30 Minute)</c:v>
                  </c:pt>
                  <c:pt idx="11">
                    <c:v>Rolling Mean (30 Minute)</c:v>
                  </c:pt>
                  <c:pt idx="12">
                    <c:v>Rolling Mean (30 Minute)</c:v>
                  </c:pt>
                  <c:pt idx="13">
                    <c:v>Rolling Mean (30 Minute)</c:v>
                  </c:pt>
                  <c:pt idx="14">
                    <c:v>Rolling Mean (30 Minute)</c:v>
                  </c:pt>
                  <c:pt idx="15">
                    <c:v>Rolling Mean (30 Minute)</c:v>
                  </c:pt>
                  <c:pt idx="16">
                    <c:v>Rolling Mean (30 Minute)</c:v>
                  </c:pt>
                  <c:pt idx="17">
                    <c:v>Rolling Mean (30 Minute)</c:v>
                  </c:pt>
                  <c:pt idx="18">
                    <c:v>Rolling Mean (30 Minute)</c:v>
                  </c:pt>
                  <c:pt idx="19">
                    <c:v>Rolling Mean (30 Minute)</c:v>
                  </c:pt>
                  <c:pt idx="20">
                    <c:v>Rolling Mean (30 Minute)</c:v>
                  </c:pt>
                  <c:pt idx="21">
                    <c:v>Rolling Mean (30 Minute)</c:v>
                  </c:pt>
                  <c:pt idx="22">
                    <c:v>Rolling Mean (30 Minute)</c:v>
                  </c:pt>
                  <c:pt idx="23">
                    <c:v>Rolling Mean (30 Minute)</c:v>
                  </c:pt>
                  <c:pt idx="24">
                    <c:v>Rolling Mean (30 Minute)</c:v>
                  </c:pt>
                  <c:pt idx="25">
                    <c:v>Rolling Mean (30 Minute)</c:v>
                  </c:pt>
                  <c:pt idx="26">
                    <c:v>Rolling Mean (30 Minute)</c:v>
                  </c:pt>
                  <c:pt idx="27">
                    <c:v>Rolling Mean (30 Minute)</c:v>
                  </c:pt>
                  <c:pt idx="28">
                    <c:v>Rolling Mean (30 Minute)</c:v>
                  </c:pt>
                  <c:pt idx="29">
                    <c:v>Rolling Mean (30 Minute)</c:v>
                  </c:pt>
                  <c:pt idx="30">
                    <c:v>Rolling Mean (30 Minute)</c:v>
                  </c:pt>
                  <c:pt idx="31">
                    <c:v>Rolling Mean (30 Minute)</c:v>
                  </c:pt>
                  <c:pt idx="32">
                    <c:v>Rolling Mean (30 Minute)</c:v>
                  </c:pt>
                  <c:pt idx="33">
                    <c:v>Rolling Mean (30 Minute)</c:v>
                  </c:pt>
                  <c:pt idx="34">
                    <c:v>Rolling Mean (30 Minute)</c:v>
                  </c:pt>
                  <c:pt idx="35">
                    <c:v>Rolling Mean (30 Minute)</c:v>
                  </c:pt>
                  <c:pt idx="36">
                    <c:v>Rolling Mean (30 Minute)</c:v>
                  </c:pt>
                  <c:pt idx="37">
                    <c:v>Rolling Mean (30 Minute)</c:v>
                  </c:pt>
                  <c:pt idx="38">
                    <c:v>Rolling Mean (30 Minute)</c:v>
                  </c:pt>
                  <c:pt idx="39">
                    <c:v>Rolling Mean (30 Minute)</c:v>
                  </c:pt>
                  <c:pt idx="40">
                    <c:v>Rolling Mean (30 Minute)</c:v>
                  </c:pt>
                  <c:pt idx="41">
                    <c:v>Rolling Mean (30 Minute)</c:v>
                  </c:pt>
                  <c:pt idx="42">
                    <c:v>Rolling Mean (30 Minute)</c:v>
                  </c:pt>
                  <c:pt idx="43">
                    <c:v>Rolling Mean (30 Minute)</c:v>
                  </c:pt>
                  <c:pt idx="44">
                    <c:v>Rolling Mean (30 Minute)</c:v>
                  </c:pt>
                  <c:pt idx="45">
                    <c:v>Rolling Mean (30 Minute)</c:v>
                  </c:pt>
                  <c:pt idx="46">
                    <c:v>Rolling Mean (30 Minute)</c:v>
                  </c:pt>
                  <c:pt idx="47">
                    <c:v>Rolling Mean (30 Minute)</c:v>
                  </c:pt>
                  <c:pt idx="48">
                    <c:v>Rolling Mean (30 Minute)</c:v>
                  </c:pt>
                  <c:pt idx="49">
                    <c:v>Rolling Mean (30 Minute)</c:v>
                  </c:pt>
                  <c:pt idx="50">
                    <c:v>Rolling Mean (30 Minute)</c:v>
                  </c:pt>
                  <c:pt idx="51">
                    <c:v>Rolling Mean (30 Minute)</c:v>
                  </c:pt>
                  <c:pt idx="52">
                    <c:v>Rolling Mean (30 Minute)</c:v>
                  </c:pt>
                  <c:pt idx="53">
                    <c:v>Rolling Mean (30 Minute)</c:v>
                  </c:pt>
                  <c:pt idx="54">
                    <c:v>Rolling Mean (30 Minute)</c:v>
                  </c:pt>
                  <c:pt idx="55">
                    <c:v>Rolling Mean (30 Minute)</c:v>
                  </c:pt>
                  <c:pt idx="56">
                    <c:v>Rolling Mean (30 Minute)</c:v>
                  </c:pt>
                  <c:pt idx="57">
                    <c:v>Rolling Mean (30 Minute)</c:v>
                  </c:pt>
                  <c:pt idx="58">
                    <c:v>Rolling Mean (30 Minute)</c:v>
                  </c:pt>
                  <c:pt idx="59">
                    <c:v>Rolling Mean (30 Minute)</c:v>
                  </c:pt>
                  <c:pt idx="60">
                    <c:v>Rolling Mean (30 Minute)</c:v>
                  </c:pt>
                  <c:pt idx="61">
                    <c:v>Rolling Mean (30 Minute)</c:v>
                  </c:pt>
                  <c:pt idx="62">
                    <c:v>Rolling Mean (30 Minute)</c:v>
                  </c:pt>
                  <c:pt idx="63">
                    <c:v>Rolling Mean (30 Minute)</c:v>
                  </c:pt>
                  <c:pt idx="64">
                    <c:v>Rolling Mean (30 Minute)</c:v>
                  </c:pt>
                  <c:pt idx="65">
                    <c:v>Rolling Mean (30 Minute)</c:v>
                  </c:pt>
                  <c:pt idx="66">
                    <c:v>Rolling Mean (30 Minute)</c:v>
                  </c:pt>
                  <c:pt idx="67">
                    <c:v>Rolling Mean (30 Minute)</c:v>
                  </c:pt>
                  <c:pt idx="68">
                    <c:v>Rolling Mean (30 Minute)</c:v>
                  </c:pt>
                  <c:pt idx="69">
                    <c:v>Rolling Mean (30 Minute)</c:v>
                  </c:pt>
                  <c:pt idx="70">
                    <c:v>Rolling Mean (30 Minute)</c:v>
                  </c:pt>
                  <c:pt idx="71">
                    <c:v>Rolling Mean (30 Minute)</c:v>
                  </c:pt>
                  <c:pt idx="72">
                    <c:v>Rolling Mean (30 Minute)</c:v>
                  </c:pt>
                  <c:pt idx="73">
                    <c:v>Rolling Mean (30 Minute)</c:v>
                  </c:pt>
                  <c:pt idx="74">
                    <c:v>Rolling Mean (30 Minute)</c:v>
                  </c:pt>
                  <c:pt idx="75">
                    <c:v>Rolling Mean (30 Minute)</c:v>
                  </c:pt>
                  <c:pt idx="76">
                    <c:v>Rolling Mean (30 Minute)</c:v>
                  </c:pt>
                  <c:pt idx="77">
                    <c:v>Rolling Mean (30 Minute)</c:v>
                  </c:pt>
                  <c:pt idx="78">
                    <c:v>Rolling Mean (30 Minute)</c:v>
                  </c:pt>
                  <c:pt idx="79">
                    <c:v>Rolling Mean (30 Minute)</c:v>
                  </c:pt>
                  <c:pt idx="80">
                    <c:v>Rolling Mean (30 Minute)</c:v>
                  </c:pt>
                  <c:pt idx="81">
                    <c:v>Rolling Mean (30 Minute)</c:v>
                  </c:pt>
                  <c:pt idx="82">
                    <c:v>Rolling Mean (30 Minute)</c:v>
                  </c:pt>
                  <c:pt idx="83">
                    <c:v>Rolling Mean (30 Minute)</c:v>
                  </c:pt>
                  <c:pt idx="84">
                    <c:v>Rolling Mean (30 Minute)</c:v>
                  </c:pt>
                  <c:pt idx="85">
                    <c:v>Rolling Mean (30 Minute)</c:v>
                  </c:pt>
                  <c:pt idx="86">
                    <c:v>Rolling Mean (30 Minute)</c:v>
                  </c:pt>
                  <c:pt idx="87">
                    <c:v>Rolling Mean (30 Minute)</c:v>
                  </c:pt>
                  <c:pt idx="88">
                    <c:v>Rolling Mean (30 Minute)</c:v>
                  </c:pt>
                  <c:pt idx="89">
                    <c:v>Rolling Mean (30 Minute)</c:v>
                  </c:pt>
                  <c:pt idx="90">
                    <c:v>Rolling Mean (30 Minute)</c:v>
                  </c:pt>
                  <c:pt idx="91">
                    <c:v>Rolling Mean (30 Minute)</c:v>
                  </c:pt>
                  <c:pt idx="92">
                    <c:v>Rolling Mean (30 Minute)</c:v>
                  </c:pt>
                  <c:pt idx="93">
                    <c:v>Rolling Mean (30 Minute)</c:v>
                  </c:pt>
                  <c:pt idx="94">
                    <c:v>Rolling Mean (30 Minute)</c:v>
                  </c:pt>
                  <c:pt idx="95">
                    <c:v>Rolling Mean (30 Minute)</c:v>
                  </c:pt>
                  <c:pt idx="96">
                    <c:v>Rolling Mean (30 Minute)</c:v>
                  </c:pt>
                  <c:pt idx="97">
                    <c:v>Rolling Mean (30 Minute)</c:v>
                  </c:pt>
                  <c:pt idx="98">
                    <c:v>Rolling Mean (30 Minute)</c:v>
                  </c:pt>
                  <c:pt idx="99">
                    <c:v>Rolling Mean (30 Minute)</c:v>
                  </c:pt>
                  <c:pt idx="100">
                    <c:v>Rolling Mean (30 Minute)</c:v>
                  </c:pt>
                  <c:pt idx="101">
                    <c:v>Rolling Mean (30 Minute)</c:v>
                  </c:pt>
                  <c:pt idx="102">
                    <c:v>Rolling Mean (30 Minute)</c:v>
                  </c:pt>
                  <c:pt idx="103">
                    <c:v>Rolling Mean (30 Minute)</c:v>
                  </c:pt>
                  <c:pt idx="104">
                    <c:v>Rolling Mean (30 Minute)</c:v>
                  </c:pt>
                  <c:pt idx="105">
                    <c:v>Rolling Mean (30 Minute)</c:v>
                  </c:pt>
                  <c:pt idx="106">
                    <c:v>Rolling Mean (30 Minute)</c:v>
                  </c:pt>
                  <c:pt idx="107">
                    <c:v>Rolling Mean (30 Minute)</c:v>
                  </c:pt>
                  <c:pt idx="108">
                    <c:v>Rolling Mean (30 Minute)</c:v>
                  </c:pt>
                  <c:pt idx="109">
                    <c:v>Rolling Mean (30 Minute)</c:v>
                  </c:pt>
                  <c:pt idx="110">
                    <c:v>Rolling Mean (30 Minute)</c:v>
                  </c:pt>
                  <c:pt idx="111">
                    <c:v>Rolling Mean (30 Minute)</c:v>
                  </c:pt>
                  <c:pt idx="112">
                    <c:v>Rolling Mean (30 Minute)</c:v>
                  </c:pt>
                  <c:pt idx="113">
                    <c:v>Rolling Mean (30 Minute)</c:v>
                  </c:pt>
                  <c:pt idx="114">
                    <c:v>Rolling Mean (30 Minute)</c:v>
                  </c:pt>
                  <c:pt idx="115">
                    <c:v>Rolling Mean (30 Minute)</c:v>
                  </c:pt>
                  <c:pt idx="116">
                    <c:v>Rolling Mean (30 Minute)</c:v>
                  </c:pt>
                  <c:pt idx="117">
                    <c:v>Rolling Mean (30 Minute)</c:v>
                  </c:pt>
                  <c:pt idx="118">
                    <c:v>Rolling Mean (30 Minute)</c:v>
                  </c:pt>
                  <c:pt idx="119">
                    <c:v>Rolling Mean (30 Minute)</c:v>
                  </c:pt>
                  <c:pt idx="120">
                    <c:v>Rolling Mean (30 Minute)</c:v>
                  </c:pt>
                  <c:pt idx="121">
                    <c:v>Rolling Mean (30 Minute)</c:v>
                  </c:pt>
                  <c:pt idx="122">
                    <c:v>Rolling Mean (30 Minute)</c:v>
                  </c:pt>
                  <c:pt idx="123">
                    <c:v>Rolling Mean (30 Minute)</c:v>
                  </c:pt>
                  <c:pt idx="124">
                    <c:v>Rolling Mean (30 Minute)</c:v>
                  </c:pt>
                  <c:pt idx="125">
                    <c:v>Rolling Mean (30 Minute)</c:v>
                  </c:pt>
                  <c:pt idx="126">
                    <c:v>Rolling Mean (30 Minute)</c:v>
                  </c:pt>
                  <c:pt idx="127">
                    <c:v>Rolling Mean (30 Minute)</c:v>
                  </c:pt>
                  <c:pt idx="128">
                    <c:v>Rolling Mean (30 Minute)</c:v>
                  </c:pt>
                  <c:pt idx="129">
                    <c:v>Rolling Mean (30 Minute)</c:v>
                  </c:pt>
                  <c:pt idx="130">
                    <c:v>Rolling Mean (30 Minute)</c:v>
                  </c:pt>
                  <c:pt idx="131">
                    <c:v>Rolling Mean (30 Minute)</c:v>
                  </c:pt>
                  <c:pt idx="132">
                    <c:v>Rolling Mean (30 Minute)</c:v>
                  </c:pt>
                  <c:pt idx="133">
                    <c:v>Rolling Mean (30 Minute)</c:v>
                  </c:pt>
                  <c:pt idx="134">
                    <c:v>Rolling Mean (30 Minute)</c:v>
                  </c:pt>
                  <c:pt idx="135">
                    <c:v>Rolling Mean (30 Minute)</c:v>
                  </c:pt>
                  <c:pt idx="136">
                    <c:v>Rolling Mean (30 Minute)</c:v>
                  </c:pt>
                  <c:pt idx="137">
                    <c:v>Rolling Mean (30 Minute)</c:v>
                  </c:pt>
                  <c:pt idx="138">
                    <c:v>Rolling Mean (30 Minute)</c:v>
                  </c:pt>
                  <c:pt idx="139">
                    <c:v>Rolling Mean (30 Minute)</c:v>
                  </c:pt>
                  <c:pt idx="140">
                    <c:v>Rolling Mean (30 Minute)</c:v>
                  </c:pt>
                  <c:pt idx="141">
                    <c:v>Rolling Mean (30 Minute)</c:v>
                  </c:pt>
                  <c:pt idx="142">
                    <c:v>Rolling Mean (30 Minute)</c:v>
                  </c:pt>
                  <c:pt idx="143">
                    <c:v>Rolling Mean (30 Minute)</c:v>
                  </c:pt>
                  <c:pt idx="144">
                    <c:v>Rolling Mean (30 Minute)</c:v>
                  </c:pt>
                  <c:pt idx="145">
                    <c:v>Rolling Mean (30 Minute)</c:v>
                  </c:pt>
                  <c:pt idx="146">
                    <c:v>Rolling Mean (30 Minute)</c:v>
                  </c:pt>
                  <c:pt idx="147">
                    <c:v>Rolling Mean (30 Minute)</c:v>
                  </c:pt>
                  <c:pt idx="148">
                    <c:v>Rolling Mean (30 Minute)</c:v>
                  </c:pt>
                  <c:pt idx="149">
                    <c:v>Rolling Mean (30 Minute)</c:v>
                  </c:pt>
                  <c:pt idx="150">
                    <c:v>Rolling Mean (30 Minute)</c:v>
                  </c:pt>
                  <c:pt idx="151">
                    <c:v>Rolling Mean (30 Minute)</c:v>
                  </c:pt>
                  <c:pt idx="152">
                    <c:v>Rolling Mean (30 Minute)</c:v>
                  </c:pt>
                  <c:pt idx="153">
                    <c:v>Rolling Mean (30 Minute)</c:v>
                  </c:pt>
                  <c:pt idx="154">
                    <c:v>Rolling Mean (30 Minute)</c:v>
                  </c:pt>
                  <c:pt idx="155">
                    <c:v>Rolling Mean (30 Minute)</c:v>
                  </c:pt>
                  <c:pt idx="156">
                    <c:v>Rolling Mean (30 Minute)</c:v>
                  </c:pt>
                  <c:pt idx="157">
                    <c:v>Rolling Mean (30 Minute)</c:v>
                  </c:pt>
                  <c:pt idx="158">
                    <c:v>Rolling Mean (30 Minute)</c:v>
                  </c:pt>
                  <c:pt idx="159">
                    <c:v>Rolling Mean (30 Minute)</c:v>
                  </c:pt>
                  <c:pt idx="160">
                    <c:v>Rolling Mean (30 Minute)</c:v>
                  </c:pt>
                  <c:pt idx="161">
                    <c:v>Rolling Mean (30 Minute)</c:v>
                  </c:pt>
                  <c:pt idx="162">
                    <c:v>Rolling Mean (30 Minute)</c:v>
                  </c:pt>
                  <c:pt idx="163">
                    <c:v>Rolling Mean (30 Minute)</c:v>
                  </c:pt>
                  <c:pt idx="164">
                    <c:v>Rolling Mean (30 Minute)</c:v>
                  </c:pt>
                  <c:pt idx="165">
                    <c:v>Rolling Mean (30 Minute)</c:v>
                  </c:pt>
                  <c:pt idx="166">
                    <c:v>Rolling Mean (30 Minute)</c:v>
                  </c:pt>
                  <c:pt idx="167">
                    <c:v>Rolling Mean (30 Minute)</c:v>
                  </c:pt>
                  <c:pt idx="168">
                    <c:v>Rolling Mean (30 Minute)</c:v>
                  </c:pt>
                  <c:pt idx="169">
                    <c:v>Rolling Mean (30 Minute)</c:v>
                  </c:pt>
                  <c:pt idx="170">
                    <c:v>Rolling Mean (30 Minute)</c:v>
                  </c:pt>
                  <c:pt idx="171">
                    <c:v>Rolling Mean (30 Minute)</c:v>
                  </c:pt>
                  <c:pt idx="172">
                    <c:v>Rolling Mean (30 Minute)</c:v>
                  </c:pt>
                  <c:pt idx="173">
                    <c:v>Rolling Mean (30 Minute)</c:v>
                  </c:pt>
                  <c:pt idx="174">
                    <c:v>Rolling Mean (30 Minute)</c:v>
                  </c:pt>
                  <c:pt idx="175">
                    <c:v>Rolling Mean (30 Minute)</c:v>
                  </c:pt>
                  <c:pt idx="176">
                    <c:v>Rolling Mean (30 Minute)</c:v>
                  </c:pt>
                  <c:pt idx="177">
                    <c:v>Rolling Mean (30 Minute)</c:v>
                  </c:pt>
                  <c:pt idx="178">
                    <c:v>Rolling Mean (30 Minute)</c:v>
                  </c:pt>
                  <c:pt idx="179">
                    <c:v>Rolling Mean (30 Minute)</c:v>
                  </c:pt>
                  <c:pt idx="180">
                    <c:v>Rolling Mean (30 Minute)</c:v>
                  </c:pt>
                  <c:pt idx="181">
                    <c:v>Rolling Mean (30 Minute)</c:v>
                  </c:pt>
                  <c:pt idx="182">
                    <c:v>Rolling Mean (30 Minute)</c:v>
                  </c:pt>
                  <c:pt idx="183">
                    <c:v>Rolling Mean (30 Minute)</c:v>
                  </c:pt>
                  <c:pt idx="184">
                    <c:v>Rolling Mean (30 Minute)</c:v>
                  </c:pt>
                  <c:pt idx="185">
                    <c:v>Rolling Mean (30 Minute)</c:v>
                  </c:pt>
                  <c:pt idx="186">
                    <c:v>Rolling Mean (30 Minute)</c:v>
                  </c:pt>
                  <c:pt idx="187">
                    <c:v>Rolling Mean (30 Minute)</c:v>
                  </c:pt>
                  <c:pt idx="188">
                    <c:v>Rolling Mean (30 Minute)</c:v>
                  </c:pt>
                  <c:pt idx="189">
                    <c:v>Rolling Mean (30 Minute)</c:v>
                  </c:pt>
                  <c:pt idx="190">
                    <c:v>Rolling Mean (30 Minute)</c:v>
                  </c:pt>
                  <c:pt idx="191">
                    <c:v>Rolling Mean (30 Minute)</c:v>
                  </c:pt>
                  <c:pt idx="192">
                    <c:v>Rolling Mean (30 Minute)</c:v>
                  </c:pt>
                  <c:pt idx="193">
                    <c:v>Rolling Mean (30 Minute)</c:v>
                  </c:pt>
                  <c:pt idx="194">
                    <c:v>Rolling Mean (30 Minute)</c:v>
                  </c:pt>
                  <c:pt idx="195">
                    <c:v>Rolling Mean (30 Minute)</c:v>
                  </c:pt>
                  <c:pt idx="196">
                    <c:v>Rolling Mean (30 Minute)</c:v>
                  </c:pt>
                  <c:pt idx="197">
                    <c:v>Rolling Mean (30 Minute)</c:v>
                  </c:pt>
                  <c:pt idx="198">
                    <c:v>Rolling Mean (30 Minute)</c:v>
                  </c:pt>
                  <c:pt idx="199">
                    <c:v>Rolling Mean (30 Minute)</c:v>
                  </c:pt>
                  <c:pt idx="200">
                    <c:v>Rolling Mean (30 Minute)</c:v>
                  </c:pt>
                  <c:pt idx="201">
                    <c:v>Rolling Mean (30 Minute)</c:v>
                  </c:pt>
                  <c:pt idx="202">
                    <c:v>Rolling Mean (30 Minute)</c:v>
                  </c:pt>
                  <c:pt idx="203">
                    <c:v>Rolling Mean (30 Minute)</c:v>
                  </c:pt>
                  <c:pt idx="204">
                    <c:v>Rolling Mean (30 Minute)</c:v>
                  </c:pt>
                  <c:pt idx="205">
                    <c:v>Rolling Mean (30 Minute)</c:v>
                  </c:pt>
                  <c:pt idx="206">
                    <c:v>Rolling Mean (30 Minute)</c:v>
                  </c:pt>
                  <c:pt idx="207">
                    <c:v>Rolling Mean (30 Minute)</c:v>
                  </c:pt>
                  <c:pt idx="208">
                    <c:v>Rolling Mean (30 Minute)</c:v>
                  </c:pt>
                  <c:pt idx="209">
                    <c:v>Rolling Mean (30 Minute)</c:v>
                  </c:pt>
                  <c:pt idx="210">
                    <c:v>Rolling Mean (30 Minute)</c:v>
                  </c:pt>
                  <c:pt idx="211">
                    <c:v>Rolling Mean (30 Minute)</c:v>
                  </c:pt>
                  <c:pt idx="212">
                    <c:v>Rolling Mean (30 Minute)</c:v>
                  </c:pt>
                  <c:pt idx="213">
                    <c:v>Rolling Mean (30 Minute)</c:v>
                  </c:pt>
                  <c:pt idx="214">
                    <c:v>Rolling Mean (30 Minute)</c:v>
                  </c:pt>
                  <c:pt idx="215">
                    <c:v>Rolling Mean (30 Minute)</c:v>
                  </c:pt>
                  <c:pt idx="216">
                    <c:v>Rolling Mean (30 Minute)</c:v>
                  </c:pt>
                  <c:pt idx="217">
                    <c:v>Rolling Mean (30 Minute)</c:v>
                  </c:pt>
                  <c:pt idx="218">
                    <c:v>Rolling Mean (30 Minute)</c:v>
                  </c:pt>
                  <c:pt idx="219">
                    <c:v>Rolling Mean (30 Minute)</c:v>
                  </c:pt>
                  <c:pt idx="220">
                    <c:v>Rolling Mean (30 Minute)</c:v>
                  </c:pt>
                  <c:pt idx="221">
                    <c:v>Rolling Mean (30 Minute)</c:v>
                  </c:pt>
                  <c:pt idx="222">
                    <c:v>Rolling Mean (30 Minute)</c:v>
                  </c:pt>
                  <c:pt idx="223">
                    <c:v>Rolling Mean (30 Minute)</c:v>
                  </c:pt>
                  <c:pt idx="224">
                    <c:v>Rolling Mean (30 Minute)</c:v>
                  </c:pt>
                  <c:pt idx="225">
                    <c:v>Rolling Mean (30 Minute)</c:v>
                  </c:pt>
                  <c:pt idx="226">
                    <c:v>Rolling Mean (30 Minute)</c:v>
                  </c:pt>
                  <c:pt idx="227">
                    <c:v>Rolling Mean (30 Minute)</c:v>
                  </c:pt>
                  <c:pt idx="228">
                    <c:v>Rolling Mean (30 Minute)</c:v>
                  </c:pt>
                  <c:pt idx="229">
                    <c:v>Rolling Mean (30 Minute)</c:v>
                  </c:pt>
                  <c:pt idx="230">
                    <c:v>Rolling Mean (30 Minute)</c:v>
                  </c:pt>
                  <c:pt idx="231">
                    <c:v>Rolling Mean (30 Minute)</c:v>
                  </c:pt>
                  <c:pt idx="232">
                    <c:v>Rolling Mean (30 Minute)</c:v>
                  </c:pt>
                  <c:pt idx="233">
                    <c:v>Rolling Mean (30 Minute)</c:v>
                  </c:pt>
                  <c:pt idx="234">
                    <c:v>Rolling Mean (30 Minute)</c:v>
                  </c:pt>
                  <c:pt idx="235">
                    <c:v>Rolling Mean (30 Minute)</c:v>
                  </c:pt>
                  <c:pt idx="236">
                    <c:v>Rolling Mean (30 Minute)</c:v>
                  </c:pt>
                  <c:pt idx="237">
                    <c:v>Rolling Mean (30 Minute)</c:v>
                  </c:pt>
                  <c:pt idx="238">
                    <c:v>Rolling Mean (30 Minute)</c:v>
                  </c:pt>
                  <c:pt idx="239">
                    <c:v>Rolling Mean (30 Minute)</c:v>
                  </c:pt>
                  <c:pt idx="240">
                    <c:v>Rolling Mean (30 Minute)</c:v>
                  </c:pt>
                  <c:pt idx="241">
                    <c:v>Rolling Mean (30 Minute)</c:v>
                  </c:pt>
                  <c:pt idx="242">
                    <c:v>Rolling Mean (30 Minute)</c:v>
                  </c:pt>
                  <c:pt idx="243">
                    <c:v>Rolling Mean (30 Minute)</c:v>
                  </c:pt>
                  <c:pt idx="244">
                    <c:v>Rolling Mean (30 Minute)</c:v>
                  </c:pt>
                  <c:pt idx="245">
                    <c:v>Rolling Mean (30 Minute)</c:v>
                  </c:pt>
                  <c:pt idx="246">
                    <c:v>Rolling Mean (30 Minute)</c:v>
                  </c:pt>
                  <c:pt idx="247">
                    <c:v>Rolling Mean (30 Minute)</c:v>
                  </c:pt>
                  <c:pt idx="248">
                    <c:v>Rolling Mean (30 Minute)</c:v>
                  </c:pt>
                  <c:pt idx="249">
                    <c:v>Rolling Mean (30 Minute)</c:v>
                  </c:pt>
                  <c:pt idx="250">
                    <c:v>Rolling Mean (30 Minute)</c:v>
                  </c:pt>
                  <c:pt idx="251">
                    <c:v>Rolling Mean (30 Minute)</c:v>
                  </c:pt>
                  <c:pt idx="252">
                    <c:v>Rolling Mean (30 Minute)</c:v>
                  </c:pt>
                  <c:pt idx="253">
                    <c:v>Rolling Mean (30 Minute)</c:v>
                  </c:pt>
                  <c:pt idx="254">
                    <c:v>Rolling Mean (30 Minute)</c:v>
                  </c:pt>
                  <c:pt idx="255">
                    <c:v>Rolling Mean (30 Minute)</c:v>
                  </c:pt>
                  <c:pt idx="256">
                    <c:v>Rolling Mean (30 Minute)</c:v>
                  </c:pt>
                  <c:pt idx="257">
                    <c:v>Rolling Mean (30 Minute)</c:v>
                  </c:pt>
                  <c:pt idx="258">
                    <c:v>Rolling Mean (30 Minute)</c:v>
                  </c:pt>
                  <c:pt idx="259">
                    <c:v>Rolling Mean (30 Minute)</c:v>
                  </c:pt>
                  <c:pt idx="260">
                    <c:v>Rolling Mean (30 Minute)</c:v>
                  </c:pt>
                  <c:pt idx="261">
                    <c:v>Rolling Mean (30 Minute)</c:v>
                  </c:pt>
                  <c:pt idx="262">
                    <c:v>Rolling Mean (30 Minute)</c:v>
                  </c:pt>
                  <c:pt idx="263">
                    <c:v>Rolling Mean (30 Minute)</c:v>
                  </c:pt>
                  <c:pt idx="264">
                    <c:v>Rolling Mean (30 Minute)</c:v>
                  </c:pt>
                  <c:pt idx="265">
                    <c:v>Rolling Mean (30 Minute)</c:v>
                  </c:pt>
                  <c:pt idx="266">
                    <c:v>Rolling Mean (30 Minute)</c:v>
                  </c:pt>
                  <c:pt idx="267">
                    <c:v>Rolling Mean (30 Minute)</c:v>
                  </c:pt>
                  <c:pt idx="268">
                    <c:v>Rolling Mean (30 Minute)</c:v>
                  </c:pt>
                  <c:pt idx="269">
                    <c:v>Rolling Mean (30 Minute)</c:v>
                  </c:pt>
                  <c:pt idx="270">
                    <c:v>Rolling Mean (30 Minute)</c:v>
                  </c:pt>
                  <c:pt idx="271">
                    <c:v>Rolling Mean (30 Minute)</c:v>
                  </c:pt>
                  <c:pt idx="272">
                    <c:v>Rolling Mean (30 Minute)</c:v>
                  </c:pt>
                  <c:pt idx="273">
                    <c:v>Rolling Mean (30 Minute)</c:v>
                  </c:pt>
                  <c:pt idx="274">
                    <c:v>Rolling Mean (30 Minute)</c:v>
                  </c:pt>
                  <c:pt idx="275">
                    <c:v>Rolling Mean (30 Minute)</c:v>
                  </c:pt>
                  <c:pt idx="276">
                    <c:v>Rolling Mean (30 Minute)</c:v>
                  </c:pt>
                  <c:pt idx="277">
                    <c:v>Rolling Mean (30 Minute)</c:v>
                  </c:pt>
                  <c:pt idx="278">
                    <c:v>Rolling Mean (30 Minute)</c:v>
                  </c:pt>
                  <c:pt idx="279">
                    <c:v>Rolling Mean (30 Minute)</c:v>
                  </c:pt>
                  <c:pt idx="280">
                    <c:v>Rolling Mean (30 Minute)</c:v>
                  </c:pt>
                  <c:pt idx="281">
                    <c:v>Rolling Mean (30 Minute)</c:v>
                  </c:pt>
                  <c:pt idx="282">
                    <c:v>Rolling Mean (30 Minute)</c:v>
                  </c:pt>
                  <c:pt idx="283">
                    <c:v>Rolling Mean (30 Minute)</c:v>
                  </c:pt>
                  <c:pt idx="284">
                    <c:v>Rolling Mean (30 Minute)</c:v>
                  </c:pt>
                  <c:pt idx="285">
                    <c:v>Rolling Mean (30 Minute)</c:v>
                  </c:pt>
                  <c:pt idx="286">
                    <c:v>Rolling Mean (30 Minute)</c:v>
                  </c:pt>
                  <c:pt idx="287">
                    <c:v>Rolling Mean (30 Minute)</c:v>
                  </c:pt>
                  <c:pt idx="288">
                    <c:v>Rolling Mean (30 Minute)</c:v>
                  </c:pt>
                  <c:pt idx="289">
                    <c:v>Rolling Mean (30 Minute)</c:v>
                  </c:pt>
                  <c:pt idx="290">
                    <c:v>Rolling Mean (30 Minute)</c:v>
                  </c:pt>
                  <c:pt idx="291">
                    <c:v>Rolling Mean (30 Minute)</c:v>
                  </c:pt>
                  <c:pt idx="292">
                    <c:v>Rolling Mean (30 Minute)</c:v>
                  </c:pt>
                  <c:pt idx="293">
                    <c:v>Rolling Mean (30 Minute)</c:v>
                  </c:pt>
                  <c:pt idx="294">
                    <c:v>Rolling Mean (30 Minute)</c:v>
                  </c:pt>
                  <c:pt idx="295">
                    <c:v>Rolling Mean (30 Minute)</c:v>
                  </c:pt>
                  <c:pt idx="296">
                    <c:v>Rolling Mean (30 Minute)</c:v>
                  </c:pt>
                  <c:pt idx="297">
                    <c:v>Rolling Mean (30 Minute)</c:v>
                  </c:pt>
                  <c:pt idx="298">
                    <c:v>Rolling Mean (30 Minute)</c:v>
                  </c:pt>
                  <c:pt idx="299">
                    <c:v>Rolling Mean (30 Minute)</c:v>
                  </c:pt>
                  <c:pt idx="300">
                    <c:v>Rolling Mean (30 Minute)</c:v>
                  </c:pt>
                  <c:pt idx="301">
                    <c:v>Rolling Mean (30 Minute)</c:v>
                  </c:pt>
                  <c:pt idx="302">
                    <c:v>Rolling Mean (30 Minute)</c:v>
                  </c:pt>
                  <c:pt idx="303">
                    <c:v>Rolling Mean (30 Minute)</c:v>
                  </c:pt>
                  <c:pt idx="304">
                    <c:v>Rolling Mean (30 Minute)</c:v>
                  </c:pt>
                  <c:pt idx="305">
                    <c:v>Rolling Mean (30 Minute)</c:v>
                  </c:pt>
                  <c:pt idx="306">
                    <c:v>Rolling Mean (30 Minute)</c:v>
                  </c:pt>
                  <c:pt idx="307">
                    <c:v>Rolling Mean (30 Minute)</c:v>
                  </c:pt>
                  <c:pt idx="308">
                    <c:v>Rolling Mean (30 Minute)</c:v>
                  </c:pt>
                  <c:pt idx="309">
                    <c:v>Rolling Mean (30 Minute)</c:v>
                  </c:pt>
                  <c:pt idx="310">
                    <c:v>Rolling Mean (30 Minute)</c:v>
                  </c:pt>
                  <c:pt idx="311">
                    <c:v>Rolling Mean (30 Minute)</c:v>
                  </c:pt>
                  <c:pt idx="312">
                    <c:v>Rolling Mean (30 Minute)</c:v>
                  </c:pt>
                  <c:pt idx="313">
                    <c:v>Rolling Mean (30 Minute)</c:v>
                  </c:pt>
                  <c:pt idx="314">
                    <c:v>Rolling Mean (30 Minute)</c:v>
                  </c:pt>
                  <c:pt idx="315">
                    <c:v>Rolling Mean (30 Minute)</c:v>
                  </c:pt>
                  <c:pt idx="316">
                    <c:v>Rolling Mean (30 Minute)</c:v>
                  </c:pt>
                  <c:pt idx="317">
                    <c:v>Rolling Mean (30 Minute)</c:v>
                  </c:pt>
                  <c:pt idx="318">
                    <c:v>Rolling Mean (30 Minute)</c:v>
                  </c:pt>
                  <c:pt idx="319">
                    <c:v>Rolling Mean (30 Minute)</c:v>
                  </c:pt>
                  <c:pt idx="320">
                    <c:v>Rolling Mean (30 Minute)</c:v>
                  </c:pt>
                  <c:pt idx="321">
                    <c:v>Rolling Mean (30 Minute)</c:v>
                  </c:pt>
                  <c:pt idx="322">
                    <c:v>Rolling Mean (30 Minute)</c:v>
                  </c:pt>
                  <c:pt idx="323">
                    <c:v>Rolling Mean (30 Minute)</c:v>
                  </c:pt>
                  <c:pt idx="324">
                    <c:v>Rolling Mean (30 Minute)</c:v>
                  </c:pt>
                  <c:pt idx="325">
                    <c:v>Rolling Mean (30 Minute)</c:v>
                  </c:pt>
                  <c:pt idx="326">
                    <c:v>Rolling Mean (30 Minute)</c:v>
                  </c:pt>
                  <c:pt idx="327">
                    <c:v>Rolling Mean (30 Minute)</c:v>
                  </c:pt>
                  <c:pt idx="328">
                    <c:v>Rolling Mean (30 Minute)</c:v>
                  </c:pt>
                  <c:pt idx="329">
                    <c:v>Rolling Mean (30 Minute)</c:v>
                  </c:pt>
                  <c:pt idx="330">
                    <c:v>Rolling Mean (30 Minute)</c:v>
                  </c:pt>
                  <c:pt idx="331">
                    <c:v>Rolling Mean (30 Minute)</c:v>
                  </c:pt>
                  <c:pt idx="332">
                    <c:v>Rolling Mean (30 Minute)</c:v>
                  </c:pt>
                  <c:pt idx="333">
                    <c:v>Rolling Mean (30 Minute)</c:v>
                  </c:pt>
                  <c:pt idx="334">
                    <c:v>Rolling Mean (30 Minute)</c:v>
                  </c:pt>
                  <c:pt idx="335">
                    <c:v>Rolling Mean (30 Minute)</c:v>
                  </c:pt>
                  <c:pt idx="336">
                    <c:v>Rolling Mean (30 Minute)</c:v>
                  </c:pt>
                  <c:pt idx="337">
                    <c:v>Rolling Mean (30 Minute)</c:v>
                  </c:pt>
                  <c:pt idx="338">
                    <c:v>Rolling Mean (30 Minute)</c:v>
                  </c:pt>
                  <c:pt idx="339">
                    <c:v>Rolling Mean (30 Minute)</c:v>
                  </c:pt>
                  <c:pt idx="340">
                    <c:v>Rolling Mean (30 Minute)</c:v>
                  </c:pt>
                  <c:pt idx="341">
                    <c:v>Rolling Mean (30 Minute)</c:v>
                  </c:pt>
                  <c:pt idx="342">
                    <c:v>Rolling Mean (30 Minute)</c:v>
                  </c:pt>
                  <c:pt idx="343">
                    <c:v>Rolling Mean (30 Minute)</c:v>
                  </c:pt>
                  <c:pt idx="344">
                    <c:v>Rolling Mean (30 Minute)</c:v>
                  </c:pt>
                  <c:pt idx="345">
                    <c:v>Rolling Mean (30 Minute)</c:v>
                  </c:pt>
                  <c:pt idx="346">
                    <c:v>Rolling Mean (30 Minute)</c:v>
                  </c:pt>
                  <c:pt idx="347">
                    <c:v>Rolling Mean (30 Minute)</c:v>
                  </c:pt>
                  <c:pt idx="348">
                    <c:v>Rolling Mean (30 Minute)</c:v>
                  </c:pt>
                  <c:pt idx="349">
                    <c:v>Rolling Mean (30 Minute)</c:v>
                  </c:pt>
                  <c:pt idx="350">
                    <c:v>Rolling Mean (30 Minute)</c:v>
                  </c:pt>
                  <c:pt idx="351">
                    <c:v>Rolling Mean (30 Minute)</c:v>
                  </c:pt>
                  <c:pt idx="352">
                    <c:v>Rolling Mean (30 Minute)</c:v>
                  </c:pt>
                  <c:pt idx="353">
                    <c:v>Rolling Mean (30 Minute)</c:v>
                  </c:pt>
                  <c:pt idx="354">
                    <c:v>Rolling Mean (30 Minute)</c:v>
                  </c:pt>
                  <c:pt idx="355">
                    <c:v>Rolling Mean (30 Minute)</c:v>
                  </c:pt>
                  <c:pt idx="356">
                    <c:v>Rolling Mean (30 Minute)</c:v>
                  </c:pt>
                  <c:pt idx="357">
                    <c:v>Rolling Mean (30 Minute)</c:v>
                  </c:pt>
                  <c:pt idx="358">
                    <c:v>Rolling Mean (30 Minute)</c:v>
                  </c:pt>
                  <c:pt idx="359">
                    <c:v>Rolling Mean (30 Minute)</c:v>
                  </c:pt>
                  <c:pt idx="360">
                    <c:v>Rolling Mean (30 Minute)</c:v>
                  </c:pt>
                  <c:pt idx="361">
                    <c:v>Rolling Mean (30 Minute)</c:v>
                  </c:pt>
                  <c:pt idx="362">
                    <c:v>Rolling Mean (30 Minute)</c:v>
                  </c:pt>
                  <c:pt idx="363">
                    <c:v>Rolling Mean (30 Minute)</c:v>
                  </c:pt>
                  <c:pt idx="364">
                    <c:v>Rolling Mean (30 Minute)</c:v>
                  </c:pt>
                  <c:pt idx="365">
                    <c:v>Rolling Mean (30 Minute)</c:v>
                  </c:pt>
                  <c:pt idx="366">
                    <c:v>Rolling Mean (30 Minute)</c:v>
                  </c:pt>
                  <c:pt idx="367">
                    <c:v>Rolling Mean (30 Minute)</c:v>
                  </c:pt>
                  <c:pt idx="368">
                    <c:v>Rolling Mean (30 Minute)</c:v>
                  </c:pt>
                  <c:pt idx="369">
                    <c:v>Rolling Mean (30 Minute)</c:v>
                  </c:pt>
                  <c:pt idx="370">
                    <c:v>Rolling Mean (30 Minute)</c:v>
                  </c:pt>
                  <c:pt idx="371">
                    <c:v>Rolling Mean (30 Minute)</c:v>
                  </c:pt>
                  <c:pt idx="372">
                    <c:v>Rolling Mean (30 Minute)</c:v>
                  </c:pt>
                  <c:pt idx="373">
                    <c:v>Rolling Mean (30 Minute)</c:v>
                  </c:pt>
                  <c:pt idx="374">
                    <c:v>Rolling Mean (30 Minute)</c:v>
                  </c:pt>
                  <c:pt idx="375">
                    <c:v>Rolling Mean (30 Minute)</c:v>
                  </c:pt>
                  <c:pt idx="376">
                    <c:v>Rolling Mean (30 Minute)</c:v>
                  </c:pt>
                  <c:pt idx="377">
                    <c:v>Rolling Mean (30 Minute)</c:v>
                  </c:pt>
                  <c:pt idx="378">
                    <c:v>Rolling Mean (30 Minute)</c:v>
                  </c:pt>
                  <c:pt idx="379">
                    <c:v>Rolling Mean (30 Minute)</c:v>
                  </c:pt>
                  <c:pt idx="380">
                    <c:v>Rolling Mean (30 Minute)</c:v>
                  </c:pt>
                  <c:pt idx="381">
                    <c:v>Rolling Mean (30 Minute)</c:v>
                  </c:pt>
                  <c:pt idx="382">
                    <c:v>Rolling Mean (30 Minute)</c:v>
                  </c:pt>
                  <c:pt idx="383">
                    <c:v>Rolling Mean (30 Minute)</c:v>
                  </c:pt>
                  <c:pt idx="384">
                    <c:v>Rolling Mean (30 Minute)</c:v>
                  </c:pt>
                  <c:pt idx="385">
                    <c:v>Rolling Mean (30 Minute)</c:v>
                  </c:pt>
                  <c:pt idx="386">
                    <c:v>Rolling Mean (30 Minute)</c:v>
                  </c:pt>
                  <c:pt idx="387">
                    <c:v>Rolling Mean (30 Minute)</c:v>
                  </c:pt>
                  <c:pt idx="388">
                    <c:v>Rolling Mean (30 Minute)</c:v>
                  </c:pt>
                  <c:pt idx="389">
                    <c:v>Rolling Mean (30 Minute)</c:v>
                  </c:pt>
                  <c:pt idx="390">
                    <c:v>Rolling Mean (30 Minute)</c:v>
                  </c:pt>
                  <c:pt idx="391">
                    <c:v>Rolling Mean (30 Minute)</c:v>
                  </c:pt>
                  <c:pt idx="392">
                    <c:v>Rolling Mean (30 Minute)</c:v>
                  </c:pt>
                  <c:pt idx="393">
                    <c:v>Rolling Mean (30 Minute)</c:v>
                  </c:pt>
                  <c:pt idx="394">
                    <c:v>Rolling Mean (30 Minute)</c:v>
                  </c:pt>
                  <c:pt idx="395">
                    <c:v>Rolling Mean (30 Minute)</c:v>
                  </c:pt>
                  <c:pt idx="396">
                    <c:v>Rolling Mean (30 Minute)</c:v>
                  </c:pt>
                  <c:pt idx="397">
                    <c:v>Rolling Mean (30 Minute)</c:v>
                  </c:pt>
                  <c:pt idx="398">
                    <c:v>Rolling Mean (30 Minute)</c:v>
                  </c:pt>
                  <c:pt idx="399">
                    <c:v>Rolling Mean (30 Minute)</c:v>
                  </c:pt>
                  <c:pt idx="400">
                    <c:v>Rolling Mean (30 Minute)</c:v>
                  </c:pt>
                  <c:pt idx="401">
                    <c:v>Rolling Mean (30 Minute)</c:v>
                  </c:pt>
                  <c:pt idx="402">
                    <c:v>Rolling Mean (30 Minute)</c:v>
                  </c:pt>
                  <c:pt idx="403">
                    <c:v>Rolling Mean (30 Minute)</c:v>
                  </c:pt>
                  <c:pt idx="404">
                    <c:v>Rolling Mean (30 Minute)</c:v>
                  </c:pt>
                  <c:pt idx="405">
                    <c:v>Rolling Mean (30 Minute)</c:v>
                  </c:pt>
                  <c:pt idx="406">
                    <c:v>Rolling Mean (30 Minute)</c:v>
                  </c:pt>
                  <c:pt idx="407">
                    <c:v>Rolling Mean (30 Minute)</c:v>
                  </c:pt>
                  <c:pt idx="408">
                    <c:v>Rolling Mean (30 Minute)</c:v>
                  </c:pt>
                  <c:pt idx="409">
                    <c:v>Rolling Mean (30 Minute)</c:v>
                  </c:pt>
                  <c:pt idx="410">
                    <c:v>Rolling Mean (30 Minute)</c:v>
                  </c:pt>
                  <c:pt idx="411">
                    <c:v>Rolling Mean (30 Minute)</c:v>
                  </c:pt>
                  <c:pt idx="412">
                    <c:v>Rolling Mean (30 Minute)</c:v>
                  </c:pt>
                  <c:pt idx="413">
                    <c:v>Rolling Mean (30 Minute)</c:v>
                  </c:pt>
                  <c:pt idx="414">
                    <c:v>Rolling Mean (30 Minute)</c:v>
                  </c:pt>
                  <c:pt idx="415">
                    <c:v>Rolling Mean (30 Minute)</c:v>
                  </c:pt>
                  <c:pt idx="416">
                    <c:v>Rolling Mean (30 Minute)</c:v>
                  </c:pt>
                  <c:pt idx="417">
                    <c:v>Rolling Mean (30 Minute)</c:v>
                  </c:pt>
                  <c:pt idx="418">
                    <c:v>Rolling Mean (30 Minute)</c:v>
                  </c:pt>
                  <c:pt idx="419">
                    <c:v>Rolling Mean (30 Minute)</c:v>
                  </c:pt>
                  <c:pt idx="420">
                    <c:v>Rolling Mean (30 Minute)</c:v>
                  </c:pt>
                  <c:pt idx="421">
                    <c:v>Rolling Mean (30 Minute)</c:v>
                  </c:pt>
                  <c:pt idx="422">
                    <c:v>Rolling Mean (30 Minute)</c:v>
                  </c:pt>
                  <c:pt idx="423">
                    <c:v>Rolling Mean (30 Minute)</c:v>
                  </c:pt>
                  <c:pt idx="424">
                    <c:v>Rolling Mean (30 Minute)</c:v>
                  </c:pt>
                  <c:pt idx="425">
                    <c:v>Rolling Mean (30 Minute)</c:v>
                  </c:pt>
                  <c:pt idx="426">
                    <c:v>Rolling Mean (30 Minute)</c:v>
                  </c:pt>
                  <c:pt idx="427">
                    <c:v>Rolling Mean (30 Minute)</c:v>
                  </c:pt>
                  <c:pt idx="428">
                    <c:v>Rolling Mean (30 Minute)</c:v>
                  </c:pt>
                  <c:pt idx="429">
                    <c:v>Rolling Mean (30 Minute)</c:v>
                  </c:pt>
                  <c:pt idx="430">
                    <c:v>Rolling Mean (30 Minute)</c:v>
                  </c:pt>
                  <c:pt idx="431">
                    <c:v>Rolling Mean (30 Minute)</c:v>
                  </c:pt>
                  <c:pt idx="432">
                    <c:v>Rolling Mean (30 Minute)</c:v>
                  </c:pt>
                  <c:pt idx="433">
                    <c:v>Rolling Mean (30 Minute)</c:v>
                  </c:pt>
                  <c:pt idx="434">
                    <c:v>Rolling Mean (30 Minute)</c:v>
                  </c:pt>
                  <c:pt idx="435">
                    <c:v>Rolling Mean (30 Minute)</c:v>
                  </c:pt>
                  <c:pt idx="436">
                    <c:v>Rolling Mean (30 Minute)</c:v>
                  </c:pt>
                  <c:pt idx="437">
                    <c:v>Rolling Mean (30 Minute)</c:v>
                  </c:pt>
                  <c:pt idx="438">
                    <c:v>Rolling Mean (30 Minute)</c:v>
                  </c:pt>
                  <c:pt idx="439">
                    <c:v>Rolling Mean (30 Minute)</c:v>
                  </c:pt>
                  <c:pt idx="440">
                    <c:v>Rolling Mean (30 Minute)</c:v>
                  </c:pt>
                  <c:pt idx="441">
                    <c:v>Rolling Mean (30 Minute)</c:v>
                  </c:pt>
                  <c:pt idx="442">
                    <c:v>Rolling Mean (30 Minute)</c:v>
                  </c:pt>
                  <c:pt idx="443">
                    <c:v>Rolling Mean (30 Minute)</c:v>
                  </c:pt>
                  <c:pt idx="444">
                    <c:v>Rolling Mean (30 Minute)</c:v>
                  </c:pt>
                  <c:pt idx="445">
                    <c:v>Rolling Mean (30 Minute)</c:v>
                  </c:pt>
                  <c:pt idx="446">
                    <c:v>Rolling Mean (30 Minute)</c:v>
                  </c:pt>
                  <c:pt idx="447">
                    <c:v>Rolling Mean (30 Minute)</c:v>
                  </c:pt>
                  <c:pt idx="448">
                    <c:v>Rolling Mean (30 Minute)</c:v>
                  </c:pt>
                  <c:pt idx="449">
                    <c:v>Rolling Mean (30 Minute)</c:v>
                  </c:pt>
                  <c:pt idx="450">
                    <c:v>Rolling Mean (30 Minute)</c:v>
                  </c:pt>
                  <c:pt idx="451">
                    <c:v>Rolling Mean (30 Minute)</c:v>
                  </c:pt>
                  <c:pt idx="452">
                    <c:v>Rolling Mean (30 Minute)</c:v>
                  </c:pt>
                  <c:pt idx="453">
                    <c:v>Rolling Mean (30 Minute)</c:v>
                  </c:pt>
                  <c:pt idx="454">
                    <c:v>Rolling Mean (30 Minute)</c:v>
                  </c:pt>
                  <c:pt idx="455">
                    <c:v>Rolling Mean (30 Minute)</c:v>
                  </c:pt>
                  <c:pt idx="456">
                    <c:v>Rolling Mean (30 Minute)</c:v>
                  </c:pt>
                  <c:pt idx="457">
                    <c:v>Rolling Mean (30 Minute)</c:v>
                  </c:pt>
                  <c:pt idx="458">
                    <c:v>Rolling Mean (30 Minute)</c:v>
                  </c:pt>
                  <c:pt idx="459">
                    <c:v>Rolling Mean (30 Minute)</c:v>
                  </c:pt>
                  <c:pt idx="460">
                    <c:v>Rolling Mean (30 Minute)</c:v>
                  </c:pt>
                  <c:pt idx="461">
                    <c:v>Rolling Mean (30 Minute)</c:v>
                  </c:pt>
                  <c:pt idx="462">
                    <c:v>Rolling Mean (30 Minute)</c:v>
                  </c:pt>
                  <c:pt idx="463">
                    <c:v>Rolling Mean (30 Minute)</c:v>
                  </c:pt>
                  <c:pt idx="464">
                    <c:v>Rolling Mean (30 Minute)</c:v>
                  </c:pt>
                  <c:pt idx="465">
                    <c:v>Rolling Mean (30 Minute)</c:v>
                  </c:pt>
                  <c:pt idx="466">
                    <c:v>Rolling Mean (30 Minute)</c:v>
                  </c:pt>
                  <c:pt idx="467">
                    <c:v>Rolling Mean (30 Minute)</c:v>
                  </c:pt>
                  <c:pt idx="468">
                    <c:v>Rolling Mean (30 Minute)</c:v>
                  </c:pt>
                  <c:pt idx="469">
                    <c:v>Rolling Mean (30 Minute)</c:v>
                  </c:pt>
                  <c:pt idx="470">
                    <c:v>Rolling Mean (30 Minute)</c:v>
                  </c:pt>
                  <c:pt idx="471">
                    <c:v>Rolling Mean (30 Minute)</c:v>
                  </c:pt>
                  <c:pt idx="472">
                    <c:v>Rolling Mean (30 Minute)</c:v>
                  </c:pt>
                  <c:pt idx="473">
                    <c:v>Rolling Mean (30 Minute)</c:v>
                  </c:pt>
                  <c:pt idx="474">
                    <c:v>Rolling Mean (30 Minute)</c:v>
                  </c:pt>
                  <c:pt idx="475">
                    <c:v>Rolling Mean (30 Minute)</c:v>
                  </c:pt>
                  <c:pt idx="476">
                    <c:v>Rolling Mean (30 Minute)</c:v>
                  </c:pt>
                  <c:pt idx="477">
                    <c:v>Rolling Mean (30 Minute)</c:v>
                  </c:pt>
                  <c:pt idx="478">
                    <c:v>Rolling Mean (30 Minute)</c:v>
                  </c:pt>
                  <c:pt idx="479">
                    <c:v>Rolling Mean (30 Minute)</c:v>
                  </c:pt>
                  <c:pt idx="480">
                    <c:v>Rolling Mean (30 Minute)</c:v>
                  </c:pt>
                  <c:pt idx="481">
                    <c:v>Rolling Mean (30 Minute)</c:v>
                  </c:pt>
                  <c:pt idx="482">
                    <c:v>Rolling Mean (30 Minute)</c:v>
                  </c:pt>
                  <c:pt idx="483">
                    <c:v>Rolling Mean (30 Minute)</c:v>
                  </c:pt>
                  <c:pt idx="484">
                    <c:v>Rolling Mean (30 Minute)</c:v>
                  </c:pt>
                  <c:pt idx="485">
                    <c:v>Rolling Mean (30 Minute)</c:v>
                  </c:pt>
                  <c:pt idx="486">
                    <c:v>Rolling Mean (30 Minute)</c:v>
                  </c:pt>
                  <c:pt idx="487">
                    <c:v>Rolling Mean (30 Minute)</c:v>
                  </c:pt>
                  <c:pt idx="488">
                    <c:v>Rolling Mean (30 Minute)</c:v>
                  </c:pt>
                  <c:pt idx="489">
                    <c:v>Rolling Mean (30 Minute)</c:v>
                  </c:pt>
                  <c:pt idx="490">
                    <c:v>Rolling Mean (30 Minute)</c:v>
                  </c:pt>
                  <c:pt idx="491">
                    <c:v>Rolling Mean (30 Minute)</c:v>
                  </c:pt>
                  <c:pt idx="492">
                    <c:v>Rolling Mean (30 Minute)</c:v>
                  </c:pt>
                  <c:pt idx="493">
                    <c:v>Rolling Mean (30 Minute)</c:v>
                  </c:pt>
                  <c:pt idx="494">
                    <c:v>Rolling Mean (30 Minute)</c:v>
                  </c:pt>
                  <c:pt idx="495">
                    <c:v>Rolling Mean (30 Minute)</c:v>
                  </c:pt>
                  <c:pt idx="496">
                    <c:v>Rolling Mean (30 Minute)</c:v>
                  </c:pt>
                  <c:pt idx="497">
                    <c:v>Rolling Mean (30 Minute)</c:v>
                  </c:pt>
                  <c:pt idx="498">
                    <c:v>Rolling Mean (30 Minute)</c:v>
                  </c:pt>
                  <c:pt idx="499">
                    <c:v>Rolling Mean (30 Minute)</c:v>
                  </c:pt>
                  <c:pt idx="500">
                    <c:v>Rolling Mean (30 Minute)</c:v>
                  </c:pt>
                  <c:pt idx="501">
                    <c:v>Rolling Mean (30 Minute)</c:v>
                  </c:pt>
                  <c:pt idx="502">
                    <c:v>Rolling Mean (30 Minute)</c:v>
                  </c:pt>
                  <c:pt idx="503">
                    <c:v>Rolling Mean (30 Minute)</c:v>
                  </c:pt>
                  <c:pt idx="504">
                    <c:v>Rolling Mean (30 Minute)</c:v>
                  </c:pt>
                  <c:pt idx="505">
                    <c:v>Rolling Mean (30 Minute)</c:v>
                  </c:pt>
                  <c:pt idx="506">
                    <c:v>Rolling Mean (30 Minute)</c:v>
                  </c:pt>
                  <c:pt idx="507">
                    <c:v>Rolling Mean (30 Minute)</c:v>
                  </c:pt>
                  <c:pt idx="508">
                    <c:v>Rolling Mean (30 Minute)</c:v>
                  </c:pt>
                  <c:pt idx="509">
                    <c:v>Rolling Mean (30 Minute)</c:v>
                  </c:pt>
                  <c:pt idx="510">
                    <c:v>Rolling Mean (30 Minute)</c:v>
                  </c:pt>
                  <c:pt idx="511">
                    <c:v>Rolling Mean (30 Minute)</c:v>
                  </c:pt>
                  <c:pt idx="512">
                    <c:v>Rolling Mean (30 Minute)</c:v>
                  </c:pt>
                  <c:pt idx="513">
                    <c:v>Rolling Mean (30 Minute)</c:v>
                  </c:pt>
                  <c:pt idx="514">
                    <c:v>Rolling Mean (30 Minute)</c:v>
                  </c:pt>
                  <c:pt idx="515">
                    <c:v>Rolling Mean (30 Minute)</c:v>
                  </c:pt>
                  <c:pt idx="516">
                    <c:v>Rolling Mean (30 Minute)</c:v>
                  </c:pt>
                  <c:pt idx="517">
                    <c:v>Rolling Mean (30 Minute)</c:v>
                  </c:pt>
                  <c:pt idx="518">
                    <c:v>Rolling Mean (30 Minute)</c:v>
                  </c:pt>
                  <c:pt idx="519">
                    <c:v>Rolling Mean (30 Minute)</c:v>
                  </c:pt>
                  <c:pt idx="520">
                    <c:v>Rolling Mean (30 Minute)</c:v>
                  </c:pt>
                  <c:pt idx="521">
                    <c:v>Rolling Mean (30 Minute)</c:v>
                  </c:pt>
                  <c:pt idx="522">
                    <c:v>Rolling Mean (30 Minute)</c:v>
                  </c:pt>
                  <c:pt idx="523">
                    <c:v>Rolling Mean (30 Minute)</c:v>
                  </c:pt>
                  <c:pt idx="524">
                    <c:v>Rolling Mean (30 Minute)</c:v>
                  </c:pt>
                  <c:pt idx="525">
                    <c:v>Rolling Mean (30 Minute)</c:v>
                  </c:pt>
                  <c:pt idx="526">
                    <c:v>Rolling Mean (30 Minute)</c:v>
                  </c:pt>
                  <c:pt idx="527">
                    <c:v>Rolling Mean (30 Minute)</c:v>
                  </c:pt>
                  <c:pt idx="528">
                    <c:v>Rolling Mean (30 Minute)</c:v>
                  </c:pt>
                  <c:pt idx="529">
                    <c:v>Rolling Mean (30 Minute)</c:v>
                  </c:pt>
                  <c:pt idx="530">
                    <c:v>Rolling Mean (30 Minute)</c:v>
                  </c:pt>
                  <c:pt idx="531">
                    <c:v>Rolling Mean (30 Minute)</c:v>
                  </c:pt>
                  <c:pt idx="532">
                    <c:v>Rolling Mean (30 Minute)</c:v>
                  </c:pt>
                  <c:pt idx="533">
                    <c:v>Rolling Mean (30 Minute)</c:v>
                  </c:pt>
                  <c:pt idx="534">
                    <c:v>Rolling Mean (30 Minute)</c:v>
                  </c:pt>
                  <c:pt idx="535">
                    <c:v>Rolling Mean (30 Minute)</c:v>
                  </c:pt>
                  <c:pt idx="536">
                    <c:v>Rolling Mean (30 Minute)</c:v>
                  </c:pt>
                  <c:pt idx="537">
                    <c:v>Rolling Mean (30 Minute)</c:v>
                  </c:pt>
                  <c:pt idx="538">
                    <c:v>Rolling Mean (30 Minute)</c:v>
                  </c:pt>
                  <c:pt idx="539">
                    <c:v>Rolling Mean (30 Minute)</c:v>
                  </c:pt>
                  <c:pt idx="540">
                    <c:v>Rolling Mean (30 Minute)</c:v>
                  </c:pt>
                  <c:pt idx="541">
                    <c:v>Rolling Mean (30 Minute)</c:v>
                  </c:pt>
                  <c:pt idx="542">
                    <c:v>Rolling Mean (30 Minute)</c:v>
                  </c:pt>
                  <c:pt idx="543">
                    <c:v>Rolling Mean (30 Minute)</c:v>
                  </c:pt>
                  <c:pt idx="544">
                    <c:v>Rolling Mean (30 Minute)</c:v>
                  </c:pt>
                  <c:pt idx="545">
                    <c:v>Rolling Mean (30 Minute)</c:v>
                  </c:pt>
                  <c:pt idx="546">
                    <c:v>Rolling Mean (30 Minute)</c:v>
                  </c:pt>
                  <c:pt idx="547">
                    <c:v>Rolling Mean (30 Minute)</c:v>
                  </c:pt>
                  <c:pt idx="548">
                    <c:v>Rolling Mean (30 Minute)</c:v>
                  </c:pt>
                  <c:pt idx="549">
                    <c:v>Rolling Mean (30 Minute)</c:v>
                  </c:pt>
                  <c:pt idx="550">
                    <c:v>Rolling Mean (30 Minute)</c:v>
                  </c:pt>
                  <c:pt idx="551">
                    <c:v>Rolling Mean (30 Minute)</c:v>
                  </c:pt>
                  <c:pt idx="552">
                    <c:v>Rolling Mean (30 Minute)</c:v>
                  </c:pt>
                  <c:pt idx="553">
                    <c:v>Rolling Mean (30 Minute)</c:v>
                  </c:pt>
                  <c:pt idx="554">
                    <c:v>Rolling Mean (30 Minute)</c:v>
                  </c:pt>
                  <c:pt idx="555">
                    <c:v>Rolling Mean (30 Minute)</c:v>
                  </c:pt>
                  <c:pt idx="556">
                    <c:v>Rolling Mean (30 Minute)</c:v>
                  </c:pt>
                  <c:pt idx="557">
                    <c:v>Rolling Mean (30 Minute)</c:v>
                  </c:pt>
                  <c:pt idx="558">
                    <c:v>Rolling Mean (30 Minute)</c:v>
                  </c:pt>
                  <c:pt idx="559">
                    <c:v>Rolling Mean (30 Minute)</c:v>
                  </c:pt>
                  <c:pt idx="560">
                    <c:v>Rolling Mean (30 Minute)</c:v>
                  </c:pt>
                  <c:pt idx="561">
                    <c:v>Rolling Mean (30 Minute)</c:v>
                  </c:pt>
                  <c:pt idx="562">
                    <c:v>Rolling Mean (30 Minute)</c:v>
                  </c:pt>
                  <c:pt idx="563">
                    <c:v>Rolling Mean (30 Minute)</c:v>
                  </c:pt>
                  <c:pt idx="564">
                    <c:v>Rolling Mean (30 Minute)</c:v>
                  </c:pt>
                  <c:pt idx="565">
                    <c:v>Rolling Mean (30 Minute)</c:v>
                  </c:pt>
                  <c:pt idx="566">
                    <c:v>Rolling Mean (30 Minute)</c:v>
                  </c:pt>
                  <c:pt idx="567">
                    <c:v>Rolling Mean (30 Minute)</c:v>
                  </c:pt>
                  <c:pt idx="568">
                    <c:v>Rolling Mean (30 Minute)</c:v>
                  </c:pt>
                  <c:pt idx="569">
                    <c:v>Rolling Mean (30 Minute)</c:v>
                  </c:pt>
                  <c:pt idx="570">
                    <c:v>Rolling Mean (30 Minute)</c:v>
                  </c:pt>
                  <c:pt idx="571">
                    <c:v>Rolling Mean (30 Minute)</c:v>
                  </c:pt>
                  <c:pt idx="572">
                    <c:v>Rolling Mean (30 Minute)</c:v>
                  </c:pt>
                  <c:pt idx="573">
                    <c:v>Rolling Mean (30 Minute)</c:v>
                  </c:pt>
                  <c:pt idx="574">
                    <c:v>Rolling Mean (30 Minute)</c:v>
                  </c:pt>
                  <c:pt idx="575">
                    <c:v>Rolling Mean (30 Minute)</c:v>
                  </c:pt>
                  <c:pt idx="576">
                    <c:v>Rolling Mean (30 Minute)</c:v>
                  </c:pt>
                  <c:pt idx="577">
                    <c:v>Rolling Mean (30 Minute)</c:v>
                  </c:pt>
                  <c:pt idx="578">
                    <c:v>Rolling Mean (30 Minute)</c:v>
                  </c:pt>
                  <c:pt idx="579">
                    <c:v>Rolling Mean (30 Minute)</c:v>
                  </c:pt>
                  <c:pt idx="580">
                    <c:v>Rolling Mean (30 Minute)</c:v>
                  </c:pt>
                  <c:pt idx="581">
                    <c:v>Rolling Mean (30 Minute)</c:v>
                  </c:pt>
                  <c:pt idx="582">
                    <c:v>Rolling Mean (30 Minute)</c:v>
                  </c:pt>
                  <c:pt idx="583">
                    <c:v>Rolling Mean (30 Minute)</c:v>
                  </c:pt>
                  <c:pt idx="584">
                    <c:v>Rolling Mean (30 Minute)</c:v>
                  </c:pt>
                  <c:pt idx="585">
                    <c:v>Rolling Mean (30 Minute)</c:v>
                  </c:pt>
                  <c:pt idx="586">
                    <c:v>Rolling Mean (30 Minute)</c:v>
                  </c:pt>
                  <c:pt idx="587">
                    <c:v>Rolling Mean (30 Minute)</c:v>
                  </c:pt>
                  <c:pt idx="588">
                    <c:v>Rolling Mean (30 Minute)</c:v>
                  </c:pt>
                  <c:pt idx="589">
                    <c:v>Rolling Mean (30 Minute)</c:v>
                  </c:pt>
                  <c:pt idx="590">
                    <c:v>Rolling Mean (30 Minute)</c:v>
                  </c:pt>
                  <c:pt idx="591">
                    <c:v>Rolling Mean (30 Minute)</c:v>
                  </c:pt>
                  <c:pt idx="592">
                    <c:v>Rolling Mean (30 Minute)</c:v>
                  </c:pt>
                  <c:pt idx="593">
                    <c:v>Rolling Mean (30 Minute)</c:v>
                  </c:pt>
                  <c:pt idx="594">
                    <c:v>Rolling Mean (30 Minute)</c:v>
                  </c:pt>
                  <c:pt idx="595">
                    <c:v>Rolling Mean (30 Minute)</c:v>
                  </c:pt>
                  <c:pt idx="596">
                    <c:v>Rolling Mean (30 Minute)</c:v>
                  </c:pt>
                  <c:pt idx="597">
                    <c:v>Rolling Mean (30 Minute)</c:v>
                  </c:pt>
                  <c:pt idx="598">
                    <c:v>Rolling Mean (30 Minute)</c:v>
                  </c:pt>
                  <c:pt idx="599">
                    <c:v>Rolling Mean (30 Minute)</c:v>
                  </c:pt>
                  <c:pt idx="600">
                    <c:v>Rolling Mean (30 Minute)</c:v>
                  </c:pt>
                  <c:pt idx="601">
                    <c:v>Rolling Mean (30 Minute)</c:v>
                  </c:pt>
                  <c:pt idx="602">
                    <c:v>Rolling Mean (30 Minute)</c:v>
                  </c:pt>
                  <c:pt idx="603">
                    <c:v>Rolling Mean (30 Minute)</c:v>
                  </c:pt>
                  <c:pt idx="604">
                    <c:v>Rolling Mean (30 Minute)</c:v>
                  </c:pt>
                  <c:pt idx="605">
                    <c:v>Rolling Mean (30 Minute)</c:v>
                  </c:pt>
                  <c:pt idx="606">
                    <c:v>Rolling Mean (30 Minute)</c:v>
                  </c:pt>
                  <c:pt idx="607">
                    <c:v>Rolling Mean (30 Minute)</c:v>
                  </c:pt>
                  <c:pt idx="608">
                    <c:v>Rolling Mean (30 Minute)</c:v>
                  </c:pt>
                  <c:pt idx="609">
                    <c:v>Rolling Mean (30 Minute)</c:v>
                  </c:pt>
                  <c:pt idx="610">
                    <c:v>Rolling Mean (30 Minute)</c:v>
                  </c:pt>
                  <c:pt idx="611">
                    <c:v>Rolling Mean (30 Minute)</c:v>
                  </c:pt>
                  <c:pt idx="612">
                    <c:v>Rolling Mean (30 Minute)</c:v>
                  </c:pt>
                  <c:pt idx="613">
                    <c:v>Rolling Mean (30 Minute)</c:v>
                  </c:pt>
                  <c:pt idx="614">
                    <c:v>Rolling Mean (30 Minute)</c:v>
                  </c:pt>
                  <c:pt idx="615">
                    <c:v>Rolling Mean (30 Minute)</c:v>
                  </c:pt>
                  <c:pt idx="616">
                    <c:v>Rolling Mean (30 Minute)</c:v>
                  </c:pt>
                  <c:pt idx="617">
                    <c:v>Rolling Mean (30 Minute)</c:v>
                  </c:pt>
                  <c:pt idx="618">
                    <c:v>Rolling Mean (30 Minute)</c:v>
                  </c:pt>
                  <c:pt idx="619">
                    <c:v>Rolling Mean (30 Minute)</c:v>
                  </c:pt>
                  <c:pt idx="620">
                    <c:v>Rolling Mean (30 Minute)</c:v>
                  </c:pt>
                  <c:pt idx="621">
                    <c:v>Rolling Mean (30 Minute)</c:v>
                  </c:pt>
                  <c:pt idx="622">
                    <c:v>Rolling Mean (30 Minute)</c:v>
                  </c:pt>
                  <c:pt idx="623">
                    <c:v>Rolling Mean (30 Minute)</c:v>
                  </c:pt>
                  <c:pt idx="624">
                    <c:v>Rolling Mean (30 Minute)</c:v>
                  </c:pt>
                  <c:pt idx="625">
                    <c:v>Rolling Mean (30 Minute)</c:v>
                  </c:pt>
                  <c:pt idx="626">
                    <c:v>Rolling Mean (30 Minute)</c:v>
                  </c:pt>
                  <c:pt idx="627">
                    <c:v>Rolling Mean (30 Minute)</c:v>
                  </c:pt>
                  <c:pt idx="628">
                    <c:v>Rolling Mean (30 Minute)</c:v>
                  </c:pt>
                  <c:pt idx="629">
                    <c:v>Rolling Mean (30 Minute)</c:v>
                  </c:pt>
                  <c:pt idx="630">
                    <c:v>Rolling Mean (30 Minute)</c:v>
                  </c:pt>
                  <c:pt idx="631">
                    <c:v>Rolling Mean (30 Minute)</c:v>
                  </c:pt>
                  <c:pt idx="632">
                    <c:v>Rolling Mean (30 Minute)</c:v>
                  </c:pt>
                  <c:pt idx="633">
                    <c:v>Rolling Mean (30 Minute)</c:v>
                  </c:pt>
                  <c:pt idx="634">
                    <c:v>Rolling Mean (30 Minute)</c:v>
                  </c:pt>
                  <c:pt idx="635">
                    <c:v>Rolling Mean (30 Minute)</c:v>
                  </c:pt>
                  <c:pt idx="636">
                    <c:v>Rolling Mean (30 Minute)</c:v>
                  </c:pt>
                  <c:pt idx="637">
                    <c:v>Rolling Mean (30 Minute)</c:v>
                  </c:pt>
                  <c:pt idx="638">
                    <c:v>Rolling Mean (30 Minute)</c:v>
                  </c:pt>
                  <c:pt idx="639">
                    <c:v>Rolling Mean (30 Minute)</c:v>
                  </c:pt>
                  <c:pt idx="640">
                    <c:v>Rolling Mean (30 Minute)</c:v>
                  </c:pt>
                  <c:pt idx="641">
                    <c:v>Rolling Mean (30 Minute)</c:v>
                  </c:pt>
                  <c:pt idx="642">
                    <c:v>Rolling Mean (30 Minute)</c:v>
                  </c:pt>
                  <c:pt idx="643">
                    <c:v>Rolling Mean (30 Minute)</c:v>
                  </c:pt>
                  <c:pt idx="644">
                    <c:v>Rolling Mean (30 Minute)</c:v>
                  </c:pt>
                  <c:pt idx="645">
                    <c:v>Rolling Mean (30 Minute)</c:v>
                  </c:pt>
                  <c:pt idx="646">
                    <c:v>Rolling Mean (30 Minute)</c:v>
                  </c:pt>
                  <c:pt idx="647">
                    <c:v>Rolling Mean (30 Minute)</c:v>
                  </c:pt>
                  <c:pt idx="648">
                    <c:v>Rolling Mean (30 Minute)</c:v>
                  </c:pt>
                  <c:pt idx="649">
                    <c:v>Rolling Mean (30 Minute)</c:v>
                  </c:pt>
                  <c:pt idx="650">
                    <c:v>Rolling Mean (30 Minute)</c:v>
                  </c:pt>
                  <c:pt idx="651">
                    <c:v>Rolling Mean (30 Minute)</c:v>
                  </c:pt>
                  <c:pt idx="652">
                    <c:v>Rolling Mean (30 Minute)</c:v>
                  </c:pt>
                  <c:pt idx="653">
                    <c:v>Rolling Mean (30 Minute)</c:v>
                  </c:pt>
                  <c:pt idx="654">
                    <c:v>Rolling Mean (30 Minute)</c:v>
                  </c:pt>
                  <c:pt idx="655">
                    <c:v>Rolling Mean (30 Minute)</c:v>
                  </c:pt>
                  <c:pt idx="656">
                    <c:v>Rolling Mean (30 Minute)</c:v>
                  </c:pt>
                  <c:pt idx="657">
                    <c:v>Rolling Mean (30 Minute)</c:v>
                  </c:pt>
                  <c:pt idx="658">
                    <c:v>Rolling Mean (30 Minute)</c:v>
                  </c:pt>
                  <c:pt idx="659">
                    <c:v>Rolling Mean (30 Minute)</c:v>
                  </c:pt>
                  <c:pt idx="660">
                    <c:v>Rolling Mean (30 Minute)</c:v>
                  </c:pt>
                  <c:pt idx="661">
                    <c:v>Rolling Mean (30 Minute)</c:v>
                  </c:pt>
                  <c:pt idx="662">
                    <c:v>Rolling Mean (30 Minute)</c:v>
                  </c:pt>
                  <c:pt idx="663">
                    <c:v>Rolling Mean (30 Minute)</c:v>
                  </c:pt>
                  <c:pt idx="664">
                    <c:v>Rolling Mean (30 Minute)</c:v>
                  </c:pt>
                  <c:pt idx="665">
                    <c:v>Rolling Mean (30 Minute)</c:v>
                  </c:pt>
                  <c:pt idx="666">
                    <c:v>Rolling Mean (30 Minute)</c:v>
                  </c:pt>
                  <c:pt idx="667">
                    <c:v>Rolling Mean (30 Minute)</c:v>
                  </c:pt>
                  <c:pt idx="668">
                    <c:v>Rolling Mean (30 Minute)</c:v>
                  </c:pt>
                  <c:pt idx="669">
                    <c:v>Rolling Mean (30 Minute)</c:v>
                  </c:pt>
                  <c:pt idx="670">
                    <c:v>Rolling Mean (30 Minute)</c:v>
                  </c:pt>
                  <c:pt idx="671">
                    <c:v>Rolling Mean (30 Minute)</c:v>
                  </c:pt>
                  <c:pt idx="672">
                    <c:v>Rolling Mean (30 Minute)</c:v>
                  </c:pt>
                  <c:pt idx="673">
                    <c:v>Rolling Mean (30 Minute)</c:v>
                  </c:pt>
                  <c:pt idx="674">
                    <c:v>Rolling Mean (30 Minute)</c:v>
                  </c:pt>
                  <c:pt idx="675">
                    <c:v>Rolling Mean (30 Minute)</c:v>
                  </c:pt>
                  <c:pt idx="676">
                    <c:v>Rolling Mean (30 Minute)</c:v>
                  </c:pt>
                  <c:pt idx="677">
                    <c:v>Rolling Mean (30 Minute)</c:v>
                  </c:pt>
                  <c:pt idx="678">
                    <c:v>Rolling Mean (30 Minute)</c:v>
                  </c:pt>
                  <c:pt idx="679">
                    <c:v>Rolling Mean (30 Minute)</c:v>
                  </c:pt>
                  <c:pt idx="680">
                    <c:v>Rolling Mean (30 Minute)</c:v>
                  </c:pt>
                  <c:pt idx="681">
                    <c:v>Rolling Mean (30 Minute)</c:v>
                  </c:pt>
                  <c:pt idx="682">
                    <c:v>Rolling Mean (30 Minute)</c:v>
                  </c:pt>
                  <c:pt idx="683">
                    <c:v>Rolling Mean (30 Minute)</c:v>
                  </c:pt>
                  <c:pt idx="684">
                    <c:v>Rolling Mean (30 Minute)</c:v>
                  </c:pt>
                  <c:pt idx="685">
                    <c:v>Rolling Mean (30 Minute)</c:v>
                  </c:pt>
                  <c:pt idx="686">
                    <c:v>Rolling Mean (30 Minute)</c:v>
                  </c:pt>
                  <c:pt idx="687">
                    <c:v>Rolling Mean (30 Minute)</c:v>
                  </c:pt>
                  <c:pt idx="688">
                    <c:v>Rolling Mean (30 Minute)</c:v>
                  </c:pt>
                  <c:pt idx="689">
                    <c:v>Rolling Mean (30 Minute)</c:v>
                  </c:pt>
                  <c:pt idx="690">
                    <c:v>Rolling Mean (30 Minute)</c:v>
                  </c:pt>
                  <c:pt idx="691">
                    <c:v>Rolling Mean (30 Minute)</c:v>
                  </c:pt>
                  <c:pt idx="692">
                    <c:v>Rolling Mean (30 Minute)</c:v>
                  </c:pt>
                  <c:pt idx="693">
                    <c:v>Rolling Mean (30 Minute)</c:v>
                  </c:pt>
                  <c:pt idx="694">
                    <c:v>Rolling Mean (30 Minute)</c:v>
                  </c:pt>
                  <c:pt idx="695">
                    <c:v>Rolling Mean (30 Minute)</c:v>
                  </c:pt>
                  <c:pt idx="696">
                    <c:v>Rolling Mean (30 Minute)</c:v>
                  </c:pt>
                  <c:pt idx="697">
                    <c:v>Rolling Mean (30 Minute)</c:v>
                  </c:pt>
                  <c:pt idx="698">
                    <c:v>Rolling Mean (30 Minute)</c:v>
                  </c:pt>
                  <c:pt idx="699">
                    <c:v>Rolling Mean (30 Minute)</c:v>
                  </c:pt>
                  <c:pt idx="700">
                    <c:v>Rolling Mean (30 Minute)</c:v>
                  </c:pt>
                  <c:pt idx="701">
                    <c:v>Rolling Mean (30 Minute)</c:v>
                  </c:pt>
                  <c:pt idx="702">
                    <c:v>Rolling Mean (30 Minute)</c:v>
                  </c:pt>
                  <c:pt idx="703">
                    <c:v>Rolling Mean (30 Minute)</c:v>
                  </c:pt>
                  <c:pt idx="704">
                    <c:v>Rolling Mean (30 Minute)</c:v>
                  </c:pt>
                  <c:pt idx="705">
                    <c:v>Rolling Mean (30 Minute)</c:v>
                  </c:pt>
                  <c:pt idx="706">
                    <c:v>Rolling Mean (30 Minute)</c:v>
                  </c:pt>
                  <c:pt idx="707">
                    <c:v>Rolling Mean (30 Minute)</c:v>
                  </c:pt>
                  <c:pt idx="708">
                    <c:v>Rolling Mean (30 Minute)</c:v>
                  </c:pt>
                  <c:pt idx="709">
                    <c:v>Rolling Mean (30 Minute)</c:v>
                  </c:pt>
                  <c:pt idx="710">
                    <c:v>Rolling Mean (30 Minute)</c:v>
                  </c:pt>
                  <c:pt idx="711">
                    <c:v>Rolling Mean (30 Minute)</c:v>
                  </c:pt>
                  <c:pt idx="712">
                    <c:v>Rolling Mean (30 Minute)</c:v>
                  </c:pt>
                  <c:pt idx="713">
                    <c:v>Rolling Mean (30 Minute)</c:v>
                  </c:pt>
                  <c:pt idx="714">
                    <c:v>Rolling Mean (30 Minute)</c:v>
                  </c:pt>
                  <c:pt idx="715">
                    <c:v>Rolling Mean (30 Minute)</c:v>
                  </c:pt>
                  <c:pt idx="716">
                    <c:v>Rolling Mean (30 Minute)</c:v>
                  </c:pt>
                  <c:pt idx="717">
                    <c:v>Rolling Mean (30 Minute)</c:v>
                  </c:pt>
                  <c:pt idx="718">
                    <c:v>Rolling Mean (30 Minute)</c:v>
                  </c:pt>
                  <c:pt idx="719">
                    <c:v>Rolling Mean (30 Minute)</c:v>
                  </c:pt>
                  <c:pt idx="720">
                    <c:v>Rolling Mean (30 Minute)</c:v>
                  </c:pt>
                  <c:pt idx="721">
                    <c:v>Rolling Mean (30 Minute)</c:v>
                  </c:pt>
                  <c:pt idx="722">
                    <c:v>Rolling Mean (30 Minute)</c:v>
                  </c:pt>
                  <c:pt idx="723">
                    <c:v>Rolling Mean (30 Minute)</c:v>
                  </c:pt>
                  <c:pt idx="724">
                    <c:v>Rolling Mean (30 Minute)</c:v>
                  </c:pt>
                  <c:pt idx="725">
                    <c:v>Rolling Mean (30 Minute)</c:v>
                  </c:pt>
                  <c:pt idx="726">
                    <c:v>Rolling Mean (30 Minute)</c:v>
                  </c:pt>
                  <c:pt idx="727">
                    <c:v>Rolling Mean (30 Minute)</c:v>
                  </c:pt>
                  <c:pt idx="728">
                    <c:v>Rolling Mean (30 Minute)</c:v>
                  </c:pt>
                  <c:pt idx="729">
                    <c:v>Rolling Mean (30 Minute)</c:v>
                  </c:pt>
                  <c:pt idx="730">
                    <c:v>Rolling Mean (30 Minute)</c:v>
                  </c:pt>
                  <c:pt idx="731">
                    <c:v>Rolling Mean (30 Minute)</c:v>
                  </c:pt>
                  <c:pt idx="732">
                    <c:v>Rolling Mean (30 Minute)</c:v>
                  </c:pt>
                  <c:pt idx="733">
                    <c:v>Rolling Mean (30 Minute)</c:v>
                  </c:pt>
                  <c:pt idx="734">
                    <c:v>Rolling Mean (30 Minute)</c:v>
                  </c:pt>
                  <c:pt idx="735">
                    <c:v>Rolling Mean (30 Minute)</c:v>
                  </c:pt>
                  <c:pt idx="736">
                    <c:v>Rolling Mean (30 Minute)</c:v>
                  </c:pt>
                  <c:pt idx="737">
                    <c:v>Rolling Mean (30 Minute)</c:v>
                  </c:pt>
                  <c:pt idx="738">
                    <c:v>Rolling Mean (30 Minute)</c:v>
                  </c:pt>
                  <c:pt idx="739">
                    <c:v>Rolling Mean (30 Minute)</c:v>
                  </c:pt>
                  <c:pt idx="740">
                    <c:v>Rolling Mean (30 Minute)</c:v>
                  </c:pt>
                  <c:pt idx="741">
                    <c:v>Rolling Mean (30 Minute)</c:v>
                  </c:pt>
                  <c:pt idx="742">
                    <c:v>Rolling Mean (30 Minute)</c:v>
                  </c:pt>
                  <c:pt idx="743">
                    <c:v>Rolling Mean (30 Minute)</c:v>
                  </c:pt>
                  <c:pt idx="744">
                    <c:v>Rolling Mean (30 Minute)</c:v>
                  </c:pt>
                  <c:pt idx="745">
                    <c:v>Rolling Mean (30 Minute)</c:v>
                  </c:pt>
                  <c:pt idx="746">
                    <c:v>Rolling Mean (30 Minute)</c:v>
                  </c:pt>
                  <c:pt idx="747">
                    <c:v>Rolling Mean (30 Minute)</c:v>
                  </c:pt>
                  <c:pt idx="748">
                    <c:v>Rolling Mean (30 Minute)</c:v>
                  </c:pt>
                  <c:pt idx="749">
                    <c:v>Rolling Mean (30 Minute)</c:v>
                  </c:pt>
                  <c:pt idx="750">
                    <c:v>Rolling Mean (30 Minute)</c:v>
                  </c:pt>
                  <c:pt idx="751">
                    <c:v>Rolling Mean (30 Minute)</c:v>
                  </c:pt>
                  <c:pt idx="752">
                    <c:v>Rolling Mean (30 Minute)</c:v>
                  </c:pt>
                  <c:pt idx="753">
                    <c:v>Rolling Mean (30 Minute)</c:v>
                  </c:pt>
                  <c:pt idx="754">
                    <c:v>Rolling Mean (30 Minute)</c:v>
                  </c:pt>
                  <c:pt idx="755">
                    <c:v>Rolling Mean (30 Minute)</c:v>
                  </c:pt>
                  <c:pt idx="756">
                    <c:v>Rolling Mean (30 Minute)</c:v>
                  </c:pt>
                  <c:pt idx="757">
                    <c:v>Rolling Mean (30 Minute)</c:v>
                  </c:pt>
                  <c:pt idx="758">
                    <c:v>Rolling Mean (30 Minute)</c:v>
                  </c:pt>
                  <c:pt idx="759">
                    <c:v>Rolling Mean (30 Minute)</c:v>
                  </c:pt>
                  <c:pt idx="760">
                    <c:v>Rolling Mean (30 Minute)</c:v>
                  </c:pt>
                  <c:pt idx="761">
                    <c:v>Rolling Mean (30 Minute)</c:v>
                  </c:pt>
                  <c:pt idx="762">
                    <c:v>Rolling Mean (30 Minute)</c:v>
                  </c:pt>
                  <c:pt idx="763">
                    <c:v>Rolling Mean (30 Minute)</c:v>
                  </c:pt>
                  <c:pt idx="764">
                    <c:v>Rolling Mean (30 Minute)</c:v>
                  </c:pt>
                  <c:pt idx="765">
                    <c:v>Rolling Mean (30 Minute)</c:v>
                  </c:pt>
                  <c:pt idx="766">
                    <c:v>Rolling Mean (30 Minute)</c:v>
                  </c:pt>
                  <c:pt idx="767">
                    <c:v>Rolling Mean (30 Minute)</c:v>
                  </c:pt>
                  <c:pt idx="768">
                    <c:v>Rolling Mean (30 Minute)</c:v>
                  </c:pt>
                  <c:pt idx="769">
                    <c:v>Rolling Mean (30 Minute)</c:v>
                  </c:pt>
                  <c:pt idx="770">
                    <c:v>Rolling Mean (30 Minute)</c:v>
                  </c:pt>
                  <c:pt idx="771">
                    <c:v>Rolling Mean (30 Minute)</c:v>
                  </c:pt>
                  <c:pt idx="772">
                    <c:v>Rolling Mean (30 Minute)</c:v>
                  </c:pt>
                  <c:pt idx="773">
                    <c:v>Rolling Mean (30 Minute)</c:v>
                  </c:pt>
                  <c:pt idx="774">
                    <c:v>Rolling Mean (30 Minute)</c:v>
                  </c:pt>
                  <c:pt idx="775">
                    <c:v>Rolling Mean (30 Minute)</c:v>
                  </c:pt>
                  <c:pt idx="776">
                    <c:v>Rolling Mean (30 Minute)</c:v>
                  </c:pt>
                  <c:pt idx="777">
                    <c:v>Rolling Mean (30 Minute)</c:v>
                  </c:pt>
                  <c:pt idx="778">
                    <c:v>Rolling Mean (30 Minute)</c:v>
                  </c:pt>
                  <c:pt idx="779">
                    <c:v>Rolling Mean (30 Minute)</c:v>
                  </c:pt>
                  <c:pt idx="780">
                    <c:v>Rolling Mean (30 Minute)</c:v>
                  </c:pt>
                  <c:pt idx="781">
                    <c:v>Rolling Mean (30 Minute)</c:v>
                  </c:pt>
                  <c:pt idx="782">
                    <c:v>Rolling Mean (30 Minute)</c:v>
                  </c:pt>
                  <c:pt idx="783">
                    <c:v>Rolling Mean (30 Minute)</c:v>
                  </c:pt>
                  <c:pt idx="784">
                    <c:v>Rolling Mean (30 Minute)</c:v>
                  </c:pt>
                  <c:pt idx="785">
                    <c:v>Rolling Mean (30 Minute)</c:v>
                  </c:pt>
                  <c:pt idx="786">
                    <c:v>Rolling Mean (30 Minute)</c:v>
                  </c:pt>
                  <c:pt idx="787">
                    <c:v>Rolling Mean (30 Minute)</c:v>
                  </c:pt>
                  <c:pt idx="788">
                    <c:v>Rolling Mean (30 Minute)</c:v>
                  </c:pt>
                  <c:pt idx="789">
                    <c:v>Rolling Mean (30 Minute)</c:v>
                  </c:pt>
                  <c:pt idx="790">
                    <c:v>Rolling Mean (30 Minute)</c:v>
                  </c:pt>
                  <c:pt idx="791">
                    <c:v>Rolling Mean (30 Minute)</c:v>
                  </c:pt>
                  <c:pt idx="792">
                    <c:v>Rolling Mean (30 Minute)</c:v>
                  </c:pt>
                  <c:pt idx="793">
                    <c:v>Rolling Mean (30 Minute)</c:v>
                  </c:pt>
                  <c:pt idx="794">
                    <c:v>Rolling Mean (30 Minute)</c:v>
                  </c:pt>
                  <c:pt idx="795">
                    <c:v>Rolling Mean (30 Minute)</c:v>
                  </c:pt>
                  <c:pt idx="796">
                    <c:v>Rolling Mean (30 Minute)</c:v>
                  </c:pt>
                  <c:pt idx="797">
                    <c:v>Rolling Mean (30 Minute)</c:v>
                  </c:pt>
                  <c:pt idx="798">
                    <c:v>Rolling Mean (30 Minute)</c:v>
                  </c:pt>
                  <c:pt idx="799">
                    <c:v>Rolling Mean (30 Minute)</c:v>
                  </c:pt>
                  <c:pt idx="800">
                    <c:v>Rolling Mean (30 Minute)</c:v>
                  </c:pt>
                  <c:pt idx="801">
                    <c:v>Rolling Mean (30 Minute)</c:v>
                  </c:pt>
                  <c:pt idx="802">
                    <c:v>Rolling Mean (30 Minute)</c:v>
                  </c:pt>
                  <c:pt idx="803">
                    <c:v>Rolling Mean (30 Minute)</c:v>
                  </c:pt>
                  <c:pt idx="804">
                    <c:v>Rolling Mean (30 Minute)</c:v>
                  </c:pt>
                  <c:pt idx="805">
                    <c:v>Rolling Mean (30 Minute)</c:v>
                  </c:pt>
                  <c:pt idx="806">
                    <c:v>Rolling Mean (30 Minute)</c:v>
                  </c:pt>
                  <c:pt idx="807">
                    <c:v>Rolling Mean (30 Minute)</c:v>
                  </c:pt>
                  <c:pt idx="808">
                    <c:v>Rolling Mean (30 Minute)</c:v>
                  </c:pt>
                  <c:pt idx="809">
                    <c:v>Rolling Mean (30 Minute)</c:v>
                  </c:pt>
                  <c:pt idx="810">
                    <c:v>Rolling Mean (30 Minute)</c:v>
                  </c:pt>
                  <c:pt idx="811">
                    <c:v>Rolling Mean (30 Minute)</c:v>
                  </c:pt>
                  <c:pt idx="812">
                    <c:v>Rolling Mean (30 Minute)</c:v>
                  </c:pt>
                  <c:pt idx="813">
                    <c:v>Rolling Mean (30 Minute)</c:v>
                  </c:pt>
                  <c:pt idx="814">
                    <c:v>Rolling Mean (30 Minute)</c:v>
                  </c:pt>
                  <c:pt idx="815">
                    <c:v>Rolling Mean (30 Minute)</c:v>
                  </c:pt>
                  <c:pt idx="816">
                    <c:v>Rolling Mean (30 Minute)</c:v>
                  </c:pt>
                  <c:pt idx="817">
                    <c:v>Rolling Mean (30 Minute)</c:v>
                  </c:pt>
                  <c:pt idx="818">
                    <c:v>Rolling Mean (30 Minute)</c:v>
                  </c:pt>
                  <c:pt idx="819">
                    <c:v>Rolling Mean (30 Minute)</c:v>
                  </c:pt>
                  <c:pt idx="820">
                    <c:v>Rolling Mean (30 Minute)</c:v>
                  </c:pt>
                  <c:pt idx="821">
                    <c:v>Rolling Mean (30 Minute)</c:v>
                  </c:pt>
                  <c:pt idx="822">
                    <c:v>Rolling Mean (30 Minute)</c:v>
                  </c:pt>
                  <c:pt idx="823">
                    <c:v>Rolling Mean (30 Minute)</c:v>
                  </c:pt>
                  <c:pt idx="824">
                    <c:v>Rolling Mean (30 Minute)</c:v>
                  </c:pt>
                  <c:pt idx="825">
                    <c:v>Rolling Mean (30 Minute)</c:v>
                  </c:pt>
                  <c:pt idx="826">
                    <c:v>Rolling Mean (30 Minute)</c:v>
                  </c:pt>
                  <c:pt idx="827">
                    <c:v>Rolling Mean (30 Minute)</c:v>
                  </c:pt>
                  <c:pt idx="828">
                    <c:v>Rolling Mean (30 Minute)</c:v>
                  </c:pt>
                  <c:pt idx="829">
                    <c:v>Rolling Mean (30 Minute)</c:v>
                  </c:pt>
                  <c:pt idx="830">
                    <c:v>Rolling Mean (30 Minute)</c:v>
                  </c:pt>
                  <c:pt idx="831">
                    <c:v>Rolling Mean (30 Minute)</c:v>
                  </c:pt>
                  <c:pt idx="832">
                    <c:v>Rolling Mean (30 Minute)</c:v>
                  </c:pt>
                  <c:pt idx="833">
                    <c:v>Rolling Mean (30 Minute)</c:v>
                  </c:pt>
                  <c:pt idx="834">
                    <c:v>Rolling Mean (30 Minute)</c:v>
                  </c:pt>
                  <c:pt idx="835">
                    <c:v>Rolling Mean (30 Minute)</c:v>
                  </c:pt>
                  <c:pt idx="836">
                    <c:v>Rolling Mean (30 Minute)</c:v>
                  </c:pt>
                  <c:pt idx="837">
                    <c:v>Rolling Mean (30 Minute)</c:v>
                  </c:pt>
                  <c:pt idx="838">
                    <c:v>Rolling Mean (30 Minute)</c:v>
                  </c:pt>
                  <c:pt idx="839">
                    <c:v>Rolling Mean (30 Minute)</c:v>
                  </c:pt>
                  <c:pt idx="840">
                    <c:v>Rolling Mean (30 Minute)</c:v>
                  </c:pt>
                  <c:pt idx="841">
                    <c:v>Rolling Mean (30 Minute)</c:v>
                  </c:pt>
                  <c:pt idx="842">
                    <c:v>Rolling Mean (30 Minute)</c:v>
                  </c:pt>
                  <c:pt idx="843">
                    <c:v>Rolling Mean (30 Minute)</c:v>
                  </c:pt>
                  <c:pt idx="844">
                    <c:v>Rolling Mean (30 Minute)</c:v>
                  </c:pt>
                  <c:pt idx="845">
                    <c:v>Rolling Mean (30 Minute)</c:v>
                  </c:pt>
                  <c:pt idx="846">
                    <c:v>Rolling Mean (30 Minute)</c:v>
                  </c:pt>
                  <c:pt idx="847">
                    <c:v>Rolling Mean (30 Minute)</c:v>
                  </c:pt>
                  <c:pt idx="848">
                    <c:v>Rolling Mean (30 Minute)</c:v>
                  </c:pt>
                  <c:pt idx="849">
                    <c:v>Rolling Mean (30 Minute)</c:v>
                  </c:pt>
                  <c:pt idx="850">
                    <c:v>Rolling Mean (30 Minute)</c:v>
                  </c:pt>
                  <c:pt idx="851">
                    <c:v>Rolling Mean (30 Minute)</c:v>
                  </c:pt>
                  <c:pt idx="852">
                    <c:v>Rolling Mean (30 Minute)</c:v>
                  </c:pt>
                  <c:pt idx="853">
                    <c:v>Rolling Mean (30 Minute)</c:v>
                  </c:pt>
                  <c:pt idx="854">
                    <c:v>Rolling Mean (30 Minute)</c:v>
                  </c:pt>
                  <c:pt idx="855">
                    <c:v>Rolling Mean (30 Minute)</c:v>
                  </c:pt>
                  <c:pt idx="856">
                    <c:v>Rolling Mean (30 Minute)</c:v>
                  </c:pt>
                  <c:pt idx="857">
                    <c:v>Rolling Mean (30 Minute)</c:v>
                  </c:pt>
                  <c:pt idx="858">
                    <c:v>Rolling Mean (30 Minute)</c:v>
                  </c:pt>
                  <c:pt idx="859">
                    <c:v>Rolling Mean (30 Minute)</c:v>
                  </c:pt>
                  <c:pt idx="860">
                    <c:v>Rolling Mean (30 Minute)</c:v>
                  </c:pt>
                  <c:pt idx="861">
                    <c:v>Rolling Mean (30 Minute)</c:v>
                  </c:pt>
                  <c:pt idx="862">
                    <c:v>Rolling Mean (30 Minute)</c:v>
                  </c:pt>
                  <c:pt idx="863">
                    <c:v>Rolling Mean (30 Minute)</c:v>
                  </c:pt>
                  <c:pt idx="864">
                    <c:v>Rolling Mean (30 Minute)</c:v>
                  </c:pt>
                  <c:pt idx="865">
                    <c:v>Rolling Mean (30 Minute)</c:v>
                  </c:pt>
                  <c:pt idx="866">
                    <c:v>Rolling Mean (30 Minute)</c:v>
                  </c:pt>
                  <c:pt idx="867">
                    <c:v>Rolling Mean (30 Minute)</c:v>
                  </c:pt>
                  <c:pt idx="868">
                    <c:v>Rolling Mean (30 Minute)</c:v>
                  </c:pt>
                  <c:pt idx="869">
                    <c:v>Rolling Mean (30 Minute)</c:v>
                  </c:pt>
                  <c:pt idx="870">
                    <c:v>Rolling Mean (30 Minute)</c:v>
                  </c:pt>
                  <c:pt idx="871">
                    <c:v>Rolling Mean (30 Minute)</c:v>
                  </c:pt>
                  <c:pt idx="872">
                    <c:v>Rolling Mean (30 Minute)</c:v>
                  </c:pt>
                  <c:pt idx="873">
                    <c:v>Rolling Mean (30 Minute)</c:v>
                  </c:pt>
                  <c:pt idx="874">
                    <c:v>Rolling Mean (30 Minute)</c:v>
                  </c:pt>
                  <c:pt idx="875">
                    <c:v>Rolling Mean (30 Minute)</c:v>
                  </c:pt>
                  <c:pt idx="876">
                    <c:v>Rolling Mean (30 Minute)</c:v>
                  </c:pt>
                  <c:pt idx="877">
                    <c:v>Rolling Mean (30 Minute)</c:v>
                  </c:pt>
                  <c:pt idx="878">
                    <c:v>Rolling Mean (30 Minute)</c:v>
                  </c:pt>
                  <c:pt idx="879">
                    <c:v>Rolling Mean (30 Minute)</c:v>
                  </c:pt>
                  <c:pt idx="880">
                    <c:v>Rolling Mean (30 Minute)</c:v>
                  </c:pt>
                  <c:pt idx="881">
                    <c:v>Rolling Mean (30 Minute)</c:v>
                  </c:pt>
                  <c:pt idx="882">
                    <c:v>Rolling Mean (30 Minute)</c:v>
                  </c:pt>
                  <c:pt idx="883">
                    <c:v>Rolling Mean (30 Minute)</c:v>
                  </c:pt>
                  <c:pt idx="884">
                    <c:v>Rolling Mean (30 Minute)</c:v>
                  </c:pt>
                  <c:pt idx="885">
                    <c:v>Rolling Mean (30 Minute)</c:v>
                  </c:pt>
                  <c:pt idx="886">
                    <c:v>Rolling Mean (30 Minute)</c:v>
                  </c:pt>
                  <c:pt idx="887">
                    <c:v>Rolling Mean (30 Minute)</c:v>
                  </c:pt>
                  <c:pt idx="888">
                    <c:v>Rolling Mean (30 Minute)</c:v>
                  </c:pt>
                  <c:pt idx="889">
                    <c:v>Rolling Mean (30 Minute)</c:v>
                  </c:pt>
                  <c:pt idx="890">
                    <c:v>Rolling Mean (30 Minute)</c:v>
                  </c:pt>
                  <c:pt idx="891">
                    <c:v>Rolling Mean (30 Minute)</c:v>
                  </c:pt>
                  <c:pt idx="892">
                    <c:v>Rolling Mean (30 Minute)</c:v>
                  </c:pt>
                  <c:pt idx="893">
                    <c:v>Rolling Mean (30 Minute)</c:v>
                  </c:pt>
                  <c:pt idx="894">
                    <c:v>Rolling Mean (30 Minute)</c:v>
                  </c:pt>
                  <c:pt idx="895">
                    <c:v>Rolling Mean (30 Minute)</c:v>
                  </c:pt>
                  <c:pt idx="896">
                    <c:v>Rolling Mean (30 Minute)</c:v>
                  </c:pt>
                  <c:pt idx="897">
                    <c:v>Rolling Mean (30 Minute)</c:v>
                  </c:pt>
                  <c:pt idx="898">
                    <c:v>Rolling Mean (30 Minute)</c:v>
                  </c:pt>
                  <c:pt idx="899">
                    <c:v>Rolling Mean (30 Minute)</c:v>
                  </c:pt>
                  <c:pt idx="900">
                    <c:v>Rolling Mean (30 Minute)</c:v>
                  </c:pt>
                  <c:pt idx="901">
                    <c:v>Rolling Mean (30 Minute)</c:v>
                  </c:pt>
                  <c:pt idx="902">
                    <c:v>Rolling Mean (30 Minute)</c:v>
                  </c:pt>
                  <c:pt idx="903">
                    <c:v>Rolling Mean (30 Minute)</c:v>
                  </c:pt>
                  <c:pt idx="904">
                    <c:v>Rolling Mean (30 Minute)</c:v>
                  </c:pt>
                  <c:pt idx="905">
                    <c:v>Rolling Mean (30 Minute)</c:v>
                  </c:pt>
                  <c:pt idx="906">
                    <c:v>Rolling Mean (30 Minute)</c:v>
                  </c:pt>
                  <c:pt idx="907">
                    <c:v>Rolling Mean (30 Minute)</c:v>
                  </c:pt>
                  <c:pt idx="908">
                    <c:v>Rolling Mean (30 Minute)</c:v>
                  </c:pt>
                  <c:pt idx="909">
                    <c:v>Rolling Mean (30 Minute)</c:v>
                  </c:pt>
                  <c:pt idx="910">
                    <c:v>Rolling Mean (30 Minute)</c:v>
                  </c:pt>
                  <c:pt idx="911">
                    <c:v>Rolling Mean (30 Minute)</c:v>
                  </c:pt>
                  <c:pt idx="912">
                    <c:v>Rolling Mean (30 Minute)</c:v>
                  </c:pt>
                  <c:pt idx="913">
                    <c:v>Rolling Mean (30 Minute)</c:v>
                  </c:pt>
                  <c:pt idx="914">
                    <c:v>Rolling Mean (30 Minute)</c:v>
                  </c:pt>
                  <c:pt idx="915">
                    <c:v>Rolling Mean (30 Minute)</c:v>
                  </c:pt>
                  <c:pt idx="916">
                    <c:v>Rolling Mean (30 Minute)</c:v>
                  </c:pt>
                  <c:pt idx="917">
                    <c:v>Rolling Mean (30 Minute)</c:v>
                  </c:pt>
                  <c:pt idx="918">
                    <c:v>Rolling Mean (30 Minute)</c:v>
                  </c:pt>
                  <c:pt idx="919">
                    <c:v>Rolling Mean (30 Minute)</c:v>
                  </c:pt>
                  <c:pt idx="920">
                    <c:v>Rolling Mean (30 Minute)</c:v>
                  </c:pt>
                  <c:pt idx="921">
                    <c:v>Rolling Mean (30 Minute)</c:v>
                  </c:pt>
                  <c:pt idx="922">
                    <c:v>Rolling Mean (30 Minute)</c:v>
                  </c:pt>
                  <c:pt idx="923">
                    <c:v>Rolling Mean (30 Minute)</c:v>
                  </c:pt>
                  <c:pt idx="924">
                    <c:v>Rolling Mean (30 Minute)</c:v>
                  </c:pt>
                  <c:pt idx="925">
                    <c:v>Rolling Mean (30 Minute)</c:v>
                  </c:pt>
                  <c:pt idx="926">
                    <c:v>Rolling Mean (30 Minute)</c:v>
                  </c:pt>
                  <c:pt idx="927">
                    <c:v>Rolling Mean (30 Minute)</c:v>
                  </c:pt>
                  <c:pt idx="928">
                    <c:v>Rolling Mean (30 Minute)</c:v>
                  </c:pt>
                  <c:pt idx="929">
                    <c:v>Rolling Mean (30 Minute)</c:v>
                  </c:pt>
                  <c:pt idx="930">
                    <c:v>Rolling Mean (30 Minute)</c:v>
                  </c:pt>
                  <c:pt idx="931">
                    <c:v>Rolling Mean (30 Minute)</c:v>
                  </c:pt>
                  <c:pt idx="932">
                    <c:v>Rolling Mean (30 Minute)</c:v>
                  </c:pt>
                  <c:pt idx="933">
                    <c:v>Rolling Mean (30 Minute)</c:v>
                  </c:pt>
                  <c:pt idx="934">
                    <c:v>Rolling Mean (30 Minute)</c:v>
                  </c:pt>
                  <c:pt idx="935">
                    <c:v>Rolling Mean (30 Minute)</c:v>
                  </c:pt>
                  <c:pt idx="936">
                    <c:v>Rolling Mean (30 Minute)</c:v>
                  </c:pt>
                  <c:pt idx="937">
                    <c:v>Rolling Mean (30 Minute)</c:v>
                  </c:pt>
                  <c:pt idx="938">
                    <c:v>Rolling Mean (30 Minute)</c:v>
                  </c:pt>
                  <c:pt idx="939">
                    <c:v>Rolling Mean (30 Minute)</c:v>
                  </c:pt>
                  <c:pt idx="940">
                    <c:v>Rolling Mean (30 Minute)</c:v>
                  </c:pt>
                  <c:pt idx="941">
                    <c:v>Rolling Mean (30 Minute)</c:v>
                  </c:pt>
                  <c:pt idx="942">
                    <c:v>Rolling Mean (30 Minute)</c:v>
                  </c:pt>
                  <c:pt idx="943">
                    <c:v>Rolling Mean (30 Minute)</c:v>
                  </c:pt>
                  <c:pt idx="944">
                    <c:v>Rolling Mean (30 Minute)</c:v>
                  </c:pt>
                  <c:pt idx="945">
                    <c:v>Rolling Mean (30 Minute)</c:v>
                  </c:pt>
                  <c:pt idx="946">
                    <c:v>Rolling Mean (30 Minute)</c:v>
                  </c:pt>
                  <c:pt idx="947">
                    <c:v>Rolling Mean (30 Minute)</c:v>
                  </c:pt>
                  <c:pt idx="948">
                    <c:v>Rolling Mean (30 Minute)</c:v>
                  </c:pt>
                  <c:pt idx="949">
                    <c:v>Rolling Mean (30 Minute)</c:v>
                  </c:pt>
                  <c:pt idx="950">
                    <c:v>Rolling Mean (30 Minute)</c:v>
                  </c:pt>
                  <c:pt idx="951">
                    <c:v>Rolling Mean (30 Minute)</c:v>
                  </c:pt>
                  <c:pt idx="952">
                    <c:v>Rolling Mean (30 Minute)</c:v>
                  </c:pt>
                  <c:pt idx="953">
                    <c:v>Rolling Mean (30 Minute)</c:v>
                  </c:pt>
                  <c:pt idx="954">
                    <c:v>Rolling Mean (30 Minute)</c:v>
                  </c:pt>
                  <c:pt idx="955">
                    <c:v>Rolling Mean (30 Minute)</c:v>
                  </c:pt>
                  <c:pt idx="956">
                    <c:v>Rolling Mean (30 Minute)</c:v>
                  </c:pt>
                  <c:pt idx="957">
                    <c:v>Rolling Mean (30 Minute)</c:v>
                  </c:pt>
                  <c:pt idx="958">
                    <c:v>Rolling Mean (30 Minute)</c:v>
                  </c:pt>
                  <c:pt idx="959">
                    <c:v>Rolling Mean (30 Minute)</c:v>
                  </c:pt>
                  <c:pt idx="960">
                    <c:v>Rolling Mean (30 Minute)</c:v>
                  </c:pt>
                  <c:pt idx="961">
                    <c:v>Rolling Mean (30 Minute)</c:v>
                  </c:pt>
                  <c:pt idx="962">
                    <c:v>Rolling Mean (30 Minute)</c:v>
                  </c:pt>
                  <c:pt idx="963">
                    <c:v>Rolling Mean (30 Minute)</c:v>
                  </c:pt>
                  <c:pt idx="964">
                    <c:v>Rolling Mean (30 Minute)</c:v>
                  </c:pt>
                  <c:pt idx="965">
                    <c:v>Rolling Mean (30 Minute)</c:v>
                  </c:pt>
                  <c:pt idx="966">
                    <c:v>Rolling Mean (30 Minute)</c:v>
                  </c:pt>
                  <c:pt idx="967">
                    <c:v>Rolling Mean (30 Minute)</c:v>
                  </c:pt>
                  <c:pt idx="968">
                    <c:v>Rolling Mean (30 Minute)</c:v>
                  </c:pt>
                  <c:pt idx="969">
                    <c:v>Rolling Mean (30 Minute)</c:v>
                  </c:pt>
                  <c:pt idx="970">
                    <c:v>Rolling Mean (30 Minute)</c:v>
                  </c:pt>
                  <c:pt idx="971">
                    <c:v>Rolling Mean (30 Minute)</c:v>
                  </c:pt>
                  <c:pt idx="972">
                    <c:v>Rolling Mean (30 Minute)</c:v>
                  </c:pt>
                  <c:pt idx="973">
                    <c:v>Rolling Mean (30 Minute)</c:v>
                  </c:pt>
                  <c:pt idx="974">
                    <c:v>Rolling Mean (30 Minute)</c:v>
                  </c:pt>
                  <c:pt idx="975">
                    <c:v>Rolling Mean (30 Minute)</c:v>
                  </c:pt>
                  <c:pt idx="976">
                    <c:v>Rolling Mean (30 Minute)</c:v>
                  </c:pt>
                  <c:pt idx="977">
                    <c:v>Rolling Mean (30 Minute)</c:v>
                  </c:pt>
                  <c:pt idx="978">
                    <c:v>Rolling Mean (30 Minute)</c:v>
                  </c:pt>
                  <c:pt idx="979">
                    <c:v>Rolling Mean (30 Minute)</c:v>
                  </c:pt>
                  <c:pt idx="980">
                    <c:v>Rolling Mean (30 Minute)</c:v>
                  </c:pt>
                  <c:pt idx="981">
                    <c:v>Rolling Mean (30 Minute)</c:v>
                  </c:pt>
                  <c:pt idx="982">
                    <c:v>Rolling Mean (30 Minute)</c:v>
                  </c:pt>
                  <c:pt idx="983">
                    <c:v>Rolling Mean (30 Minute)</c:v>
                  </c:pt>
                  <c:pt idx="984">
                    <c:v>Rolling Mean (30 Minute)</c:v>
                  </c:pt>
                  <c:pt idx="985">
                    <c:v>Rolling Mean (30 Minute)</c:v>
                  </c:pt>
                  <c:pt idx="986">
                    <c:v>Rolling Mean (30 Minute)</c:v>
                  </c:pt>
                  <c:pt idx="987">
                    <c:v>Rolling Mean (30 Minute)</c:v>
                  </c:pt>
                  <c:pt idx="988">
                    <c:v>Rolling Mean (30 Minute)</c:v>
                  </c:pt>
                  <c:pt idx="989">
                    <c:v>Rolling Mean (30 Minute)</c:v>
                  </c:pt>
                  <c:pt idx="990">
                    <c:v>Rolling Mean (30 Minute)</c:v>
                  </c:pt>
                  <c:pt idx="991">
                    <c:v>Rolling Mean (30 Minute)</c:v>
                  </c:pt>
                  <c:pt idx="992">
                    <c:v>Rolling Mean (30 Minute)</c:v>
                  </c:pt>
                  <c:pt idx="993">
                    <c:v>Rolling Mean (30 Minute)</c:v>
                  </c:pt>
                  <c:pt idx="994">
                    <c:v>Rolling Mean (30 Minute)</c:v>
                  </c:pt>
                  <c:pt idx="995">
                    <c:v>Rolling Mean (30 Minute)</c:v>
                  </c:pt>
                  <c:pt idx="996">
                    <c:v>Rolling Mean (30 Minute)</c:v>
                  </c:pt>
                  <c:pt idx="997">
                    <c:v>Rolling Mean (30 Minute)</c:v>
                  </c:pt>
                  <c:pt idx="998">
                    <c:v>Rolling Mean (30 Minute)</c:v>
                  </c:pt>
                  <c:pt idx="999">
                    <c:v>Rolling Mean (30 Minute)</c:v>
                  </c:pt>
                  <c:pt idx="1000">
                    <c:v>Rolling Mean (30 Minute)</c:v>
                  </c:pt>
                  <c:pt idx="1001">
                    <c:v>Rolling Mean (30 Minute)</c:v>
                  </c:pt>
                  <c:pt idx="1002">
                    <c:v>Rolling Mean (30 Minute)</c:v>
                  </c:pt>
                  <c:pt idx="1003">
                    <c:v>Rolling Mean (30 Minute)</c:v>
                  </c:pt>
                  <c:pt idx="1004">
                    <c:v>Rolling Mean (30 Minute)</c:v>
                  </c:pt>
                  <c:pt idx="1005">
                    <c:v>Rolling Mean (30 Minute)</c:v>
                  </c:pt>
                  <c:pt idx="1006">
                    <c:v>Rolling Mean (30 Minute)</c:v>
                  </c:pt>
                  <c:pt idx="1007">
                    <c:v>Rolling Mean (30 Minute)</c:v>
                  </c:pt>
                  <c:pt idx="1008">
                    <c:v>Rolling Mean (30 Minute)</c:v>
                  </c:pt>
                  <c:pt idx="1009">
                    <c:v>Rolling Mean (30 Minute)</c:v>
                  </c:pt>
                  <c:pt idx="1010">
                    <c:v>Rolling Mean (30 Minute)</c:v>
                  </c:pt>
                  <c:pt idx="1011">
                    <c:v>Rolling Mean (30 Minute)</c:v>
                  </c:pt>
                  <c:pt idx="1012">
                    <c:v>Rolling Mean (30 Minute)</c:v>
                  </c:pt>
                  <c:pt idx="1013">
                    <c:v>Rolling Mean (30 Minute)</c:v>
                  </c:pt>
                  <c:pt idx="1014">
                    <c:v>Rolling Mean (30 Minute)</c:v>
                  </c:pt>
                  <c:pt idx="1015">
                    <c:v>Rolling Mean (30 Minute)</c:v>
                  </c:pt>
                  <c:pt idx="1016">
                    <c:v>Rolling Mean (30 Minute)</c:v>
                  </c:pt>
                  <c:pt idx="1017">
                    <c:v>Rolling Mean (30 Minute)</c:v>
                  </c:pt>
                  <c:pt idx="1018">
                    <c:v>Rolling Mean (30 Minute)</c:v>
                  </c:pt>
                  <c:pt idx="1019">
                    <c:v>Rolling Mean (30 Minute)</c:v>
                  </c:pt>
                  <c:pt idx="1020">
                    <c:v>Rolling Mean (30 Minute)</c:v>
                  </c:pt>
                  <c:pt idx="1021">
                    <c:v>Rolling Mean (30 Minute)</c:v>
                  </c:pt>
                  <c:pt idx="1022">
                    <c:v>Rolling Mean (30 Minute)</c:v>
                  </c:pt>
                  <c:pt idx="1023">
                    <c:v>Rolling Mean (30 Minute)</c:v>
                  </c:pt>
                  <c:pt idx="1024">
                    <c:v>Rolling Mean (30 Minute)</c:v>
                  </c:pt>
                  <c:pt idx="1025">
                    <c:v>Rolling Mean (30 Minute)</c:v>
                  </c:pt>
                  <c:pt idx="1026">
                    <c:v>Rolling Mean (30 Minute)</c:v>
                  </c:pt>
                  <c:pt idx="1027">
                    <c:v>Rolling Mean (30 Minute)</c:v>
                  </c:pt>
                  <c:pt idx="1028">
                    <c:v>Rolling Mean (30 Minute)</c:v>
                  </c:pt>
                  <c:pt idx="1029">
                    <c:v>Rolling Mean (30 Minute)</c:v>
                  </c:pt>
                  <c:pt idx="1030">
                    <c:v>Rolling Mean (30 Minute)</c:v>
                  </c:pt>
                  <c:pt idx="1031">
                    <c:v>Rolling Mean (30 Minute)</c:v>
                  </c:pt>
                  <c:pt idx="1032">
                    <c:v>Rolling Mean (30 Minute)</c:v>
                  </c:pt>
                  <c:pt idx="1033">
                    <c:v>Rolling Mean (30 Minute)</c:v>
                  </c:pt>
                  <c:pt idx="1034">
                    <c:v>Rolling Mean (30 Minute)</c:v>
                  </c:pt>
                  <c:pt idx="1035">
                    <c:v>Rolling Mean (30 Minute)</c:v>
                  </c:pt>
                  <c:pt idx="1036">
                    <c:v>Rolling Mean (30 Minute)</c:v>
                  </c:pt>
                  <c:pt idx="1037">
                    <c:v>Rolling Mean (30 Minute)</c:v>
                  </c:pt>
                  <c:pt idx="1038">
                    <c:v>Rolling Mean (30 Minute)</c:v>
                  </c:pt>
                  <c:pt idx="1039">
                    <c:v>Rolling Mean (30 Minute)</c:v>
                  </c:pt>
                  <c:pt idx="1040">
                    <c:v>Rolling Mean (30 Minute)</c:v>
                  </c:pt>
                  <c:pt idx="1041">
                    <c:v>Rolling Mean (30 Minute)</c:v>
                  </c:pt>
                  <c:pt idx="1042">
                    <c:v>Rolling Mean (30 Minute)</c:v>
                  </c:pt>
                  <c:pt idx="1043">
                    <c:v>Rolling Mean (30 Minute)</c:v>
                  </c:pt>
                  <c:pt idx="1044">
                    <c:v>Rolling Mean (30 Minute)</c:v>
                  </c:pt>
                  <c:pt idx="1045">
                    <c:v>Rolling Mean (30 Minute)</c:v>
                  </c:pt>
                  <c:pt idx="1046">
                    <c:v>Rolling Mean (30 Minute)</c:v>
                  </c:pt>
                  <c:pt idx="1047">
                    <c:v>Rolling Mean (30 Minute)</c:v>
                  </c:pt>
                  <c:pt idx="1048">
                    <c:v>Rolling Mean (30 Minute)</c:v>
                  </c:pt>
                  <c:pt idx="1049">
                    <c:v>Rolling Mean (30 Minute)</c:v>
                  </c:pt>
                  <c:pt idx="1050">
                    <c:v>Rolling Mean (30 Minute)</c:v>
                  </c:pt>
                  <c:pt idx="1051">
                    <c:v>Rolling Mean (30 Minute)</c:v>
                  </c:pt>
                  <c:pt idx="1052">
                    <c:v>Rolling Mean (30 Minute)</c:v>
                  </c:pt>
                  <c:pt idx="1053">
                    <c:v>Rolling Mean (30 Minute)</c:v>
                  </c:pt>
                  <c:pt idx="1054">
                    <c:v>Rolling Mean (30 Minute)</c:v>
                  </c:pt>
                  <c:pt idx="1055">
                    <c:v>Rolling Mean (30 Minute)</c:v>
                  </c:pt>
                  <c:pt idx="1056">
                    <c:v>Rolling Mean (30 Minute)</c:v>
                  </c:pt>
                  <c:pt idx="1057">
                    <c:v>Rolling Mean (30 Minute)</c:v>
                  </c:pt>
                  <c:pt idx="1058">
                    <c:v>Rolling Mean (30 Minute)</c:v>
                  </c:pt>
                  <c:pt idx="1059">
                    <c:v>Rolling Mean (30 Minute)</c:v>
                  </c:pt>
                  <c:pt idx="1060">
                    <c:v>Rolling Mean (30 Minute)</c:v>
                  </c:pt>
                  <c:pt idx="1061">
                    <c:v>Rolling Mean (30 Minute)</c:v>
                  </c:pt>
                  <c:pt idx="1062">
                    <c:v>Rolling Mean (30 Minute)</c:v>
                  </c:pt>
                  <c:pt idx="1063">
                    <c:v>Rolling Mean (30 Minute)</c:v>
                  </c:pt>
                  <c:pt idx="1064">
                    <c:v>Rolling Mean (30 Minute)</c:v>
                  </c:pt>
                  <c:pt idx="1065">
                    <c:v>Rolling Mean (30 Minute)</c:v>
                  </c:pt>
                  <c:pt idx="1066">
                    <c:v>Rolling Mean (30 Minute)</c:v>
                  </c:pt>
                  <c:pt idx="1067">
                    <c:v>Rolling Mean (30 Minute)</c:v>
                  </c:pt>
                  <c:pt idx="1068">
                    <c:v>Rolling Mean (30 Minute)</c:v>
                  </c:pt>
                  <c:pt idx="1069">
                    <c:v>Rolling Mean (30 Minute)</c:v>
                  </c:pt>
                  <c:pt idx="1070">
                    <c:v>Rolling Mean (30 Minute)</c:v>
                  </c:pt>
                  <c:pt idx="1071">
                    <c:v>Rolling Mean (30 Minute)</c:v>
                  </c:pt>
                  <c:pt idx="1072">
                    <c:v>Rolling Mean (30 Minute)</c:v>
                  </c:pt>
                  <c:pt idx="1073">
                    <c:v>Rolling Mean (30 Minute)</c:v>
                  </c:pt>
                  <c:pt idx="1074">
                    <c:v>Rolling Mean (30 Minute)</c:v>
                  </c:pt>
                  <c:pt idx="1075">
                    <c:v>Rolling Mean (30 Minute)</c:v>
                  </c:pt>
                  <c:pt idx="1076">
                    <c:v>Rolling Mean (30 Minute)</c:v>
                  </c:pt>
                  <c:pt idx="1077">
                    <c:v>Rolling Mean (30 Minute)</c:v>
                  </c:pt>
                  <c:pt idx="1078">
                    <c:v>Rolling Mean (30 Minute)</c:v>
                  </c:pt>
                  <c:pt idx="1079">
                    <c:v>Rolling Mean (30 Minute)</c:v>
                  </c:pt>
                  <c:pt idx="1080">
                    <c:v>Rolling Mean (30 Minute)</c:v>
                  </c:pt>
                  <c:pt idx="1081">
                    <c:v>Rolling Mean (30 Minute)</c:v>
                  </c:pt>
                  <c:pt idx="1082">
                    <c:v>Rolling Mean (30 Minute)</c:v>
                  </c:pt>
                  <c:pt idx="1083">
                    <c:v>Rolling Mean (30 Minute)</c:v>
                  </c:pt>
                  <c:pt idx="1084">
                    <c:v>Rolling Mean (30 Minute)</c:v>
                  </c:pt>
                  <c:pt idx="1085">
                    <c:v>Rolling Mean (30 Minute)</c:v>
                  </c:pt>
                  <c:pt idx="1086">
                    <c:v>Rolling Mean (30 Minute)</c:v>
                  </c:pt>
                  <c:pt idx="1087">
                    <c:v>Rolling Mean (30 Minute)</c:v>
                  </c:pt>
                  <c:pt idx="1088">
                    <c:v>Rolling Mean (30 Minute)</c:v>
                  </c:pt>
                  <c:pt idx="1089">
                    <c:v>Rolling Mean (30 Minute)</c:v>
                  </c:pt>
                  <c:pt idx="1090">
                    <c:v>Rolling Mean (30 Minute)</c:v>
                  </c:pt>
                  <c:pt idx="1091">
                    <c:v>Rolling Mean (30 Minute)</c:v>
                  </c:pt>
                  <c:pt idx="1092">
                    <c:v>Rolling Mean (30 Minute)</c:v>
                  </c:pt>
                  <c:pt idx="1093">
                    <c:v>Rolling Mean (30 Minute)</c:v>
                  </c:pt>
                  <c:pt idx="1094">
                    <c:v>Rolling Mean (30 Minute)</c:v>
                  </c:pt>
                  <c:pt idx="1095">
                    <c:v>Rolling Mean (30 Minute)</c:v>
                  </c:pt>
                  <c:pt idx="1096">
                    <c:v>Rolling Mean (30 Minute)</c:v>
                  </c:pt>
                  <c:pt idx="1097">
                    <c:v>Rolling Mean (30 Minute)</c:v>
                  </c:pt>
                  <c:pt idx="1098">
                    <c:v>Rolling Mean (30 Minute)</c:v>
                  </c:pt>
                  <c:pt idx="1099">
                    <c:v>Rolling Mean (30 Minute)</c:v>
                  </c:pt>
                  <c:pt idx="1100">
                    <c:v>Rolling Mean (30 Minute)</c:v>
                  </c:pt>
                  <c:pt idx="1101">
                    <c:v>Rolling Mean (30 Minute)</c:v>
                  </c:pt>
                  <c:pt idx="1102">
                    <c:v>Rolling Mean (30 Minute)</c:v>
                  </c:pt>
                  <c:pt idx="1103">
                    <c:v>Rolling Mean (30 Minute)</c:v>
                  </c:pt>
                  <c:pt idx="1104">
                    <c:v>Rolling Mean (30 Minute)</c:v>
                  </c:pt>
                  <c:pt idx="1105">
                    <c:v>Rolling Mean (30 Minute)</c:v>
                  </c:pt>
                  <c:pt idx="1106">
                    <c:v>Rolling Mean (30 Minute)</c:v>
                  </c:pt>
                  <c:pt idx="1107">
                    <c:v>Rolling Mean (30 Minute)</c:v>
                  </c:pt>
                  <c:pt idx="1108">
                    <c:v>Rolling Mean (30 Minute)</c:v>
                  </c:pt>
                  <c:pt idx="1109">
                    <c:v>Rolling Mean (30 Minute)</c:v>
                  </c:pt>
                  <c:pt idx="1110">
                    <c:v>Rolling Mean (30 Minute)</c:v>
                  </c:pt>
                  <c:pt idx="1111">
                    <c:v>Rolling Mean (30 Minute)</c:v>
                  </c:pt>
                  <c:pt idx="1112">
                    <c:v>Rolling Mean (30 Minute)</c:v>
                  </c:pt>
                  <c:pt idx="1113">
                    <c:v>Rolling Mean (30 Minute)</c:v>
                  </c:pt>
                  <c:pt idx="1114">
                    <c:v>Rolling Mean (30 Minute)</c:v>
                  </c:pt>
                  <c:pt idx="1115">
                    <c:v>Rolling Mean (30 Minute)</c:v>
                  </c:pt>
                  <c:pt idx="1116">
                    <c:v>Rolling Mean (30 Minute)</c:v>
                  </c:pt>
                  <c:pt idx="1117">
                    <c:v>Rolling Mean (30 Minute)</c:v>
                  </c:pt>
                  <c:pt idx="1118">
                    <c:v>Rolling Mean (30 Minute)</c:v>
                  </c:pt>
                  <c:pt idx="1119">
                    <c:v>Rolling Mean (30 Minute)</c:v>
                  </c:pt>
                  <c:pt idx="1120">
                    <c:v>Rolling Mean (30 Minute)</c:v>
                  </c:pt>
                  <c:pt idx="1121">
                    <c:v>Rolling Mean (30 Minute)</c:v>
                  </c:pt>
                  <c:pt idx="1122">
                    <c:v>Rolling Mean (30 Minute)</c:v>
                  </c:pt>
                  <c:pt idx="1123">
                    <c:v>Rolling Mean (30 Minute)</c:v>
                  </c:pt>
                  <c:pt idx="1124">
                    <c:v>Rolling Mean (30 Minute)</c:v>
                  </c:pt>
                  <c:pt idx="1125">
                    <c:v>Rolling Mean (30 Minute)</c:v>
                  </c:pt>
                  <c:pt idx="1126">
                    <c:v>Rolling Mean (30 Minute)</c:v>
                  </c:pt>
                  <c:pt idx="1127">
                    <c:v>Rolling Mean (30 Minute)</c:v>
                  </c:pt>
                  <c:pt idx="1128">
                    <c:v>Rolling Mean (30 Minute)</c:v>
                  </c:pt>
                  <c:pt idx="1129">
                    <c:v>Rolling Mean (30 Minute)</c:v>
                  </c:pt>
                  <c:pt idx="1130">
                    <c:v>Rolling Mean (30 Minute)</c:v>
                  </c:pt>
                  <c:pt idx="1131">
                    <c:v>Rolling Mean (30 Minute)</c:v>
                  </c:pt>
                  <c:pt idx="1132">
                    <c:v>Rolling Mean (30 Minute)</c:v>
                  </c:pt>
                  <c:pt idx="1133">
                    <c:v>Rolling Mean (30 Minute)</c:v>
                  </c:pt>
                  <c:pt idx="1134">
                    <c:v>Rolling Mean (30 Minute)</c:v>
                  </c:pt>
                  <c:pt idx="1135">
                    <c:v>Rolling Mean (30 Minute)</c:v>
                  </c:pt>
                  <c:pt idx="1136">
                    <c:v>Rolling Mean (30 Minute)</c:v>
                  </c:pt>
                  <c:pt idx="1137">
                    <c:v>Rolling Mean (30 Minute)</c:v>
                  </c:pt>
                  <c:pt idx="1138">
                    <c:v>Rolling Mean (30 Minute)</c:v>
                  </c:pt>
                  <c:pt idx="1139">
                    <c:v>Rolling Mean (30 Minute)</c:v>
                  </c:pt>
                  <c:pt idx="1140">
                    <c:v>Rolling Mean (30 Minute)</c:v>
                  </c:pt>
                  <c:pt idx="1141">
                    <c:v>Rolling Mean (30 Minute)</c:v>
                  </c:pt>
                  <c:pt idx="1142">
                    <c:v>Rolling Mean (30 Minute)</c:v>
                  </c:pt>
                  <c:pt idx="1143">
                    <c:v>Rolling Mean (30 Minute)</c:v>
                  </c:pt>
                  <c:pt idx="1144">
                    <c:v>Rolling Mean (30 Minute)</c:v>
                  </c:pt>
                  <c:pt idx="1145">
                    <c:v>Rolling Mean (30 Minute)</c:v>
                  </c:pt>
                  <c:pt idx="1146">
                    <c:v>Rolling Mean (30 Minute)</c:v>
                  </c:pt>
                  <c:pt idx="1147">
                    <c:v>Rolling Mean (30 Minute)</c:v>
                  </c:pt>
                  <c:pt idx="1148">
                    <c:v>Rolling Mean (30 Minute)</c:v>
                  </c:pt>
                  <c:pt idx="1149">
                    <c:v>Rolling Mean (30 Minute)</c:v>
                  </c:pt>
                  <c:pt idx="1150">
                    <c:v>Rolling Mean (30 Minute)</c:v>
                  </c:pt>
                  <c:pt idx="1151">
                    <c:v>Rolling Mean (30 Minute)</c:v>
                  </c:pt>
                  <c:pt idx="1152">
                    <c:v>Rolling Mean (30 Minute)</c:v>
                  </c:pt>
                  <c:pt idx="1153">
                    <c:v>Rolling Mean (30 Minute)</c:v>
                  </c:pt>
                  <c:pt idx="1154">
                    <c:v>Rolling Mean (30 Minute)</c:v>
                  </c:pt>
                  <c:pt idx="1155">
                    <c:v>Rolling Mean (30 Minute)</c:v>
                  </c:pt>
                  <c:pt idx="1156">
                    <c:v>Rolling Mean (30 Minute)</c:v>
                  </c:pt>
                  <c:pt idx="1157">
                    <c:v>Rolling Mean (30 Minute)</c:v>
                  </c:pt>
                  <c:pt idx="1158">
                    <c:v>Rolling Mean (30 Minute)</c:v>
                  </c:pt>
                  <c:pt idx="1159">
                    <c:v>Rolling Mean (30 Minute)</c:v>
                  </c:pt>
                  <c:pt idx="1160">
                    <c:v>Rolling Mean (30 Minute)</c:v>
                  </c:pt>
                  <c:pt idx="1161">
                    <c:v>Rolling Mean (30 Minute)</c:v>
                  </c:pt>
                  <c:pt idx="1162">
                    <c:v>Rolling Mean (30 Minute)</c:v>
                  </c:pt>
                  <c:pt idx="1163">
                    <c:v>Rolling Mean (30 Minute)</c:v>
                  </c:pt>
                  <c:pt idx="1164">
                    <c:v>Rolling Mean (30 Minute)</c:v>
                  </c:pt>
                  <c:pt idx="1165">
                    <c:v>Rolling Mean (30 Minute)</c:v>
                  </c:pt>
                  <c:pt idx="1166">
                    <c:v>Rolling Mean (30 Minute)</c:v>
                  </c:pt>
                  <c:pt idx="1167">
                    <c:v>Rolling Mean (30 Minute)</c:v>
                  </c:pt>
                  <c:pt idx="1168">
                    <c:v>Rolling Mean (30 Minute)</c:v>
                  </c:pt>
                  <c:pt idx="1169">
                    <c:v>Rolling Mean (30 Minute)</c:v>
                  </c:pt>
                  <c:pt idx="1170">
                    <c:v>Rolling Mean (30 Minute)</c:v>
                  </c:pt>
                  <c:pt idx="1171">
                    <c:v>Rolling Mean (30 Minute)</c:v>
                  </c:pt>
                  <c:pt idx="1172">
                    <c:v>Rolling Mean (30 Minute)</c:v>
                  </c:pt>
                  <c:pt idx="1173">
                    <c:v>Rolling Mean (30 Minute)</c:v>
                  </c:pt>
                  <c:pt idx="1174">
                    <c:v>Rolling Mean (30 Minute)</c:v>
                  </c:pt>
                  <c:pt idx="1175">
                    <c:v>Rolling Mean (30 Minute)</c:v>
                  </c:pt>
                  <c:pt idx="1176">
                    <c:v>Rolling Mean (30 Minute)</c:v>
                  </c:pt>
                  <c:pt idx="1177">
                    <c:v>Rolling Mean (30 Minute)</c:v>
                  </c:pt>
                  <c:pt idx="1178">
                    <c:v>Rolling Mean (30 Minute)</c:v>
                  </c:pt>
                  <c:pt idx="1179">
                    <c:v>Rolling Mean (30 Minute)</c:v>
                  </c:pt>
                  <c:pt idx="1180">
                    <c:v>Rolling Mean (30 Minute)</c:v>
                  </c:pt>
                  <c:pt idx="1181">
                    <c:v>Rolling Mean (30 Minute)</c:v>
                  </c:pt>
                  <c:pt idx="1182">
                    <c:v>Rolling Mean (30 Minute)</c:v>
                  </c:pt>
                  <c:pt idx="1183">
                    <c:v>Rolling Mean (30 Minute)</c:v>
                  </c:pt>
                  <c:pt idx="1184">
                    <c:v>Rolling Mean (30 Minute)</c:v>
                  </c:pt>
                  <c:pt idx="1185">
                    <c:v>Rolling Mean (30 Minute)</c:v>
                  </c:pt>
                  <c:pt idx="1186">
                    <c:v>Rolling Mean (30 Minute)</c:v>
                  </c:pt>
                  <c:pt idx="1187">
                    <c:v>Rolling Mean (30 Minute)</c:v>
                  </c:pt>
                  <c:pt idx="1188">
                    <c:v>Rolling Mean (30 Minute)</c:v>
                  </c:pt>
                  <c:pt idx="1189">
                    <c:v>Rolling Mean (30 Minute)</c:v>
                  </c:pt>
                  <c:pt idx="1190">
                    <c:v>Rolling Mean (30 Minute)</c:v>
                  </c:pt>
                  <c:pt idx="1191">
                    <c:v>Rolling Mean (30 Minute)</c:v>
                  </c:pt>
                  <c:pt idx="1192">
                    <c:v>Rolling Mean (30 Minute)</c:v>
                  </c:pt>
                  <c:pt idx="1193">
                    <c:v>Rolling Mean (30 Minute)</c:v>
                  </c:pt>
                  <c:pt idx="1194">
                    <c:v>Rolling Mean (30 Minute)</c:v>
                  </c:pt>
                  <c:pt idx="1195">
                    <c:v>Rolling Mean (30 Minute)</c:v>
                  </c:pt>
                  <c:pt idx="1196">
                    <c:v>Rolling Mean (30 Minute)</c:v>
                  </c:pt>
                  <c:pt idx="1197">
                    <c:v>Rolling Mean (30 Minute)</c:v>
                  </c:pt>
                  <c:pt idx="1198">
                    <c:v>Rolling Mean (30 Minute)</c:v>
                  </c:pt>
                  <c:pt idx="1199">
                    <c:v>Rolling Mean (30 Minute)</c:v>
                  </c:pt>
                  <c:pt idx="1200">
                    <c:v>Rolling Mean (30 Minute)</c:v>
                  </c:pt>
                  <c:pt idx="1201">
                    <c:v>Rolling Mean (30 Minute)</c:v>
                  </c:pt>
                  <c:pt idx="1202">
                    <c:v>Rolling Mean (30 Minute)</c:v>
                  </c:pt>
                  <c:pt idx="1203">
                    <c:v>Rolling Mean (30 Minute)</c:v>
                  </c:pt>
                  <c:pt idx="1204">
                    <c:v>Rolling Mean (30 Minute)</c:v>
                  </c:pt>
                  <c:pt idx="1205">
                    <c:v>Rolling Mean (30 Minute)</c:v>
                  </c:pt>
                  <c:pt idx="1206">
                    <c:v>Rolling Mean (30 Minute)</c:v>
                  </c:pt>
                  <c:pt idx="1207">
                    <c:v>Rolling Mean (30 Minute)</c:v>
                  </c:pt>
                  <c:pt idx="1208">
                    <c:v>Rolling Mean (30 Minute)</c:v>
                  </c:pt>
                  <c:pt idx="1209">
                    <c:v>Rolling Mean (30 Minute)</c:v>
                  </c:pt>
                  <c:pt idx="1210">
                    <c:v>Rolling Mean (30 Minute)</c:v>
                  </c:pt>
                  <c:pt idx="1211">
                    <c:v>Rolling Mean (30 Minute)</c:v>
                  </c:pt>
                  <c:pt idx="1212">
                    <c:v>Rolling Mean (30 Minute)</c:v>
                  </c:pt>
                  <c:pt idx="1213">
                    <c:v>Rolling Mean (30 Minute)</c:v>
                  </c:pt>
                  <c:pt idx="1214">
                    <c:v>Rolling Mean (30 Minute)</c:v>
                  </c:pt>
                  <c:pt idx="1215">
                    <c:v>Rolling Mean (30 Minute)</c:v>
                  </c:pt>
                  <c:pt idx="1216">
                    <c:v>Rolling Mean (30 Minute)</c:v>
                  </c:pt>
                  <c:pt idx="1217">
                    <c:v>Rolling Mean (30 Minute)</c:v>
                  </c:pt>
                  <c:pt idx="1218">
                    <c:v>Rolling Mean (30 Minute)</c:v>
                  </c:pt>
                  <c:pt idx="1219">
                    <c:v>Rolling Mean (30 Minute)</c:v>
                  </c:pt>
                  <c:pt idx="1220">
                    <c:v>Rolling Mean (30 Minute)</c:v>
                  </c:pt>
                  <c:pt idx="1221">
                    <c:v>Rolling Mean (30 Minute)</c:v>
                  </c:pt>
                  <c:pt idx="1222">
                    <c:v>Rolling Mean (30 Minute)</c:v>
                  </c:pt>
                  <c:pt idx="1223">
                    <c:v>Rolling Mean (30 Minute)</c:v>
                  </c:pt>
                  <c:pt idx="1224">
                    <c:v>Rolling Mean (30 Minute)</c:v>
                  </c:pt>
                  <c:pt idx="1225">
                    <c:v>Rolling Mean (30 Minute)</c:v>
                  </c:pt>
                  <c:pt idx="1226">
                    <c:v>Rolling Mean (30 Minute)</c:v>
                  </c:pt>
                  <c:pt idx="1227">
                    <c:v>Rolling Mean (30 Minute)</c:v>
                  </c:pt>
                  <c:pt idx="1228">
                    <c:v>Rolling Mean (30 Minute)</c:v>
                  </c:pt>
                  <c:pt idx="1229">
                    <c:v>Rolling Mean (30 Minute)</c:v>
                  </c:pt>
                  <c:pt idx="1230">
                    <c:v>Rolling Mean (30 Minute)</c:v>
                  </c:pt>
                  <c:pt idx="1231">
                    <c:v>Rolling Mean (30 Minute)</c:v>
                  </c:pt>
                  <c:pt idx="1232">
                    <c:v>Rolling Mean (30 Minute)</c:v>
                  </c:pt>
                  <c:pt idx="1233">
                    <c:v>Rolling Mean (30 Minute)</c:v>
                  </c:pt>
                  <c:pt idx="1234">
                    <c:v>Rolling Mean (30 Minute)</c:v>
                  </c:pt>
                  <c:pt idx="1235">
                    <c:v>Rolling Mean (30 Minute)</c:v>
                  </c:pt>
                  <c:pt idx="1236">
                    <c:v>Rolling Mean (30 Minute)</c:v>
                  </c:pt>
                  <c:pt idx="1237">
                    <c:v>Rolling Mean (30 Minute)</c:v>
                  </c:pt>
                  <c:pt idx="1238">
                    <c:v>Rolling Mean (30 Minute)</c:v>
                  </c:pt>
                  <c:pt idx="1239">
                    <c:v>Rolling Mean (30 Minute)</c:v>
                  </c:pt>
                  <c:pt idx="1240">
                    <c:v>Rolling Mean (30 Minute)</c:v>
                  </c:pt>
                  <c:pt idx="1241">
                    <c:v>Rolling Mean (30 Minute)</c:v>
                  </c:pt>
                  <c:pt idx="1242">
                    <c:v>Rolling Mean (30 Minute)</c:v>
                  </c:pt>
                  <c:pt idx="1243">
                    <c:v>Rolling Mean (30 Minute)</c:v>
                  </c:pt>
                  <c:pt idx="1244">
                    <c:v>Rolling Mean (30 Minute)</c:v>
                  </c:pt>
                  <c:pt idx="1245">
                    <c:v>Rolling Mean (30 Minute)</c:v>
                  </c:pt>
                  <c:pt idx="1246">
                    <c:v>Rolling Mean (30 Minute)</c:v>
                  </c:pt>
                  <c:pt idx="1247">
                    <c:v>Rolling Mean (30 Minute)</c:v>
                  </c:pt>
                  <c:pt idx="1248">
                    <c:v>Rolling Mean (30 Minute)</c:v>
                  </c:pt>
                  <c:pt idx="1249">
                    <c:v>Rolling Mean (30 Minute)</c:v>
                  </c:pt>
                  <c:pt idx="1250">
                    <c:v>Rolling Mean (30 Minute)</c:v>
                  </c:pt>
                  <c:pt idx="1251">
                    <c:v>Rolling Mean (30 Minute)</c:v>
                  </c:pt>
                  <c:pt idx="1252">
                    <c:v>Rolling Mean (30 Minute)</c:v>
                  </c:pt>
                  <c:pt idx="1253">
                    <c:v>Rolling Mean (30 Minute)</c:v>
                  </c:pt>
                  <c:pt idx="1254">
                    <c:v>Rolling Mean (30 Minute)</c:v>
                  </c:pt>
                  <c:pt idx="1255">
                    <c:v>Rolling Mean (30 Minute)</c:v>
                  </c:pt>
                  <c:pt idx="1256">
                    <c:v>Rolling Mean (30 Minute)</c:v>
                  </c:pt>
                  <c:pt idx="1257">
                    <c:v>Rolling Mean (30 Minute)</c:v>
                  </c:pt>
                  <c:pt idx="1258">
                    <c:v>Rolling Mean (30 Minute)</c:v>
                  </c:pt>
                  <c:pt idx="1259">
                    <c:v>Rolling Mean (30 Minute)</c:v>
                  </c:pt>
                  <c:pt idx="1260">
                    <c:v>Rolling Mean (30 Minute)</c:v>
                  </c:pt>
                  <c:pt idx="1261">
                    <c:v>Rolling Mean (30 Minute)</c:v>
                  </c:pt>
                  <c:pt idx="1262">
                    <c:v>Rolling Mean (30 Minute)</c:v>
                  </c:pt>
                  <c:pt idx="1263">
                    <c:v>Rolling Mean (30 Minute)</c:v>
                  </c:pt>
                  <c:pt idx="1264">
                    <c:v>Rolling Mean (30 Minute)</c:v>
                  </c:pt>
                  <c:pt idx="1265">
                    <c:v>Rolling Mean (30 Minute)</c:v>
                  </c:pt>
                  <c:pt idx="1266">
                    <c:v>Rolling Mean (30 Minute)</c:v>
                  </c:pt>
                  <c:pt idx="1267">
                    <c:v>Rolling Mean (30 Minute)</c:v>
                  </c:pt>
                  <c:pt idx="1268">
                    <c:v>Rolling Mean (30 Minute)</c:v>
                  </c:pt>
                  <c:pt idx="1269">
                    <c:v>Rolling Mean (30 Minute)</c:v>
                  </c:pt>
                  <c:pt idx="1270">
                    <c:v>Rolling Mean (30 Minute)</c:v>
                  </c:pt>
                  <c:pt idx="1271">
                    <c:v>Rolling Mean (30 Minute)</c:v>
                  </c:pt>
                  <c:pt idx="1272">
                    <c:v>Rolling Mean (30 Minute)</c:v>
                  </c:pt>
                  <c:pt idx="1273">
                    <c:v>Rolling Mean (30 Minute)</c:v>
                  </c:pt>
                  <c:pt idx="1274">
                    <c:v>Rolling Mean (30 Minute)</c:v>
                  </c:pt>
                  <c:pt idx="1275">
                    <c:v>Rolling Mean (30 Minute)</c:v>
                  </c:pt>
                  <c:pt idx="1276">
                    <c:v>Rolling Mean (30 Minute)</c:v>
                  </c:pt>
                  <c:pt idx="1277">
                    <c:v>Rolling Mean (30 Minute)</c:v>
                  </c:pt>
                  <c:pt idx="1278">
                    <c:v>Rolling Mean (30 Minute)</c:v>
                  </c:pt>
                  <c:pt idx="1279">
                    <c:v>Rolling Mean (30 Minute)</c:v>
                  </c:pt>
                  <c:pt idx="1280">
                    <c:v>Rolling Mean (30 Minute)</c:v>
                  </c:pt>
                  <c:pt idx="1281">
                    <c:v>Rolling Mean (30 Minute)</c:v>
                  </c:pt>
                  <c:pt idx="1282">
                    <c:v>Rolling Mean (30 Minute)</c:v>
                  </c:pt>
                  <c:pt idx="1283">
                    <c:v>Rolling Mean (30 Minute)</c:v>
                  </c:pt>
                  <c:pt idx="1284">
                    <c:v>Rolling Mean (30 Minute)</c:v>
                  </c:pt>
                  <c:pt idx="1285">
                    <c:v>Rolling Mean (30 Minute)</c:v>
                  </c:pt>
                  <c:pt idx="1286">
                    <c:v>Rolling Mean (30 Minute)</c:v>
                  </c:pt>
                  <c:pt idx="1287">
                    <c:v>Rolling Mean (30 Minute)</c:v>
                  </c:pt>
                  <c:pt idx="1288">
                    <c:v>Rolling Mean (30 Minute)</c:v>
                  </c:pt>
                  <c:pt idx="1289">
                    <c:v>Rolling Mean (30 Minute)</c:v>
                  </c:pt>
                  <c:pt idx="1290">
                    <c:v>Rolling Mean (30 Minute)</c:v>
                  </c:pt>
                  <c:pt idx="1291">
                    <c:v>Rolling Mean (30 Minute)</c:v>
                  </c:pt>
                  <c:pt idx="1292">
                    <c:v>Rolling Mean (30 Minute)</c:v>
                  </c:pt>
                  <c:pt idx="1293">
                    <c:v>Rolling Mean (30 Minute)</c:v>
                  </c:pt>
                  <c:pt idx="1294">
                    <c:v>Rolling Mean (30 Minute)</c:v>
                  </c:pt>
                  <c:pt idx="1295">
                    <c:v>Rolling Mean (30 Minute)</c:v>
                  </c:pt>
                  <c:pt idx="1296">
                    <c:v>Rolling Mean (30 Minute)</c:v>
                  </c:pt>
                  <c:pt idx="1297">
                    <c:v>Rolling Mean (30 Minute)</c:v>
                  </c:pt>
                  <c:pt idx="1298">
                    <c:v>Rolling Mean (30 Minute)</c:v>
                  </c:pt>
                  <c:pt idx="1299">
                    <c:v>Rolling Mean (30 Minute)</c:v>
                  </c:pt>
                  <c:pt idx="1300">
                    <c:v>Rolling Mean (30 Minute)</c:v>
                  </c:pt>
                  <c:pt idx="1301">
                    <c:v>Rolling Mean (30 Minute)</c:v>
                  </c:pt>
                  <c:pt idx="1302">
                    <c:v>Rolling Mean (30 Minute)</c:v>
                  </c:pt>
                  <c:pt idx="1303">
                    <c:v>Rolling Mean (30 Minute)</c:v>
                  </c:pt>
                  <c:pt idx="1304">
                    <c:v>Rolling Mean (30 Minute)</c:v>
                  </c:pt>
                  <c:pt idx="1305">
                    <c:v>Rolling Mean (30 Minute)</c:v>
                  </c:pt>
                  <c:pt idx="1306">
                    <c:v>Rolling Mean (30 Minute)</c:v>
                  </c:pt>
                  <c:pt idx="1307">
                    <c:v>Rolling Mean (30 Minute)</c:v>
                  </c:pt>
                  <c:pt idx="1308">
                    <c:v>Rolling Mean (30 Minute)</c:v>
                  </c:pt>
                  <c:pt idx="1309">
                    <c:v>Rolling Mean (30 Minute)</c:v>
                  </c:pt>
                  <c:pt idx="1310">
                    <c:v>Rolling Mean (30 Minute)</c:v>
                  </c:pt>
                  <c:pt idx="1311">
                    <c:v>Rolling Mean (30 Minute)</c:v>
                  </c:pt>
                  <c:pt idx="1312">
                    <c:v>Rolling Mean (30 Minute)</c:v>
                  </c:pt>
                  <c:pt idx="1313">
                    <c:v>Rolling Mean (30 Minute)</c:v>
                  </c:pt>
                  <c:pt idx="1314">
                    <c:v>Rolling Mean (30 Minute)</c:v>
                  </c:pt>
                  <c:pt idx="1315">
                    <c:v>Rolling Mean (30 Minute)</c:v>
                  </c:pt>
                  <c:pt idx="1316">
                    <c:v>Rolling Mean (30 Minute)</c:v>
                  </c:pt>
                  <c:pt idx="1317">
                    <c:v>Rolling Mean (30 Minute)</c:v>
                  </c:pt>
                  <c:pt idx="1318">
                    <c:v>Rolling Mean (30 Minute)</c:v>
                  </c:pt>
                  <c:pt idx="1319">
                    <c:v>Rolling Mean (30 Minute)</c:v>
                  </c:pt>
                  <c:pt idx="1320">
                    <c:v>Rolling Mean (30 Minute)</c:v>
                  </c:pt>
                  <c:pt idx="1321">
                    <c:v>Rolling Mean (30 Minute)</c:v>
                  </c:pt>
                  <c:pt idx="1322">
                    <c:v>Rolling Mean (30 Minute)</c:v>
                  </c:pt>
                  <c:pt idx="1323">
                    <c:v>Rolling Mean (30 Minute)</c:v>
                  </c:pt>
                  <c:pt idx="1324">
                    <c:v>Rolling Mean (30 Minute)</c:v>
                  </c:pt>
                  <c:pt idx="1325">
                    <c:v>Rolling Mean (30 Minute)</c:v>
                  </c:pt>
                  <c:pt idx="1326">
                    <c:v>Rolling Mean (30 Minute)</c:v>
                  </c:pt>
                  <c:pt idx="1327">
                    <c:v>Rolling Mean (30 Minute)</c:v>
                  </c:pt>
                  <c:pt idx="1328">
                    <c:v>Rolling Mean (30 Minute)</c:v>
                  </c:pt>
                  <c:pt idx="1329">
                    <c:v>Rolling Mean (30 Minute)</c:v>
                  </c:pt>
                  <c:pt idx="1330">
                    <c:v>Rolling Mean (30 Minute)</c:v>
                  </c:pt>
                  <c:pt idx="1331">
                    <c:v>Rolling Mean (30 Minute)</c:v>
                  </c:pt>
                  <c:pt idx="1332">
                    <c:v>Rolling Mean (30 Minute)</c:v>
                  </c:pt>
                  <c:pt idx="1333">
                    <c:v>Rolling Mean (30 Minute)</c:v>
                  </c:pt>
                  <c:pt idx="1334">
                    <c:v>Rolling Mean (30 Minute)</c:v>
                  </c:pt>
                  <c:pt idx="1335">
                    <c:v>Rolling Mean (30 Minute)</c:v>
                  </c:pt>
                  <c:pt idx="1336">
                    <c:v>Rolling Mean (30 Minute)</c:v>
                  </c:pt>
                  <c:pt idx="1337">
                    <c:v>Rolling Mean (30 Minute)</c:v>
                  </c:pt>
                  <c:pt idx="1338">
                    <c:v>Rolling Mean (30 Minute)</c:v>
                  </c:pt>
                  <c:pt idx="1339">
                    <c:v>Rolling Mean (30 Minute)</c:v>
                  </c:pt>
                  <c:pt idx="1340">
                    <c:v>Rolling Mean (30 Minute)</c:v>
                  </c:pt>
                  <c:pt idx="1341">
                    <c:v>Rolling Mean (30 Minute)</c:v>
                  </c:pt>
                  <c:pt idx="1342">
                    <c:v>Rolling Mean (30 Minute)</c:v>
                  </c:pt>
                  <c:pt idx="1343">
                    <c:v>Rolling Mean (30 Minute)</c:v>
                  </c:pt>
                  <c:pt idx="1344">
                    <c:v>Rolling Mean (30 Minute)</c:v>
                  </c:pt>
                  <c:pt idx="1345">
                    <c:v>Rolling Mean (30 Minute)</c:v>
                  </c:pt>
                  <c:pt idx="1346">
                    <c:v>Rolling Mean (30 Minute)</c:v>
                  </c:pt>
                  <c:pt idx="1347">
                    <c:v>Rolling Mean (30 Minute)</c:v>
                  </c:pt>
                  <c:pt idx="1348">
                    <c:v>Rolling Mean (30 Minute)</c:v>
                  </c:pt>
                  <c:pt idx="1349">
                    <c:v>Rolling Mean (30 Minute)</c:v>
                  </c:pt>
                  <c:pt idx="1350">
                    <c:v>Rolling Mean (30 Minute)</c:v>
                  </c:pt>
                  <c:pt idx="1351">
                    <c:v>Rolling Mean (30 Minute)</c:v>
                  </c:pt>
                  <c:pt idx="1352">
                    <c:v>Rolling Mean (30 Minute)</c:v>
                  </c:pt>
                  <c:pt idx="1353">
                    <c:v>Rolling Mean (30 Minute)</c:v>
                  </c:pt>
                  <c:pt idx="1354">
                    <c:v>Rolling Mean (30 Minute)</c:v>
                  </c:pt>
                  <c:pt idx="1355">
                    <c:v>Rolling Mean (30 Minute)</c:v>
                  </c:pt>
                  <c:pt idx="1356">
                    <c:v>Rolling Mean (30 Minute)</c:v>
                  </c:pt>
                  <c:pt idx="1357">
                    <c:v>Rolling Mean (30 Minute)</c:v>
                  </c:pt>
                  <c:pt idx="1358">
                    <c:v>Rolling Mean (30 Minute)</c:v>
                  </c:pt>
                  <c:pt idx="1359">
                    <c:v>Rolling Mean (30 Minute)</c:v>
                  </c:pt>
                  <c:pt idx="1360">
                    <c:v>Rolling Mean (30 Minute)</c:v>
                  </c:pt>
                  <c:pt idx="1361">
                    <c:v>Rolling Mean (30 Minute)</c:v>
                  </c:pt>
                  <c:pt idx="1362">
                    <c:v>Rolling Mean (30 Minute)</c:v>
                  </c:pt>
                  <c:pt idx="1363">
                    <c:v>Rolling Mean (30 Minute)</c:v>
                  </c:pt>
                  <c:pt idx="1364">
                    <c:v>Rolling Mean (30 Minute)</c:v>
                  </c:pt>
                  <c:pt idx="1365">
                    <c:v>Rolling Mean (30 Minute)</c:v>
                  </c:pt>
                  <c:pt idx="1366">
                    <c:v>Rolling Mean (30 Minute)</c:v>
                  </c:pt>
                  <c:pt idx="1367">
                    <c:v>Rolling Mean (30 Minute)</c:v>
                  </c:pt>
                  <c:pt idx="1368">
                    <c:v>Rolling Mean (30 Minute)</c:v>
                  </c:pt>
                  <c:pt idx="1369">
                    <c:v>Rolling Mean (30 Minute)</c:v>
                  </c:pt>
                  <c:pt idx="1370">
                    <c:v>Rolling Mean (30 Minute)</c:v>
                  </c:pt>
                  <c:pt idx="1371">
                    <c:v>Rolling Mean (30 Minute)</c:v>
                  </c:pt>
                  <c:pt idx="1372">
                    <c:v>Rolling Mean (30 Minute)</c:v>
                  </c:pt>
                  <c:pt idx="1373">
                    <c:v>Rolling Mean (30 Minute)</c:v>
                  </c:pt>
                  <c:pt idx="1374">
                    <c:v>Rolling Mean (30 Minute)</c:v>
                  </c:pt>
                  <c:pt idx="1375">
                    <c:v>Rolling Mean (30 Minute)</c:v>
                  </c:pt>
                  <c:pt idx="1376">
                    <c:v>Rolling Mean (30 Minute)</c:v>
                  </c:pt>
                  <c:pt idx="1377">
                    <c:v>Rolling Mean (30 Minute)</c:v>
                  </c:pt>
                  <c:pt idx="1378">
                    <c:v>Rolling Mean (30 Minute)</c:v>
                  </c:pt>
                  <c:pt idx="1379">
                    <c:v>Rolling Mean (30 Minute)</c:v>
                  </c:pt>
                  <c:pt idx="1380">
                    <c:v>Rolling Mean (30 Minute)</c:v>
                  </c:pt>
                  <c:pt idx="1381">
                    <c:v>Rolling Mean (30 Minute)</c:v>
                  </c:pt>
                  <c:pt idx="1382">
                    <c:v>Rolling Mean (30 Minute)</c:v>
                  </c:pt>
                  <c:pt idx="1383">
                    <c:v>Rolling Mean (30 Minute)</c:v>
                  </c:pt>
                  <c:pt idx="1384">
                    <c:v>Rolling Mean (30 Minute)</c:v>
                  </c:pt>
                  <c:pt idx="1385">
                    <c:v>Rolling Mean (30 Minute)</c:v>
                  </c:pt>
                  <c:pt idx="1386">
                    <c:v>Rolling Mean (30 Minute)</c:v>
                  </c:pt>
                  <c:pt idx="1387">
                    <c:v>Rolling Mean (30 Minute)</c:v>
                  </c:pt>
                  <c:pt idx="1388">
                    <c:v>Rolling Mean (30 Minute)</c:v>
                  </c:pt>
                  <c:pt idx="1389">
                    <c:v>Rolling Mean (30 Minute)</c:v>
                  </c:pt>
                  <c:pt idx="1390">
                    <c:v>Rolling Mean (30 Minute)</c:v>
                  </c:pt>
                  <c:pt idx="1391">
                    <c:v>Rolling Mean (30 Minute)</c:v>
                  </c:pt>
                  <c:pt idx="1392">
                    <c:v>Rolling Mean (30 Minute)</c:v>
                  </c:pt>
                  <c:pt idx="1393">
                    <c:v>Rolling Mean (30 Minute)</c:v>
                  </c:pt>
                  <c:pt idx="1394">
                    <c:v>Rolling Mean (30 Minute)</c:v>
                  </c:pt>
                  <c:pt idx="1395">
                    <c:v>Rolling Mean (30 Minute)</c:v>
                  </c:pt>
                  <c:pt idx="1396">
                    <c:v>Rolling Mean (30 Minute)</c:v>
                  </c:pt>
                  <c:pt idx="1397">
                    <c:v>Rolling Mean (30 Minute)</c:v>
                  </c:pt>
                  <c:pt idx="1398">
                    <c:v>Rolling Mean (30 Minute)</c:v>
                  </c:pt>
                  <c:pt idx="1399">
                    <c:v>Rolling Mean (30 Minute)</c:v>
                  </c:pt>
                  <c:pt idx="1400">
                    <c:v>Rolling Mean (30 Minute)</c:v>
                  </c:pt>
                  <c:pt idx="1401">
                    <c:v>Rolling Mean (30 Minute)</c:v>
                  </c:pt>
                  <c:pt idx="1402">
                    <c:v>Rolling Mean (30 Minute)</c:v>
                  </c:pt>
                  <c:pt idx="1403">
                    <c:v>Rolling Mean (30 Minute)</c:v>
                  </c:pt>
                  <c:pt idx="1404">
                    <c:v>Rolling Mean (30 Minute)</c:v>
                  </c:pt>
                  <c:pt idx="1405">
                    <c:v>Rolling Mean (30 Minute)</c:v>
                  </c:pt>
                  <c:pt idx="1406">
                    <c:v>Rolling Mean (30 Minute)</c:v>
                  </c:pt>
                  <c:pt idx="1407">
                    <c:v>Rolling Mean (30 Minute)</c:v>
                  </c:pt>
                  <c:pt idx="1408">
                    <c:v>Rolling Mean (30 Minute)</c:v>
                  </c:pt>
                  <c:pt idx="1409">
                    <c:v>Rolling Mean (30 Minute)</c:v>
                  </c:pt>
                  <c:pt idx="1410">
                    <c:v>Rolling Mean (30 Minute)</c:v>
                  </c:pt>
                  <c:pt idx="1411">
                    <c:v>Rolling Mean (30 Minute)</c:v>
                  </c:pt>
                  <c:pt idx="1412">
                    <c:v>Rolling Mean (30 Minute)</c:v>
                  </c:pt>
                  <c:pt idx="1413">
                    <c:v>Rolling Mean (30 Minute)</c:v>
                  </c:pt>
                  <c:pt idx="1414">
                    <c:v>Rolling Mean (30 Minute)</c:v>
                  </c:pt>
                  <c:pt idx="1415">
                    <c:v>Rolling Mean (30 Minute)</c:v>
                  </c:pt>
                  <c:pt idx="1416">
                    <c:v>Rolling Mean (30 Minute)</c:v>
                  </c:pt>
                  <c:pt idx="1417">
                    <c:v>Rolling Mean (30 Minute)</c:v>
                  </c:pt>
                  <c:pt idx="1418">
                    <c:v>Rolling Mean (30 Minute)</c:v>
                  </c:pt>
                  <c:pt idx="1419">
                    <c:v>Rolling Mean (30 Minute)</c:v>
                  </c:pt>
                  <c:pt idx="1420">
                    <c:v>Rolling Mean (30 Minute)</c:v>
                  </c:pt>
                  <c:pt idx="1421">
                    <c:v>Rolling Mean (30 Minute)</c:v>
                  </c:pt>
                  <c:pt idx="1422">
                    <c:v>Rolling Mean (30 Minute)</c:v>
                  </c:pt>
                  <c:pt idx="1423">
                    <c:v>Rolling Mean (30 Minute)</c:v>
                  </c:pt>
                  <c:pt idx="1424">
                    <c:v>Rolling Mean (30 Minute)</c:v>
                  </c:pt>
                  <c:pt idx="1425">
                    <c:v>Rolling Mean (30 Minute)</c:v>
                  </c:pt>
                  <c:pt idx="1426">
                    <c:v>Rolling Mean (30 Minute)</c:v>
                  </c:pt>
                  <c:pt idx="1427">
                    <c:v>Rolling Mean (30 Minute)</c:v>
                  </c:pt>
                  <c:pt idx="1428">
                    <c:v>Rolling Mean (30 Minute)</c:v>
                  </c:pt>
                  <c:pt idx="1429">
                    <c:v>Rolling Mean (30 Minute)</c:v>
                  </c:pt>
                  <c:pt idx="1430">
                    <c:v>Rolling Mean (30 Minute)</c:v>
                  </c:pt>
                  <c:pt idx="1431">
                    <c:v>Rolling Mean (30 Minute)</c:v>
                  </c:pt>
                  <c:pt idx="1432">
                    <c:v>Rolling Mean (30 Minute)</c:v>
                  </c:pt>
                  <c:pt idx="1433">
                    <c:v>Rolling Mean (30 Minute)</c:v>
                  </c:pt>
                  <c:pt idx="1434">
                    <c:v>Rolling Mean (30 Minute)</c:v>
                  </c:pt>
                  <c:pt idx="1435">
                    <c:v>Rolling Mean (30 Minute)</c:v>
                  </c:pt>
                  <c:pt idx="1436">
                    <c:v>Rolling Mean (30 Minute)</c:v>
                  </c:pt>
                  <c:pt idx="1437">
                    <c:v>Rolling Mean (30 Minute)</c:v>
                  </c:pt>
                  <c:pt idx="1438">
                    <c:v>Rolling Mean (30 Minute)</c:v>
                  </c:pt>
                  <c:pt idx="1439">
                    <c:v>Rolling Mean (30 Minute)</c:v>
                  </c:pt>
                  <c:pt idx="1440">
                    <c:v>Rolling Mean (30 Minute)</c:v>
                  </c:pt>
                  <c:pt idx="1441">
                    <c:v>Rolling Mean (30 Minute)</c:v>
                  </c:pt>
                  <c:pt idx="1442">
                    <c:v>Rolling Mean (30 Minute)</c:v>
                  </c:pt>
                  <c:pt idx="1443">
                    <c:v>Rolling Mean (30 Minute)</c:v>
                  </c:pt>
                  <c:pt idx="1444">
                    <c:v>Rolling Mean (30 Minute)</c:v>
                  </c:pt>
                  <c:pt idx="1445">
                    <c:v>Rolling Mean (30 Minute)</c:v>
                  </c:pt>
                  <c:pt idx="1446">
                    <c:v>Rolling Mean (30 Minute)</c:v>
                  </c:pt>
                  <c:pt idx="1447">
                    <c:v>Rolling Mean (30 Minute)</c:v>
                  </c:pt>
                  <c:pt idx="1448">
                    <c:v>Rolling Mean (30 Minute)</c:v>
                  </c:pt>
                  <c:pt idx="1449">
                    <c:v>Rolling Mean (30 Minute)</c:v>
                  </c:pt>
                  <c:pt idx="1450">
                    <c:v>Rolling Mean (30 Minute)</c:v>
                  </c:pt>
                  <c:pt idx="1451">
                    <c:v>Rolling Mean (30 Minute)</c:v>
                  </c:pt>
                  <c:pt idx="1452">
                    <c:v>Rolling Mean (30 Minute)</c:v>
                  </c:pt>
                  <c:pt idx="1453">
                    <c:v>Rolling Mean (30 Minute)</c:v>
                  </c:pt>
                  <c:pt idx="1454">
                    <c:v>Rolling Mean (30 Minute)</c:v>
                  </c:pt>
                  <c:pt idx="1455">
                    <c:v>Rolling Mean (30 Minute)</c:v>
                  </c:pt>
                  <c:pt idx="1456">
                    <c:v>Rolling Mean (30 Minute)</c:v>
                  </c:pt>
                  <c:pt idx="1457">
                    <c:v>Rolling Mean (30 Minute)</c:v>
                  </c:pt>
                  <c:pt idx="1458">
                    <c:v>Rolling Mean (30 Minute)</c:v>
                  </c:pt>
                  <c:pt idx="1459">
                    <c:v>Rolling Mean (30 Minute)</c:v>
                  </c:pt>
                  <c:pt idx="1460">
                    <c:v>Rolling Mean (30 Minute)</c:v>
                  </c:pt>
                  <c:pt idx="1461">
                    <c:v>Rolling Mean (30 Minute)</c:v>
                  </c:pt>
                  <c:pt idx="1462">
                    <c:v>Rolling Mean (30 Minute)</c:v>
                  </c:pt>
                  <c:pt idx="1463">
                    <c:v>Rolling Mean (30 Minute)</c:v>
                  </c:pt>
                  <c:pt idx="1464">
                    <c:v>Rolling Mean (30 Minute)</c:v>
                  </c:pt>
                  <c:pt idx="1465">
                    <c:v>Rolling Mean (30 Minute)</c:v>
                  </c:pt>
                  <c:pt idx="1466">
                    <c:v>Rolling Mean (30 Minute)</c:v>
                  </c:pt>
                  <c:pt idx="1467">
                    <c:v>Rolling Mean (30 Minute)</c:v>
                  </c:pt>
                  <c:pt idx="1468">
                    <c:v>Rolling Mean (30 Minute)</c:v>
                  </c:pt>
                  <c:pt idx="1469">
                    <c:v>Rolling Mean (30 Minute)</c:v>
                  </c:pt>
                  <c:pt idx="1470">
                    <c:v>Rolling Mean (30 Minute)</c:v>
                  </c:pt>
                  <c:pt idx="1471">
                    <c:v>Rolling Mean (30 Minute)</c:v>
                  </c:pt>
                  <c:pt idx="1472">
                    <c:v>Rolling Mean (30 Minute)</c:v>
                  </c:pt>
                  <c:pt idx="1473">
                    <c:v>Rolling Mean (30 Minute)</c:v>
                  </c:pt>
                  <c:pt idx="1474">
                    <c:v>Rolling Mean (30 Minute)</c:v>
                  </c:pt>
                  <c:pt idx="1475">
                    <c:v>Rolling Mean (30 Minute)</c:v>
                  </c:pt>
                  <c:pt idx="1476">
                    <c:v>Rolling Mean (30 Minute)</c:v>
                  </c:pt>
                  <c:pt idx="1477">
                    <c:v>Rolling Mean (30 Minute)</c:v>
                  </c:pt>
                  <c:pt idx="1478">
                    <c:v>Rolling Mean (30 Minute)</c:v>
                  </c:pt>
                  <c:pt idx="1479">
                    <c:v>Rolling Mean (30 Minute)</c:v>
                  </c:pt>
                  <c:pt idx="1480">
                    <c:v>Rolling Mean (30 Minute)</c:v>
                  </c:pt>
                  <c:pt idx="1481">
                    <c:v>Rolling Mean (30 Minute)</c:v>
                  </c:pt>
                  <c:pt idx="1482">
                    <c:v>Rolling Mean (30 Minute)</c:v>
                  </c:pt>
                  <c:pt idx="1483">
                    <c:v>Rolling Mean (30 Minute)</c:v>
                  </c:pt>
                  <c:pt idx="1484">
                    <c:v>Rolling Mean (30 Minute)</c:v>
                  </c:pt>
                  <c:pt idx="1485">
                    <c:v>Rolling Mean (30 Minute)</c:v>
                  </c:pt>
                  <c:pt idx="1486">
                    <c:v>Rolling Mean (30 Minute)</c:v>
                  </c:pt>
                  <c:pt idx="1487">
                    <c:v>Rolling Mean (30 Minute)</c:v>
                  </c:pt>
                  <c:pt idx="1488">
                    <c:v>Rolling Mean (30 Minute)</c:v>
                  </c:pt>
                  <c:pt idx="1489">
                    <c:v>Rolling Mean (30 Minute)</c:v>
                  </c:pt>
                  <c:pt idx="1490">
                    <c:v>Rolling Mean (30 Minute)</c:v>
                  </c:pt>
                  <c:pt idx="1491">
                    <c:v>Rolling Mean (30 Minute)</c:v>
                  </c:pt>
                  <c:pt idx="1492">
                    <c:v>Rolling Mean (30 Minute)</c:v>
                  </c:pt>
                  <c:pt idx="1493">
                    <c:v>Rolling Mean (30 Minute)</c:v>
                  </c:pt>
                  <c:pt idx="1494">
                    <c:v>Rolling Mean (30 Minute)</c:v>
                  </c:pt>
                  <c:pt idx="1495">
                    <c:v>Rolling Mean (30 Minute)</c:v>
                  </c:pt>
                  <c:pt idx="1496">
                    <c:v>Rolling Mean (30 Minute)</c:v>
                  </c:pt>
                  <c:pt idx="1497">
                    <c:v>Rolling Mean (30 Minute)</c:v>
                  </c:pt>
                  <c:pt idx="1498">
                    <c:v>Rolling Mean (30 Minute)</c:v>
                  </c:pt>
                  <c:pt idx="1499">
                    <c:v>Rolling Mean (30 Minute)</c:v>
                  </c:pt>
                  <c:pt idx="1500">
                    <c:v>Rolling Mean (30 Minute)</c:v>
                  </c:pt>
                  <c:pt idx="1501">
                    <c:v>Rolling Mean (30 Minute)</c:v>
                  </c:pt>
                  <c:pt idx="1502">
                    <c:v>Rolling Mean (30 Minute)</c:v>
                  </c:pt>
                  <c:pt idx="1503">
                    <c:v>Rolling Mean (30 Minute)</c:v>
                  </c:pt>
                  <c:pt idx="1504">
                    <c:v>Rolling Mean (30 Minute)</c:v>
                  </c:pt>
                  <c:pt idx="1505">
                    <c:v>Rolling Mean (30 Minute)</c:v>
                  </c:pt>
                  <c:pt idx="1506">
                    <c:v>Rolling Mean (30 Minute)</c:v>
                  </c:pt>
                  <c:pt idx="1507">
                    <c:v>Rolling Mean (30 Minute)</c:v>
                  </c:pt>
                  <c:pt idx="1508">
                    <c:v>Rolling Mean (30 Minute)</c:v>
                  </c:pt>
                  <c:pt idx="1509">
                    <c:v>Rolling Mean (30 Minute)</c:v>
                  </c:pt>
                  <c:pt idx="1510">
                    <c:v>Rolling Mean (30 Minute)</c:v>
                  </c:pt>
                  <c:pt idx="1511">
                    <c:v>Rolling Mean (30 Minute)</c:v>
                  </c:pt>
                  <c:pt idx="1512">
                    <c:v>Rolling Mean (30 Minute)</c:v>
                  </c:pt>
                  <c:pt idx="1513">
                    <c:v>Rolling Mean (30 Minute)</c:v>
                  </c:pt>
                  <c:pt idx="1514">
                    <c:v>Rolling Mean (30 Minute)</c:v>
                  </c:pt>
                  <c:pt idx="1515">
                    <c:v>Rolling Mean (30 Minute)</c:v>
                  </c:pt>
                  <c:pt idx="1516">
                    <c:v>Rolling Mean (30 Minute)</c:v>
                  </c:pt>
                  <c:pt idx="1517">
                    <c:v>Rolling Mean (30 Minute)</c:v>
                  </c:pt>
                  <c:pt idx="1518">
                    <c:v>Rolling Mean (30 Minute)</c:v>
                  </c:pt>
                  <c:pt idx="1519">
                    <c:v>Rolling Mean (30 Minute)</c:v>
                  </c:pt>
                  <c:pt idx="1520">
                    <c:v>Rolling Mean (30 Minute)</c:v>
                  </c:pt>
                  <c:pt idx="1521">
                    <c:v>Rolling Mean (30 Minute)</c:v>
                  </c:pt>
                  <c:pt idx="1522">
                    <c:v>Rolling Mean (30 Minute)</c:v>
                  </c:pt>
                  <c:pt idx="1523">
                    <c:v>Rolling Mean (30 Minute)</c:v>
                  </c:pt>
                  <c:pt idx="1524">
                    <c:v>Rolling Mean (30 Minute)</c:v>
                  </c:pt>
                  <c:pt idx="1525">
                    <c:v>Rolling Mean (30 Minute)</c:v>
                  </c:pt>
                  <c:pt idx="1526">
                    <c:v>Rolling Mean (30 Minute)</c:v>
                  </c:pt>
                  <c:pt idx="1527">
                    <c:v>Rolling Mean (30 Minute)</c:v>
                  </c:pt>
                  <c:pt idx="1528">
                    <c:v>Rolling Mean (30 Minute)</c:v>
                  </c:pt>
                  <c:pt idx="1529">
                    <c:v>Rolling Mean (30 Minute)</c:v>
                  </c:pt>
                  <c:pt idx="1530">
                    <c:v>Rolling Mean (30 Minute)</c:v>
                  </c:pt>
                  <c:pt idx="1531">
                    <c:v>Rolling Mean (30 Minute)</c:v>
                  </c:pt>
                  <c:pt idx="1532">
                    <c:v>Rolling Mean (30 Minute)</c:v>
                  </c:pt>
                  <c:pt idx="1533">
                    <c:v>Rolling Mean (30 Minute)</c:v>
                  </c:pt>
                  <c:pt idx="1534">
                    <c:v>Rolling Mean (30 Minute)</c:v>
                  </c:pt>
                  <c:pt idx="1535">
                    <c:v>Rolling Mean (30 Minute)</c:v>
                  </c:pt>
                  <c:pt idx="1536">
                    <c:v>Rolling Mean (30 Minute)</c:v>
                  </c:pt>
                  <c:pt idx="1537">
                    <c:v>Rolling Mean (30 Minute)</c:v>
                  </c:pt>
                  <c:pt idx="1538">
                    <c:v>Rolling Mean (30 Minute)</c:v>
                  </c:pt>
                  <c:pt idx="1539">
                    <c:v>Rolling Mean (30 Minute)</c:v>
                  </c:pt>
                  <c:pt idx="1540">
                    <c:v>Rolling Mean (30 Minute)</c:v>
                  </c:pt>
                  <c:pt idx="1541">
                    <c:v>Rolling Mean (30 Minute)</c:v>
                  </c:pt>
                  <c:pt idx="1542">
                    <c:v>Rolling Mean (30 Minute)</c:v>
                  </c:pt>
                  <c:pt idx="1543">
                    <c:v>Rolling Mean (30 Minute)</c:v>
                  </c:pt>
                  <c:pt idx="1544">
                    <c:v>Rolling Mean (30 Minute)</c:v>
                  </c:pt>
                  <c:pt idx="1545">
                    <c:v>Rolling Mean (30 Minute)</c:v>
                  </c:pt>
                  <c:pt idx="1546">
                    <c:v>Rolling Mean (30 Minute)</c:v>
                  </c:pt>
                  <c:pt idx="1547">
                    <c:v>Rolling Mean (30 Minute)</c:v>
                  </c:pt>
                  <c:pt idx="1548">
                    <c:v>Rolling Mean (30 Minute)</c:v>
                  </c:pt>
                  <c:pt idx="1549">
                    <c:v>Rolling Mean (30 Minute)</c:v>
                  </c:pt>
                  <c:pt idx="1550">
                    <c:v>Rolling Mean (30 Minute)</c:v>
                  </c:pt>
                  <c:pt idx="1551">
                    <c:v>Rolling Mean (30 Minute)</c:v>
                  </c:pt>
                  <c:pt idx="1552">
                    <c:v>Rolling Mean (30 Minute)</c:v>
                  </c:pt>
                  <c:pt idx="1553">
                    <c:v>Rolling Mean (30 Minute)</c:v>
                  </c:pt>
                  <c:pt idx="1554">
                    <c:v>Rolling Mean (30 Minute)</c:v>
                  </c:pt>
                  <c:pt idx="1555">
                    <c:v>Rolling Mean (30 Minute)</c:v>
                  </c:pt>
                  <c:pt idx="1556">
                    <c:v>Rolling Mean (30 Minute)</c:v>
                  </c:pt>
                  <c:pt idx="1557">
                    <c:v>Rolling Mean (30 Minute)</c:v>
                  </c:pt>
                  <c:pt idx="1558">
                    <c:v>Rolling Mean (30 Minute)</c:v>
                  </c:pt>
                  <c:pt idx="1559">
                    <c:v>Rolling Mean (30 Minute)</c:v>
                  </c:pt>
                  <c:pt idx="1560">
                    <c:v>Rolling Mean (30 Minute)</c:v>
                  </c:pt>
                  <c:pt idx="1561">
                    <c:v>Rolling Mean (30 Minute)</c:v>
                  </c:pt>
                  <c:pt idx="1562">
                    <c:v>Rolling Mean (30 Minute)</c:v>
                  </c:pt>
                  <c:pt idx="1563">
                    <c:v>Rolling Mean (30 Minute)</c:v>
                  </c:pt>
                  <c:pt idx="1564">
                    <c:v>Rolling Mean (30 Minute)</c:v>
                  </c:pt>
                  <c:pt idx="1565">
                    <c:v>Rolling Mean (30 Minute)</c:v>
                  </c:pt>
                  <c:pt idx="1566">
                    <c:v>Rolling Mean (30 Minute)</c:v>
                  </c:pt>
                  <c:pt idx="1567">
                    <c:v>Rolling Mean (30 Minute)</c:v>
                  </c:pt>
                  <c:pt idx="1568">
                    <c:v>Rolling Mean (30 Minute)</c:v>
                  </c:pt>
                  <c:pt idx="1569">
                    <c:v>Rolling Mean (30 Minute)</c:v>
                  </c:pt>
                  <c:pt idx="1570">
                    <c:v>Rolling Mean (30 Minute)</c:v>
                  </c:pt>
                  <c:pt idx="1571">
                    <c:v>Rolling Mean (30 Minute)</c:v>
                  </c:pt>
                  <c:pt idx="1572">
                    <c:v>Rolling Mean (30 Minute)</c:v>
                  </c:pt>
                  <c:pt idx="1573">
                    <c:v>Rolling Mean (30 Minute)</c:v>
                  </c:pt>
                  <c:pt idx="1574">
                    <c:v>Rolling Mean (30 Minute)</c:v>
                  </c:pt>
                  <c:pt idx="1575">
                    <c:v>Rolling Mean (30 Minute)</c:v>
                  </c:pt>
                  <c:pt idx="1576">
                    <c:v>Rolling Mean (30 Minute)</c:v>
                  </c:pt>
                  <c:pt idx="1577">
                    <c:v>Rolling Mean (30 Minute)</c:v>
                  </c:pt>
                  <c:pt idx="1578">
                    <c:v>Rolling Mean (30 Minute)</c:v>
                  </c:pt>
                  <c:pt idx="1579">
                    <c:v>Rolling Mean (30 Minute)</c:v>
                  </c:pt>
                  <c:pt idx="1580">
                    <c:v>Rolling Mean (30 Minute)</c:v>
                  </c:pt>
                  <c:pt idx="1581">
                    <c:v>Rolling Mean (30 Minute)</c:v>
                  </c:pt>
                  <c:pt idx="1582">
                    <c:v>Rolling Mean (30 Minute)</c:v>
                  </c:pt>
                  <c:pt idx="1583">
                    <c:v>Rolling Mean (30 Minute)</c:v>
                  </c:pt>
                  <c:pt idx="1584">
                    <c:v>Rolling Mean (30 Minute)</c:v>
                  </c:pt>
                  <c:pt idx="1585">
                    <c:v>Rolling Mean (30 Minute)</c:v>
                  </c:pt>
                  <c:pt idx="1586">
                    <c:v>Rolling Mean (30 Minute)</c:v>
                  </c:pt>
                  <c:pt idx="1587">
                    <c:v>Rolling Mean (30 Minute)</c:v>
                  </c:pt>
                  <c:pt idx="1588">
                    <c:v>Rolling Mean (30 Minute)</c:v>
                  </c:pt>
                  <c:pt idx="1589">
                    <c:v>Rolling Mean (30 Minute)</c:v>
                  </c:pt>
                  <c:pt idx="1590">
                    <c:v>Rolling Mean (30 Minute)</c:v>
                  </c:pt>
                  <c:pt idx="1591">
                    <c:v>Rolling Mean (30 Minute)</c:v>
                  </c:pt>
                  <c:pt idx="1592">
                    <c:v>Rolling Mean (30 Minute)</c:v>
                  </c:pt>
                  <c:pt idx="1593">
                    <c:v>Rolling Mean (30 Minute)</c:v>
                  </c:pt>
                  <c:pt idx="1594">
                    <c:v>Rolling Mean (30 Minute)</c:v>
                  </c:pt>
                  <c:pt idx="1595">
                    <c:v>Rolling Mean (30 Minute)</c:v>
                  </c:pt>
                  <c:pt idx="1596">
                    <c:v>Rolling Mean (30 Minute)</c:v>
                  </c:pt>
                  <c:pt idx="1597">
                    <c:v>Rolling Mean (30 Minute)</c:v>
                  </c:pt>
                  <c:pt idx="1598">
                    <c:v>Rolling Mean (30 Minute)</c:v>
                  </c:pt>
                  <c:pt idx="1599">
                    <c:v>Rolling Mean (30 Minute)</c:v>
                  </c:pt>
                  <c:pt idx="1600">
                    <c:v>Rolling Mean (30 Minute)</c:v>
                  </c:pt>
                  <c:pt idx="1601">
                    <c:v>Rolling Mean (30 Minute)</c:v>
                  </c:pt>
                  <c:pt idx="1602">
                    <c:v>Rolling Mean (30 Minute)</c:v>
                  </c:pt>
                  <c:pt idx="1603">
                    <c:v>Rolling Mean (30 Minute)</c:v>
                  </c:pt>
                  <c:pt idx="1604">
                    <c:v>Rolling Mean (30 Minute)</c:v>
                  </c:pt>
                  <c:pt idx="1605">
                    <c:v>Rolling Mean (30 Minute)</c:v>
                  </c:pt>
                  <c:pt idx="1606">
                    <c:v>Rolling Mean (30 Minute)</c:v>
                  </c:pt>
                  <c:pt idx="1607">
                    <c:v>Rolling Mean (30 Minute)</c:v>
                  </c:pt>
                  <c:pt idx="1608">
                    <c:v>Rolling Mean (30 Minute)</c:v>
                  </c:pt>
                  <c:pt idx="1609">
                    <c:v>Rolling Mean (30 Minute)</c:v>
                  </c:pt>
                  <c:pt idx="1610">
                    <c:v>Rolling Mean (30 Minute)</c:v>
                  </c:pt>
                  <c:pt idx="1611">
                    <c:v>Rolling Mean (30 Minute)</c:v>
                  </c:pt>
                  <c:pt idx="1612">
                    <c:v>Rolling Mean (30 Minute)</c:v>
                  </c:pt>
                  <c:pt idx="1613">
                    <c:v>Rolling Mean (30 Minute)</c:v>
                  </c:pt>
                  <c:pt idx="1614">
                    <c:v>Rolling Mean (30 Minute)</c:v>
                  </c:pt>
                  <c:pt idx="1615">
                    <c:v>Rolling Mean (30 Minute)</c:v>
                  </c:pt>
                  <c:pt idx="1616">
                    <c:v>Rolling Mean (30 Minute)</c:v>
                  </c:pt>
                  <c:pt idx="1617">
                    <c:v>Rolling Mean (30 Minute)</c:v>
                  </c:pt>
                  <c:pt idx="1618">
                    <c:v>Rolling Mean (30 Minute)</c:v>
                  </c:pt>
                  <c:pt idx="1619">
                    <c:v>Rolling Mean (30 Minute)</c:v>
                  </c:pt>
                  <c:pt idx="1620">
                    <c:v>Rolling Mean (30 Minute)</c:v>
                  </c:pt>
                  <c:pt idx="1621">
                    <c:v>Rolling Mean (30 Minute)</c:v>
                  </c:pt>
                  <c:pt idx="1622">
                    <c:v>Rolling Mean (30 Minute)</c:v>
                  </c:pt>
                  <c:pt idx="1623">
                    <c:v>Rolling Mean (30 Minute)</c:v>
                  </c:pt>
                  <c:pt idx="1624">
                    <c:v>Rolling Mean (30 Minute)</c:v>
                  </c:pt>
                  <c:pt idx="1625">
                    <c:v>Rolling Mean (30 Minute)</c:v>
                  </c:pt>
                  <c:pt idx="1626">
                    <c:v>Rolling Mean (30 Minute)</c:v>
                  </c:pt>
                  <c:pt idx="1627">
                    <c:v>Rolling Mean (30 Minute)</c:v>
                  </c:pt>
                  <c:pt idx="1628">
                    <c:v>Rolling Mean (30 Minute)</c:v>
                  </c:pt>
                  <c:pt idx="1629">
                    <c:v>Rolling Mean (30 Minute)</c:v>
                  </c:pt>
                  <c:pt idx="1630">
                    <c:v>Rolling Mean (30 Minute)</c:v>
                  </c:pt>
                  <c:pt idx="1631">
                    <c:v>Rolling Mean (30 Minute)</c:v>
                  </c:pt>
                  <c:pt idx="1632">
                    <c:v>Rolling Mean (30 Minute)</c:v>
                  </c:pt>
                  <c:pt idx="1633">
                    <c:v>Rolling Mean (30 Minute)</c:v>
                  </c:pt>
                  <c:pt idx="1634">
                    <c:v>Rolling Mean (30 Minute)</c:v>
                  </c:pt>
                  <c:pt idx="1635">
                    <c:v>Rolling Mean (30 Minute)</c:v>
                  </c:pt>
                  <c:pt idx="1636">
                    <c:v>Rolling Mean (30 Minute)</c:v>
                  </c:pt>
                  <c:pt idx="1637">
                    <c:v>Rolling Mean (30 Minute)</c:v>
                  </c:pt>
                  <c:pt idx="1638">
                    <c:v>Rolling Mean (30 Minute)</c:v>
                  </c:pt>
                  <c:pt idx="1639">
                    <c:v>Rolling Mean (30 Minute)</c:v>
                  </c:pt>
                  <c:pt idx="1640">
                    <c:v>Rolling Mean (30 Minute)</c:v>
                  </c:pt>
                  <c:pt idx="1641">
                    <c:v>Rolling Mean (30 Minute)</c:v>
                  </c:pt>
                  <c:pt idx="1642">
                    <c:v>Rolling Mean (30 Minute)</c:v>
                  </c:pt>
                  <c:pt idx="1643">
                    <c:v>Rolling Mean (30 Minute)</c:v>
                  </c:pt>
                  <c:pt idx="1644">
                    <c:v>Rolling Mean (30 Minute)</c:v>
                  </c:pt>
                  <c:pt idx="1645">
                    <c:v>Rolling Mean (30 Minute)</c:v>
                  </c:pt>
                  <c:pt idx="1646">
                    <c:v>Rolling Mean (30 Minute)</c:v>
                  </c:pt>
                  <c:pt idx="1647">
                    <c:v>Rolling Mean (30 Minute)</c:v>
                  </c:pt>
                  <c:pt idx="1648">
                    <c:v>Rolling Mean (30 Minute)</c:v>
                  </c:pt>
                  <c:pt idx="1649">
                    <c:v>Rolling Mean (30 Minute)</c:v>
                  </c:pt>
                  <c:pt idx="1650">
                    <c:v>Rolling Mean (30 Minute)</c:v>
                  </c:pt>
                  <c:pt idx="1651">
                    <c:v>Rolling Mean (30 Minute)</c:v>
                  </c:pt>
                  <c:pt idx="1652">
                    <c:v>Rolling Mean (30 Minute)</c:v>
                  </c:pt>
                  <c:pt idx="1653">
                    <c:v>Rolling Mean (30 Minute)</c:v>
                  </c:pt>
                  <c:pt idx="1654">
                    <c:v>Rolling Mean (30 Minute)</c:v>
                  </c:pt>
                  <c:pt idx="1655">
                    <c:v>Rolling Mean (30 Minute)</c:v>
                  </c:pt>
                  <c:pt idx="1656">
                    <c:v>Rolling Mean (30 Minute)</c:v>
                  </c:pt>
                  <c:pt idx="1657">
                    <c:v>Rolling Mean (30 Minute)</c:v>
                  </c:pt>
                  <c:pt idx="1658">
                    <c:v>Rolling Mean (30 Minute)</c:v>
                  </c:pt>
                  <c:pt idx="1659">
                    <c:v>Rolling Mean (30 Minute)</c:v>
                  </c:pt>
                  <c:pt idx="1660">
                    <c:v>Rolling Mean (30 Minute)</c:v>
                  </c:pt>
                  <c:pt idx="1661">
                    <c:v>Rolling Mean (30 Minute)</c:v>
                  </c:pt>
                  <c:pt idx="1662">
                    <c:v>Rolling Mean (30 Minute)</c:v>
                  </c:pt>
                  <c:pt idx="1663">
                    <c:v>Rolling Mean (30 Minute)</c:v>
                  </c:pt>
                  <c:pt idx="1664">
                    <c:v>Rolling Mean (30 Minute)</c:v>
                  </c:pt>
                  <c:pt idx="1665">
                    <c:v>Rolling Mean (30 Minute)</c:v>
                  </c:pt>
                  <c:pt idx="1666">
                    <c:v>Rolling Mean (30 Minute)</c:v>
                  </c:pt>
                  <c:pt idx="1667">
                    <c:v>Rolling Mean (30 Minute)</c:v>
                  </c:pt>
                  <c:pt idx="1668">
                    <c:v>Rolling Mean (30 Minute)</c:v>
                  </c:pt>
                  <c:pt idx="1669">
                    <c:v>Rolling Mean (30 Minute)</c:v>
                  </c:pt>
                  <c:pt idx="1670">
                    <c:v>Rolling Mean (30 Minute)</c:v>
                  </c:pt>
                  <c:pt idx="1671">
                    <c:v>Rolling Mean (30 Minute)</c:v>
                  </c:pt>
                  <c:pt idx="1672">
                    <c:v>Rolling Mean (30 Minute)</c:v>
                  </c:pt>
                  <c:pt idx="1673">
                    <c:v>Rolling Mean (30 Minute)</c:v>
                  </c:pt>
                  <c:pt idx="1674">
                    <c:v>Rolling Mean (30 Minute)</c:v>
                  </c:pt>
                  <c:pt idx="1675">
                    <c:v>Rolling Mean (30 Minute)</c:v>
                  </c:pt>
                  <c:pt idx="1676">
                    <c:v>Rolling Mean (30 Minute)</c:v>
                  </c:pt>
                  <c:pt idx="1677">
                    <c:v>Rolling Mean (30 Minute)</c:v>
                  </c:pt>
                  <c:pt idx="1678">
                    <c:v>Rolling Mean (30 Minute)</c:v>
                  </c:pt>
                  <c:pt idx="1679">
                    <c:v>Rolling Mean (30 Minute)</c:v>
                  </c:pt>
                  <c:pt idx="1680">
                    <c:v>Rolling Mean (30 Minute)</c:v>
                  </c:pt>
                  <c:pt idx="1681">
                    <c:v>Rolling Mean (30 Minute)</c:v>
                  </c:pt>
                  <c:pt idx="1682">
                    <c:v>Rolling Mean (30 Minute)</c:v>
                  </c:pt>
                  <c:pt idx="1683">
                    <c:v>Rolling Mean (30 Minute)</c:v>
                  </c:pt>
                  <c:pt idx="1684">
                    <c:v>Rolling Mean (30 Minute)</c:v>
                  </c:pt>
                  <c:pt idx="1685">
                    <c:v>Rolling Mean (30 Minute)</c:v>
                  </c:pt>
                  <c:pt idx="1686">
                    <c:v>Rolling Mean (30 Minute)</c:v>
                  </c:pt>
                  <c:pt idx="1687">
                    <c:v>Rolling Mean (30 Minute)</c:v>
                  </c:pt>
                  <c:pt idx="1688">
                    <c:v>Rolling Mean (30 Minute)</c:v>
                  </c:pt>
                  <c:pt idx="1689">
                    <c:v>Rolling Mean (30 Minute)</c:v>
                  </c:pt>
                  <c:pt idx="1690">
                    <c:v>Rolling Mean (30 Minute)</c:v>
                  </c:pt>
                  <c:pt idx="1691">
                    <c:v>Rolling Mean (30 Minute)</c:v>
                  </c:pt>
                  <c:pt idx="1692">
                    <c:v>Rolling Mean (30 Minute)</c:v>
                  </c:pt>
                  <c:pt idx="1693">
                    <c:v>Rolling Mean (30 Minute)</c:v>
                  </c:pt>
                  <c:pt idx="1694">
                    <c:v>Rolling Mean (30 Minute)</c:v>
                  </c:pt>
                  <c:pt idx="1695">
                    <c:v>Rolling Mean (30 Minute)</c:v>
                  </c:pt>
                  <c:pt idx="1696">
                    <c:v>Rolling Mean (30 Minute)</c:v>
                  </c:pt>
                  <c:pt idx="1697">
                    <c:v>Rolling Mean (30 Minute)</c:v>
                  </c:pt>
                  <c:pt idx="1698">
                    <c:v>Rolling Mean (30 Minute)</c:v>
                  </c:pt>
                  <c:pt idx="1699">
                    <c:v>Rolling Mean (30 Minute)</c:v>
                  </c:pt>
                  <c:pt idx="1700">
                    <c:v>Rolling Mean (30 Minute)</c:v>
                  </c:pt>
                  <c:pt idx="1701">
                    <c:v>Rolling Mean (30 Minute)</c:v>
                  </c:pt>
                  <c:pt idx="1702">
                    <c:v>Rolling Mean (30 Minute)</c:v>
                  </c:pt>
                  <c:pt idx="1703">
                    <c:v>Rolling Mean (30 Minute)</c:v>
                  </c:pt>
                  <c:pt idx="1704">
                    <c:v>Rolling Mean (30 Minute)</c:v>
                  </c:pt>
                  <c:pt idx="1705">
                    <c:v>Rolling Mean (30 Minute)</c:v>
                  </c:pt>
                  <c:pt idx="1706">
                    <c:v>Rolling Mean (30 Minute)</c:v>
                  </c:pt>
                  <c:pt idx="1707">
                    <c:v>Rolling Mean (30 Minute)</c:v>
                  </c:pt>
                  <c:pt idx="1708">
                    <c:v>Rolling Mean (30 Minute)</c:v>
                  </c:pt>
                  <c:pt idx="1709">
                    <c:v>Rolling Mean (30 Minute)</c:v>
                  </c:pt>
                  <c:pt idx="1710">
                    <c:v>Rolling Mean (30 Minute)</c:v>
                  </c:pt>
                  <c:pt idx="1711">
                    <c:v>Rolling Mean (30 Minute)</c:v>
                  </c:pt>
                  <c:pt idx="1712">
                    <c:v>Rolling Mean (30 Minute)</c:v>
                  </c:pt>
                  <c:pt idx="1713">
                    <c:v>Rolling Mean (30 Minute)</c:v>
                  </c:pt>
                  <c:pt idx="1714">
                    <c:v>Rolling Mean (30 Minute)</c:v>
                  </c:pt>
                  <c:pt idx="1715">
                    <c:v>Rolling Mean (30 Minute)</c:v>
                  </c:pt>
                  <c:pt idx="1716">
                    <c:v>Rolling Mean (30 Minute)</c:v>
                  </c:pt>
                  <c:pt idx="1717">
                    <c:v>Rolling Mean (30 Minute)</c:v>
                  </c:pt>
                  <c:pt idx="1718">
                    <c:v>Rolling Mean (30 Minute)</c:v>
                  </c:pt>
                  <c:pt idx="1719">
                    <c:v>Rolling Mean (30 Minute)</c:v>
                  </c:pt>
                  <c:pt idx="1720">
                    <c:v>Rolling Mean (30 Minute)</c:v>
                  </c:pt>
                  <c:pt idx="1721">
                    <c:v>Rolling Mean (30 Minute)</c:v>
                  </c:pt>
                  <c:pt idx="1722">
                    <c:v>Rolling Mean (30 Minute)</c:v>
                  </c:pt>
                  <c:pt idx="1723">
                    <c:v>Rolling Mean (30 Minute)</c:v>
                  </c:pt>
                  <c:pt idx="1724">
                    <c:v>Rolling Mean (30 Minute)</c:v>
                  </c:pt>
                  <c:pt idx="1725">
                    <c:v>Rolling Mean (30 Minute)</c:v>
                  </c:pt>
                  <c:pt idx="1726">
                    <c:v>Rolling Mean (30 Minute)</c:v>
                  </c:pt>
                  <c:pt idx="1727">
                    <c:v>Rolling Mean (30 Minute)</c:v>
                  </c:pt>
                  <c:pt idx="1728">
                    <c:v>Rolling Mean (30 Minute)</c:v>
                  </c:pt>
                  <c:pt idx="1729">
                    <c:v>Rolling Mean (30 Minute)</c:v>
                  </c:pt>
                  <c:pt idx="1730">
                    <c:v>Rolling Mean (30 Minute)</c:v>
                  </c:pt>
                  <c:pt idx="1731">
                    <c:v>Rolling Mean (30 Minute)</c:v>
                  </c:pt>
                  <c:pt idx="1732">
                    <c:v>Rolling Mean (30 Minute)</c:v>
                  </c:pt>
                  <c:pt idx="1733">
                    <c:v>Rolling Mean (30 Minute)</c:v>
                  </c:pt>
                  <c:pt idx="1734">
                    <c:v>Rolling Mean (30 Minute)</c:v>
                  </c:pt>
                  <c:pt idx="1735">
                    <c:v>Rolling Mean (30 Minute)</c:v>
                  </c:pt>
                  <c:pt idx="1736">
                    <c:v>Rolling Mean (30 Minute)</c:v>
                  </c:pt>
                  <c:pt idx="1737">
                    <c:v>Rolling Mean (30 Minute)</c:v>
                  </c:pt>
                  <c:pt idx="1738">
                    <c:v>Rolling Mean (30 Minute)</c:v>
                  </c:pt>
                  <c:pt idx="1739">
                    <c:v>Rolling Mean (30 Minute)</c:v>
                  </c:pt>
                  <c:pt idx="1740">
                    <c:v>Rolling Mean (30 Minute)</c:v>
                  </c:pt>
                  <c:pt idx="1741">
                    <c:v>Rolling Mean (30 Minute)</c:v>
                  </c:pt>
                  <c:pt idx="1742">
                    <c:v>Rolling Mean (30 Minute)</c:v>
                  </c:pt>
                  <c:pt idx="1743">
                    <c:v>Rolling Mean (30 Minute)</c:v>
                  </c:pt>
                  <c:pt idx="1744">
                    <c:v>Rolling Mean (30 Minute)</c:v>
                  </c:pt>
                  <c:pt idx="1745">
                    <c:v>Rolling Mean (30 Minute)</c:v>
                  </c:pt>
                  <c:pt idx="1746">
                    <c:v>Rolling Mean (30 Minute)</c:v>
                  </c:pt>
                  <c:pt idx="1747">
                    <c:v>Rolling Mean (30 Minute)</c:v>
                  </c:pt>
                  <c:pt idx="1748">
                    <c:v>Rolling Mean (30 Minute)</c:v>
                  </c:pt>
                  <c:pt idx="1749">
                    <c:v>Rolling Mean (30 Minute)</c:v>
                  </c:pt>
                  <c:pt idx="1750">
                    <c:v>Rolling Mean (30 Minute)</c:v>
                  </c:pt>
                  <c:pt idx="1751">
                    <c:v>Rolling Mean (30 Minute)</c:v>
                  </c:pt>
                  <c:pt idx="1752">
                    <c:v>Rolling Mean (30 Minute)</c:v>
                  </c:pt>
                  <c:pt idx="1753">
                    <c:v>Rolling Mean (30 Minute)</c:v>
                  </c:pt>
                  <c:pt idx="1754">
                    <c:v>Rolling Mean (30 Minute)</c:v>
                  </c:pt>
                  <c:pt idx="1755">
                    <c:v>Rolling Mean (30 Minute)</c:v>
                  </c:pt>
                  <c:pt idx="1756">
                    <c:v>Rolling Mean (30 Minute)</c:v>
                  </c:pt>
                  <c:pt idx="1757">
                    <c:v>Rolling Mean (30 Minute)</c:v>
                  </c:pt>
                  <c:pt idx="1758">
                    <c:v>Rolling Mean (30 Minute)</c:v>
                  </c:pt>
                  <c:pt idx="1759">
                    <c:v>Rolling Mean (30 Minute)</c:v>
                  </c:pt>
                  <c:pt idx="1760">
                    <c:v>Rolling Mean (30 Minute)</c:v>
                  </c:pt>
                  <c:pt idx="1761">
                    <c:v>Rolling Mean (30 Minute)</c:v>
                  </c:pt>
                  <c:pt idx="1762">
                    <c:v>Rolling Mean (30 Minute)</c:v>
                  </c:pt>
                  <c:pt idx="1763">
                    <c:v>Rolling Mean (30 Minute)</c:v>
                  </c:pt>
                  <c:pt idx="1764">
                    <c:v>Rolling Mean (30 Minute)</c:v>
                  </c:pt>
                  <c:pt idx="1765">
                    <c:v>Rolling Mean (30 Minute)</c:v>
                  </c:pt>
                  <c:pt idx="1766">
                    <c:v>Rolling Mean (30 Minute)</c:v>
                  </c:pt>
                  <c:pt idx="1767">
                    <c:v>Rolling Mean (30 Minute)</c:v>
                  </c:pt>
                  <c:pt idx="1768">
                    <c:v>Rolling Mean (30 Minute)</c:v>
                  </c:pt>
                  <c:pt idx="1769">
                    <c:v>Rolling Mean (30 Minute)</c:v>
                  </c:pt>
                  <c:pt idx="1770">
                    <c:v>Rolling Mean (30 Minute)</c:v>
                  </c:pt>
                  <c:pt idx="1771">
                    <c:v>Rolling Mean (30 Minute)</c:v>
                  </c:pt>
                  <c:pt idx="1772">
                    <c:v>Rolling Mean (30 Minute)</c:v>
                  </c:pt>
                  <c:pt idx="1773">
                    <c:v>Rolling Mean (30 Minute)</c:v>
                  </c:pt>
                  <c:pt idx="1774">
                    <c:v>Rolling Mean (30 Minute)</c:v>
                  </c:pt>
                  <c:pt idx="1775">
                    <c:v>Rolling Mean (30 Minute)</c:v>
                  </c:pt>
                  <c:pt idx="1776">
                    <c:v>Rolling Mean (30 Minute)</c:v>
                  </c:pt>
                  <c:pt idx="1777">
                    <c:v>Rolling Mean (30 Minute)</c:v>
                  </c:pt>
                  <c:pt idx="1778">
                    <c:v>Rolling Mean (30 Minute)</c:v>
                  </c:pt>
                  <c:pt idx="1779">
                    <c:v>Rolling Mean (30 Minute)</c:v>
                  </c:pt>
                  <c:pt idx="1780">
                    <c:v>Rolling Mean (30 Minute)</c:v>
                  </c:pt>
                  <c:pt idx="1781">
                    <c:v>Rolling Mean (30 Minute)</c:v>
                  </c:pt>
                  <c:pt idx="1782">
                    <c:v>Rolling Mean (30 Minute)</c:v>
                  </c:pt>
                  <c:pt idx="1783">
                    <c:v>Rolling Mean (30 Minute)</c:v>
                  </c:pt>
                  <c:pt idx="1784">
                    <c:v>Rolling Mean (30 Minute)</c:v>
                  </c:pt>
                  <c:pt idx="1785">
                    <c:v>Rolling Mean (30 Minute)</c:v>
                  </c:pt>
                  <c:pt idx="1786">
                    <c:v>Rolling Mean (30 Minute)</c:v>
                  </c:pt>
                  <c:pt idx="1787">
                    <c:v>Rolling Mean (30 Minute)</c:v>
                  </c:pt>
                  <c:pt idx="1788">
                    <c:v>Rolling Mean (30 Minute)</c:v>
                  </c:pt>
                  <c:pt idx="1789">
                    <c:v>Rolling Mean (30 Minute)</c:v>
                  </c:pt>
                  <c:pt idx="1790">
                    <c:v>Rolling Mean (30 Minute)</c:v>
                  </c:pt>
                  <c:pt idx="1791">
                    <c:v>Rolling Mean (30 Minute)</c:v>
                  </c:pt>
                  <c:pt idx="1792">
                    <c:v>Rolling Mean (30 Minute)</c:v>
                  </c:pt>
                  <c:pt idx="1793">
                    <c:v>Rolling Mean (30 Minute)</c:v>
                  </c:pt>
                  <c:pt idx="1794">
                    <c:v>Rolling Mean (30 Minute)</c:v>
                  </c:pt>
                  <c:pt idx="1795">
                    <c:v>Rolling Mean (30 Minute)</c:v>
                  </c:pt>
                  <c:pt idx="1796">
                    <c:v>Rolling Mean (30 Minute)</c:v>
                  </c:pt>
                  <c:pt idx="1797">
                    <c:v>Rolling Mean (30 Minute)</c:v>
                  </c:pt>
                  <c:pt idx="1798">
                    <c:v>Rolling Mean (30 Minute)</c:v>
                  </c:pt>
                  <c:pt idx="1799">
                    <c:v>Rolling Mean (30 Minute)</c:v>
                  </c:pt>
                  <c:pt idx="1800">
                    <c:v>Rolling Mean (30 Minute)</c:v>
                  </c:pt>
                  <c:pt idx="1801">
                    <c:v>Rolling Mean (30 Minute)</c:v>
                  </c:pt>
                  <c:pt idx="1802">
                    <c:v>Rolling Mean (30 Minute)</c:v>
                  </c:pt>
                  <c:pt idx="1803">
                    <c:v>Rolling Mean (30 Minute)</c:v>
                  </c:pt>
                  <c:pt idx="1804">
                    <c:v>Rolling Mean (30 Minute)</c:v>
                  </c:pt>
                  <c:pt idx="1805">
                    <c:v>Rolling Mean (30 Minute)</c:v>
                  </c:pt>
                  <c:pt idx="1806">
                    <c:v>Rolling Mean (30 Minute)</c:v>
                  </c:pt>
                  <c:pt idx="1807">
                    <c:v>Rolling Mean (30 Minute)</c:v>
                  </c:pt>
                  <c:pt idx="1808">
                    <c:v>Rolling Mean (30 Minute)</c:v>
                  </c:pt>
                  <c:pt idx="1809">
                    <c:v>Rolling Mean (30 Minute)</c:v>
                  </c:pt>
                  <c:pt idx="1810">
                    <c:v>Rolling Mean (30 Minute)</c:v>
                  </c:pt>
                  <c:pt idx="1811">
                    <c:v>Rolling Mean (30 Minute)</c:v>
                  </c:pt>
                  <c:pt idx="1812">
                    <c:v>Rolling Mean (30 Minute)</c:v>
                  </c:pt>
                  <c:pt idx="1813">
                    <c:v>Rolling Mean (30 Minute)</c:v>
                  </c:pt>
                  <c:pt idx="1814">
                    <c:v>Rolling Mean (30 Minute)</c:v>
                  </c:pt>
                  <c:pt idx="1815">
                    <c:v>Rolling Mean (30 Minute)</c:v>
                  </c:pt>
                  <c:pt idx="1816">
                    <c:v>Rolling Mean (30 Minute)</c:v>
                  </c:pt>
                  <c:pt idx="1817">
                    <c:v>Rolling Mean (30 Minute)</c:v>
                  </c:pt>
                  <c:pt idx="1818">
                    <c:v>Rolling Mean (30 Minute)</c:v>
                  </c:pt>
                  <c:pt idx="1819">
                    <c:v>Rolling Mean (30 Minute)</c:v>
                  </c:pt>
                  <c:pt idx="1820">
                    <c:v>Rolling Mean (30 Minute)</c:v>
                  </c:pt>
                  <c:pt idx="1821">
                    <c:v>Rolling Mean (30 Minute)</c:v>
                  </c:pt>
                  <c:pt idx="1822">
                    <c:v>Rolling Mean (30 Minute)</c:v>
                  </c:pt>
                  <c:pt idx="1823">
                    <c:v>Rolling Mean (30 Minute)</c:v>
                  </c:pt>
                  <c:pt idx="1824">
                    <c:v>Rolling Mean (30 Minute)</c:v>
                  </c:pt>
                  <c:pt idx="1825">
                    <c:v>Rolling Mean (30 Minute)</c:v>
                  </c:pt>
                  <c:pt idx="1826">
                    <c:v>Rolling Mean (30 Minute)</c:v>
                  </c:pt>
                  <c:pt idx="1827">
                    <c:v>Rolling Mean (30 Minute)</c:v>
                  </c:pt>
                  <c:pt idx="1828">
                    <c:v>Rolling Mean (30 Minute)</c:v>
                  </c:pt>
                  <c:pt idx="1829">
                    <c:v>Rolling Mean (30 Minute)</c:v>
                  </c:pt>
                  <c:pt idx="1830">
                    <c:v>Rolling Mean (30 Minute)</c:v>
                  </c:pt>
                  <c:pt idx="1831">
                    <c:v>Rolling Mean (30 Minute)</c:v>
                  </c:pt>
                  <c:pt idx="1832">
                    <c:v>Rolling Mean (30 Minute)</c:v>
                  </c:pt>
                  <c:pt idx="1833">
                    <c:v>Rolling Mean (30 Minute)</c:v>
                  </c:pt>
                  <c:pt idx="1834">
                    <c:v>Rolling Mean (30 Minute)</c:v>
                  </c:pt>
                  <c:pt idx="1835">
                    <c:v>Rolling Mean (30 Minute)</c:v>
                  </c:pt>
                  <c:pt idx="1836">
                    <c:v>Rolling Mean (30 Minute)</c:v>
                  </c:pt>
                  <c:pt idx="1837">
                    <c:v>Rolling Mean (30 Minute)</c:v>
                  </c:pt>
                  <c:pt idx="1838">
                    <c:v>Rolling Mean (30 Minute)</c:v>
                  </c:pt>
                  <c:pt idx="1839">
                    <c:v>Rolling Mean (30 Minute)</c:v>
                  </c:pt>
                  <c:pt idx="1840">
                    <c:v>Rolling Mean (30 Minute)</c:v>
                  </c:pt>
                  <c:pt idx="1841">
                    <c:v>Rolling Mean (30 Minute)</c:v>
                  </c:pt>
                  <c:pt idx="1842">
                    <c:v>Rolling Mean (30 Minute)</c:v>
                  </c:pt>
                  <c:pt idx="1843">
                    <c:v>Rolling Mean (30 Minute)</c:v>
                  </c:pt>
                  <c:pt idx="1844">
                    <c:v>Rolling Mean (30 Minute)</c:v>
                  </c:pt>
                  <c:pt idx="1845">
                    <c:v>Rolling Mean (30 Minute)</c:v>
                  </c:pt>
                  <c:pt idx="1846">
                    <c:v>Rolling Mean (30 Minute)</c:v>
                  </c:pt>
                  <c:pt idx="1847">
                    <c:v>Rolling Mean (30 Minute)</c:v>
                  </c:pt>
                  <c:pt idx="1848">
                    <c:v>Rolling Mean (30 Minute)</c:v>
                  </c:pt>
                  <c:pt idx="1849">
                    <c:v>Rolling Mean (30 Minute)</c:v>
                  </c:pt>
                  <c:pt idx="1850">
                    <c:v>Rolling Mean (30 Minute)</c:v>
                  </c:pt>
                  <c:pt idx="1851">
                    <c:v>Rolling Mean (30 Minute)</c:v>
                  </c:pt>
                  <c:pt idx="1852">
                    <c:v>Rolling Mean (30 Minute)</c:v>
                  </c:pt>
                  <c:pt idx="1853">
                    <c:v>Rolling Mean (30 Minute)</c:v>
                  </c:pt>
                  <c:pt idx="1854">
                    <c:v>Rolling Mean (30 Minute)</c:v>
                  </c:pt>
                  <c:pt idx="1855">
                    <c:v>Rolling Mean (30 Minute)</c:v>
                  </c:pt>
                  <c:pt idx="1856">
                    <c:v>Rolling Mean (30 Minute)</c:v>
                  </c:pt>
                  <c:pt idx="1857">
                    <c:v>Rolling Mean (30 Minute)</c:v>
                  </c:pt>
                  <c:pt idx="1858">
                    <c:v>Rolling Mean (30 Minute)</c:v>
                  </c:pt>
                  <c:pt idx="1859">
                    <c:v>Rolling Mean (30 Minute)</c:v>
                  </c:pt>
                  <c:pt idx="1860">
                    <c:v>Rolling Mean (30 Minute)</c:v>
                  </c:pt>
                  <c:pt idx="1861">
                    <c:v>Rolling Mean (30 Minute)</c:v>
                  </c:pt>
                  <c:pt idx="1862">
                    <c:v>Rolling Mean (30 Minute)</c:v>
                  </c:pt>
                  <c:pt idx="1863">
                    <c:v>Rolling Mean (30 Minute)</c:v>
                  </c:pt>
                  <c:pt idx="1864">
                    <c:v>Rolling Mean (30 Minute)</c:v>
                  </c:pt>
                  <c:pt idx="1865">
                    <c:v>Rolling Mean (30 Minute)</c:v>
                  </c:pt>
                  <c:pt idx="1866">
                    <c:v>Rolling Mean (30 Minute)</c:v>
                  </c:pt>
                  <c:pt idx="1867">
                    <c:v>Rolling Mean (30 Minute)</c:v>
                  </c:pt>
                  <c:pt idx="1868">
                    <c:v>Rolling Mean (30 Minute)</c:v>
                  </c:pt>
                  <c:pt idx="1869">
                    <c:v>Rolling Mean (30 Minute)</c:v>
                  </c:pt>
                  <c:pt idx="1870">
                    <c:v>Rolling Mean (30 Minute)</c:v>
                  </c:pt>
                  <c:pt idx="1871">
                    <c:v>Rolling Mean (30 Minute)</c:v>
                  </c:pt>
                  <c:pt idx="1872">
                    <c:v>Rolling Mean (30 Minute)</c:v>
                  </c:pt>
                  <c:pt idx="1873">
                    <c:v>Rolling Mean (30 Minute)</c:v>
                  </c:pt>
                  <c:pt idx="1874">
                    <c:v>Rolling Mean (30 Minute)</c:v>
                  </c:pt>
                  <c:pt idx="1875">
                    <c:v>Rolling Mean (30 Minute)</c:v>
                  </c:pt>
                  <c:pt idx="1876">
                    <c:v>Rolling Mean (30 Minute)</c:v>
                  </c:pt>
                  <c:pt idx="1877">
                    <c:v>Rolling Mean (30 Minute)</c:v>
                  </c:pt>
                  <c:pt idx="1878">
                    <c:v>Rolling Mean (30 Minute)</c:v>
                  </c:pt>
                  <c:pt idx="1879">
                    <c:v>Rolling Mean (30 Minute)</c:v>
                  </c:pt>
                  <c:pt idx="1880">
                    <c:v>Rolling Mean (30 Minute)</c:v>
                  </c:pt>
                  <c:pt idx="1881">
                    <c:v>Rolling Mean (30 Minute)</c:v>
                  </c:pt>
                  <c:pt idx="1882">
                    <c:v>Rolling Mean (30 Minute)</c:v>
                  </c:pt>
                  <c:pt idx="1883">
                    <c:v>Rolling Mean (30 Minute)</c:v>
                  </c:pt>
                  <c:pt idx="1884">
                    <c:v>Rolling Mean (30 Minute)</c:v>
                  </c:pt>
                  <c:pt idx="1885">
                    <c:v>Rolling Mean (30 Minute)</c:v>
                  </c:pt>
                  <c:pt idx="1886">
                    <c:v>Rolling Mean (30 Minute)</c:v>
                  </c:pt>
                  <c:pt idx="1887">
                    <c:v>Rolling Mean (30 Minute)</c:v>
                  </c:pt>
                  <c:pt idx="1888">
                    <c:v>Rolling Mean (30 Minute)</c:v>
                  </c:pt>
                  <c:pt idx="1889">
                    <c:v>Rolling Mean (30 Minute)</c:v>
                  </c:pt>
                  <c:pt idx="1890">
                    <c:v>Rolling Mean (30 Minute)</c:v>
                  </c:pt>
                  <c:pt idx="1891">
                    <c:v>Rolling Mean (30 Minute)</c:v>
                  </c:pt>
                  <c:pt idx="1892">
                    <c:v>Rolling Mean (30 Minute)</c:v>
                  </c:pt>
                  <c:pt idx="1893">
                    <c:v>Rolling Mean (30 Minute)</c:v>
                  </c:pt>
                  <c:pt idx="1894">
                    <c:v>Rolling Mean (30 Minute)</c:v>
                  </c:pt>
                  <c:pt idx="1895">
                    <c:v>Rolling Mean (30 Minute)</c:v>
                  </c:pt>
                  <c:pt idx="1896">
                    <c:v>Rolling Mean (30 Minute)</c:v>
                  </c:pt>
                  <c:pt idx="1897">
                    <c:v>Rolling Mean (30 Minute)</c:v>
                  </c:pt>
                  <c:pt idx="1898">
                    <c:v>Rolling Mean (30 Minute)</c:v>
                  </c:pt>
                  <c:pt idx="1899">
                    <c:v>Rolling Mean (30 Minute)</c:v>
                  </c:pt>
                  <c:pt idx="1900">
                    <c:v>Rolling Mean (30 Minute)</c:v>
                  </c:pt>
                  <c:pt idx="1901">
                    <c:v>Rolling Mean (30 Minute)</c:v>
                  </c:pt>
                  <c:pt idx="1902">
                    <c:v>Rolling Mean (30 Minute)</c:v>
                  </c:pt>
                  <c:pt idx="1903">
                    <c:v>Rolling Mean (30 Minute)</c:v>
                  </c:pt>
                  <c:pt idx="1904">
                    <c:v>Rolling Mean (30 Minute)</c:v>
                  </c:pt>
                  <c:pt idx="1905">
                    <c:v>Rolling Mean (30 Minute)</c:v>
                  </c:pt>
                  <c:pt idx="1906">
                    <c:v>Rolling Mean (30 Minute)</c:v>
                  </c:pt>
                  <c:pt idx="1907">
                    <c:v>Rolling Mean (30 Minute)</c:v>
                  </c:pt>
                  <c:pt idx="1908">
                    <c:v>Rolling Mean (30 Minute)</c:v>
                  </c:pt>
                  <c:pt idx="1909">
                    <c:v>Rolling Mean (30 Minute)</c:v>
                  </c:pt>
                  <c:pt idx="1910">
                    <c:v>Rolling Mean (30 Minute)</c:v>
                  </c:pt>
                  <c:pt idx="1911">
                    <c:v>Rolling Mean (30 Minute)</c:v>
                  </c:pt>
                  <c:pt idx="1912">
                    <c:v>Rolling Mean (30 Minute)</c:v>
                  </c:pt>
                  <c:pt idx="1913">
                    <c:v>Rolling Mean (30 Minute)</c:v>
                  </c:pt>
                  <c:pt idx="1914">
                    <c:v>Rolling Mean (30 Minute)</c:v>
                  </c:pt>
                  <c:pt idx="1915">
                    <c:v>Rolling Mean (30 Minute)</c:v>
                  </c:pt>
                  <c:pt idx="1916">
                    <c:v>Rolling Mean (30 Minute)</c:v>
                  </c:pt>
                  <c:pt idx="1917">
                    <c:v>Rolling Mean (30 Minute)</c:v>
                  </c:pt>
                  <c:pt idx="1918">
                    <c:v>Rolling Mean (30 Minute)</c:v>
                  </c:pt>
                  <c:pt idx="1919">
                    <c:v>Rolling Mean (30 Minute)</c:v>
                  </c:pt>
                  <c:pt idx="1920">
                    <c:v>Rolling Mean (30 Minute)</c:v>
                  </c:pt>
                  <c:pt idx="1921">
                    <c:v>Rolling Mean (30 Minute)</c:v>
                  </c:pt>
                  <c:pt idx="1922">
                    <c:v>Rolling Mean (30 Minute)</c:v>
                  </c:pt>
                  <c:pt idx="1923">
                    <c:v>Rolling Mean (30 Minute)</c:v>
                  </c:pt>
                  <c:pt idx="1924">
                    <c:v>Rolling Mean (30 Minute)</c:v>
                  </c:pt>
                  <c:pt idx="1925">
                    <c:v>Rolling Mean (30 Minute)</c:v>
                  </c:pt>
                  <c:pt idx="1926">
                    <c:v>Rolling Mean (30 Minute)</c:v>
                  </c:pt>
                  <c:pt idx="1927">
                    <c:v>Rolling Mean (30 Minute)</c:v>
                  </c:pt>
                  <c:pt idx="1928">
                    <c:v>Rolling Mean (30 Minute)</c:v>
                  </c:pt>
                  <c:pt idx="1929">
                    <c:v>Rolling Mean (30 Minute)</c:v>
                  </c:pt>
                  <c:pt idx="1930">
                    <c:v>Rolling Mean (30 Minute)</c:v>
                  </c:pt>
                  <c:pt idx="1931">
                    <c:v>Rolling Mean (30 Minute)</c:v>
                  </c:pt>
                  <c:pt idx="1932">
                    <c:v>Rolling Mean (30 Minute)</c:v>
                  </c:pt>
                  <c:pt idx="1933">
                    <c:v>Rolling Mean (30 Minute)</c:v>
                  </c:pt>
                  <c:pt idx="1934">
                    <c:v>Rolling Mean (30 Minute)</c:v>
                  </c:pt>
                  <c:pt idx="1935">
                    <c:v>Rolling Mean (30 Minute)</c:v>
                  </c:pt>
                  <c:pt idx="1936">
                    <c:v>Rolling Mean (30 Minute)</c:v>
                  </c:pt>
                  <c:pt idx="1937">
                    <c:v>Rolling Mean (30 Minute)</c:v>
                  </c:pt>
                  <c:pt idx="1938">
                    <c:v>Rolling Mean (30 Minute)</c:v>
                  </c:pt>
                  <c:pt idx="1939">
                    <c:v>Rolling Mean (30 Minute)</c:v>
                  </c:pt>
                  <c:pt idx="1940">
                    <c:v>Rolling Mean (30 Minute)</c:v>
                  </c:pt>
                  <c:pt idx="1941">
                    <c:v>Rolling Mean (30 Minute)</c:v>
                  </c:pt>
                  <c:pt idx="1942">
                    <c:v>Rolling Mean (30 Minute)</c:v>
                  </c:pt>
                  <c:pt idx="1943">
                    <c:v>Rolling Mean (30 Minute)</c:v>
                  </c:pt>
                  <c:pt idx="1944">
                    <c:v>Rolling Mean (30 Minute)</c:v>
                  </c:pt>
                  <c:pt idx="1945">
                    <c:v>Rolling Mean (30 Minute)</c:v>
                  </c:pt>
                  <c:pt idx="1946">
                    <c:v>Rolling Mean (30 Minute)</c:v>
                  </c:pt>
                  <c:pt idx="1947">
                    <c:v>Rolling Mean (30 Minute)</c:v>
                  </c:pt>
                  <c:pt idx="1948">
                    <c:v>Rolling Mean (30 Minute)</c:v>
                  </c:pt>
                  <c:pt idx="1949">
                    <c:v>Rolling Mean (30 Minute)</c:v>
                  </c:pt>
                  <c:pt idx="1950">
                    <c:v>Rolling Mean (30 Minute)</c:v>
                  </c:pt>
                  <c:pt idx="1951">
                    <c:v>Rolling Mean (30 Minute)</c:v>
                  </c:pt>
                  <c:pt idx="1952">
                    <c:v>Rolling Mean (30 Minute)</c:v>
                  </c:pt>
                  <c:pt idx="1953">
                    <c:v>Rolling Mean (30 Minute)</c:v>
                  </c:pt>
                  <c:pt idx="1954">
                    <c:v>Rolling Mean (30 Minute)</c:v>
                  </c:pt>
                  <c:pt idx="1955">
                    <c:v>Rolling Mean (30 Minute)</c:v>
                  </c:pt>
                  <c:pt idx="1956">
                    <c:v>Rolling Mean (30 Minute)</c:v>
                  </c:pt>
                  <c:pt idx="1957">
                    <c:v>Rolling Mean (30 Minute)</c:v>
                  </c:pt>
                  <c:pt idx="1958">
                    <c:v>Rolling Mean (30 Minute)</c:v>
                  </c:pt>
                  <c:pt idx="1959">
                    <c:v>Rolling Mean (30 Minute)</c:v>
                  </c:pt>
                  <c:pt idx="1960">
                    <c:v>Rolling Mean (30 Minute)</c:v>
                  </c:pt>
                  <c:pt idx="1961">
                    <c:v>Rolling Mean (30 Minute)</c:v>
                  </c:pt>
                  <c:pt idx="1962">
                    <c:v>Rolling Mean (30 Minute)</c:v>
                  </c:pt>
                  <c:pt idx="1963">
                    <c:v>Rolling Mean (30 Minute)</c:v>
                  </c:pt>
                  <c:pt idx="1964">
                    <c:v>Rolling Mean (30 Minute)</c:v>
                  </c:pt>
                  <c:pt idx="1965">
                    <c:v>Rolling Mean (30 Minute)</c:v>
                  </c:pt>
                  <c:pt idx="1966">
                    <c:v>Rolling Mean (30 Minute)</c:v>
                  </c:pt>
                  <c:pt idx="1967">
                    <c:v>Rolling Mean (30 Minute)</c:v>
                  </c:pt>
                  <c:pt idx="1968">
                    <c:v>Rolling Mean (30 Minute)</c:v>
                  </c:pt>
                  <c:pt idx="1969">
                    <c:v>Rolling Mean (30 Minute)</c:v>
                  </c:pt>
                  <c:pt idx="1970">
                    <c:v>Rolling Mean (30 Minute)</c:v>
                  </c:pt>
                  <c:pt idx="1971">
                    <c:v>Rolling Mean (30 Minute)</c:v>
                  </c:pt>
                  <c:pt idx="1972">
                    <c:v>Rolling Mean (30 Minute)</c:v>
                  </c:pt>
                  <c:pt idx="1973">
                    <c:v>Rolling Mean (30 Minute)</c:v>
                  </c:pt>
                  <c:pt idx="1974">
                    <c:v>Rolling Mean (30 Minute)</c:v>
                  </c:pt>
                  <c:pt idx="1975">
                    <c:v>Rolling Mean (30 Minute)</c:v>
                  </c:pt>
                  <c:pt idx="1976">
                    <c:v>Rolling Mean (30 Minute)</c:v>
                  </c:pt>
                  <c:pt idx="1977">
                    <c:v>Rolling Mean (30 Minute)</c:v>
                  </c:pt>
                  <c:pt idx="1978">
                    <c:v>Rolling Mean (30 Minute)</c:v>
                  </c:pt>
                  <c:pt idx="1979">
                    <c:v>Rolling Mean (30 Minute)</c:v>
                  </c:pt>
                  <c:pt idx="1980">
                    <c:v>Rolling Mean (30 Minute)</c:v>
                  </c:pt>
                  <c:pt idx="1981">
                    <c:v>Rolling Mean (30 Minute)</c:v>
                  </c:pt>
                  <c:pt idx="1982">
                    <c:v>Rolling Mean (30 Minute)</c:v>
                  </c:pt>
                  <c:pt idx="1983">
                    <c:v>Rolling Mean (30 Minute)</c:v>
                  </c:pt>
                  <c:pt idx="1984">
                    <c:v>Rolling Mean (30 Minute)</c:v>
                  </c:pt>
                  <c:pt idx="1985">
                    <c:v>Rolling Mean (30 Minute)</c:v>
                  </c:pt>
                  <c:pt idx="1986">
                    <c:v>Rolling Mean (30 Minute)</c:v>
                  </c:pt>
                  <c:pt idx="1987">
                    <c:v>Rolling Mean (30 Minute)</c:v>
                  </c:pt>
                  <c:pt idx="1988">
                    <c:v>Rolling Mean (30 Minute)</c:v>
                  </c:pt>
                  <c:pt idx="1989">
                    <c:v>Rolling Mean (30 Minute)</c:v>
                  </c:pt>
                  <c:pt idx="1990">
                    <c:v>Rolling Mean (30 Minute)</c:v>
                  </c:pt>
                  <c:pt idx="1991">
                    <c:v>Rolling Mean (30 Minute)</c:v>
                  </c:pt>
                  <c:pt idx="1992">
                    <c:v>Rolling Mean (30 Minute)</c:v>
                  </c:pt>
                  <c:pt idx="1993">
                    <c:v>Rolling Mean (30 Minute)</c:v>
                  </c:pt>
                  <c:pt idx="1994">
                    <c:v>Rolling Mean (30 Minute)</c:v>
                  </c:pt>
                  <c:pt idx="1995">
                    <c:v>Rolling Mean (30 Minute)</c:v>
                  </c:pt>
                  <c:pt idx="1996">
                    <c:v>Rolling Mean (30 Minute)</c:v>
                  </c:pt>
                  <c:pt idx="1997">
                    <c:v>Rolling Mean (30 Minute)</c:v>
                  </c:pt>
                  <c:pt idx="1998">
                    <c:v>Rolling Mean (30 Minute)</c:v>
                  </c:pt>
                  <c:pt idx="1999">
                    <c:v>Rolling Mean (30 Minute)</c:v>
                  </c:pt>
                  <c:pt idx="2000">
                    <c:v>Rolling Mean (30 Minute)</c:v>
                  </c:pt>
                  <c:pt idx="2001">
                    <c:v>Rolling Mean (30 Minute)</c:v>
                  </c:pt>
                  <c:pt idx="2002">
                    <c:v>Rolling Mean (30 Minute)</c:v>
                  </c:pt>
                  <c:pt idx="2003">
                    <c:v>Rolling Mean (30 Minute)</c:v>
                  </c:pt>
                  <c:pt idx="2004">
                    <c:v>Rolling Mean (30 Minute)</c:v>
                  </c:pt>
                  <c:pt idx="2005">
                    <c:v>Rolling Mean (30 Minute)</c:v>
                  </c:pt>
                  <c:pt idx="2006">
                    <c:v>Rolling Mean (30 Minute)</c:v>
                  </c:pt>
                  <c:pt idx="2007">
                    <c:v>Rolling Mean (30 Minute)</c:v>
                  </c:pt>
                  <c:pt idx="2008">
                    <c:v>Rolling Mean (30 Minute)</c:v>
                  </c:pt>
                  <c:pt idx="2009">
                    <c:v>Rolling Mean (30 Minute)</c:v>
                  </c:pt>
                  <c:pt idx="2010">
                    <c:v>Rolling Mean (30 Minute)</c:v>
                  </c:pt>
                  <c:pt idx="2011">
                    <c:v>Rolling Mean (30 Minute)</c:v>
                  </c:pt>
                  <c:pt idx="2012">
                    <c:v>Rolling Mean (30 Minute)</c:v>
                  </c:pt>
                  <c:pt idx="2013">
                    <c:v>Rolling Mean (30 Minute)</c:v>
                  </c:pt>
                  <c:pt idx="2014">
                    <c:v>Rolling Mean (30 Minute)</c:v>
                  </c:pt>
                  <c:pt idx="2015">
                    <c:v>Rolling Mean (30 Minute)</c:v>
                  </c:pt>
                  <c:pt idx="2016">
                    <c:v>Rolling Mean (30 Minute)</c:v>
                  </c:pt>
                  <c:pt idx="2017">
                    <c:v>Rolling Mean (30 Minute)</c:v>
                  </c:pt>
                  <c:pt idx="2018">
                    <c:v>Rolling Mean (30 Minute)</c:v>
                  </c:pt>
                  <c:pt idx="2019">
                    <c:v>Rolling Mean (30 Minute)</c:v>
                  </c:pt>
                  <c:pt idx="2020">
                    <c:v>Rolling Mean (30 Minute)</c:v>
                  </c:pt>
                  <c:pt idx="2021">
                    <c:v>Rolling Mean (30 Minute)</c:v>
                  </c:pt>
                  <c:pt idx="2022">
                    <c:v>Rolling Mean (30 Minute)</c:v>
                  </c:pt>
                  <c:pt idx="2023">
                    <c:v>Rolling Mean (30 Minute)</c:v>
                  </c:pt>
                  <c:pt idx="2024">
                    <c:v>Rolling Mean (30 Minute)</c:v>
                  </c:pt>
                  <c:pt idx="2025">
                    <c:v>Rolling Mean (30 Minute)</c:v>
                  </c:pt>
                  <c:pt idx="2026">
                    <c:v>Rolling Mean (30 Minute)</c:v>
                  </c:pt>
                  <c:pt idx="2027">
                    <c:v>Rolling Mean (30 Minute)</c:v>
                  </c:pt>
                  <c:pt idx="2028">
                    <c:v>Rolling Mean (30 Minute)</c:v>
                  </c:pt>
                  <c:pt idx="2029">
                    <c:v>Rolling Mean (30 Minute)</c:v>
                  </c:pt>
                  <c:pt idx="2030">
                    <c:v>Rolling Mean (30 Minute)</c:v>
                  </c:pt>
                  <c:pt idx="2031">
                    <c:v>Rolling Mean (30 Minute)</c:v>
                  </c:pt>
                  <c:pt idx="2032">
                    <c:v>Rolling Mean (30 Minute)</c:v>
                  </c:pt>
                  <c:pt idx="2033">
                    <c:v>Rolling Mean (30 Minute)</c:v>
                  </c:pt>
                  <c:pt idx="2034">
                    <c:v>Rolling Mean (30 Minute)</c:v>
                  </c:pt>
                  <c:pt idx="2035">
                    <c:v>Rolling Mean (30 Minute)</c:v>
                  </c:pt>
                  <c:pt idx="2036">
                    <c:v>Rolling Mean (30 Minute)</c:v>
                  </c:pt>
                  <c:pt idx="2037">
                    <c:v>Rolling Mean (30 Minute)</c:v>
                  </c:pt>
                  <c:pt idx="2038">
                    <c:v>Rolling Mean (30 Minute)</c:v>
                  </c:pt>
                  <c:pt idx="2039">
                    <c:v>Rolling Mean (30 Minute)</c:v>
                  </c:pt>
                  <c:pt idx="2040">
                    <c:v>Rolling Mean (30 Minute)</c:v>
                  </c:pt>
                  <c:pt idx="2041">
                    <c:v>Rolling Mean (30 Minute)</c:v>
                  </c:pt>
                  <c:pt idx="2042">
                    <c:v>Rolling Mean (30 Minute)</c:v>
                  </c:pt>
                  <c:pt idx="2043">
                    <c:v>Rolling Mean (30 Minute)</c:v>
                  </c:pt>
                  <c:pt idx="2044">
                    <c:v>Rolling Mean (30 Minute)</c:v>
                  </c:pt>
                  <c:pt idx="2045">
                    <c:v>Rolling Mean (30 Minute)</c:v>
                  </c:pt>
                  <c:pt idx="2046">
                    <c:v>Rolling Mean (30 Minute)</c:v>
                  </c:pt>
                  <c:pt idx="2047">
                    <c:v>Rolling Mean (30 Minute)</c:v>
                  </c:pt>
                  <c:pt idx="2048">
                    <c:v>Rolling Mean (30 Minute)</c:v>
                  </c:pt>
                  <c:pt idx="2049">
                    <c:v>Rolling Mean (30 Minute)</c:v>
                  </c:pt>
                  <c:pt idx="2050">
                    <c:v>Rolling Mean (30 Minute)</c:v>
                  </c:pt>
                  <c:pt idx="2051">
                    <c:v>Rolling Mean (30 Minute)</c:v>
                  </c:pt>
                  <c:pt idx="2052">
                    <c:v>Rolling Mean (30 Minute)</c:v>
                  </c:pt>
                  <c:pt idx="2053">
                    <c:v>Rolling Mean (30 Minute)</c:v>
                  </c:pt>
                  <c:pt idx="2054">
                    <c:v>Rolling Mean (30 Minute)</c:v>
                  </c:pt>
                  <c:pt idx="2055">
                    <c:v>Rolling Mean (30 Minute)</c:v>
                  </c:pt>
                  <c:pt idx="2056">
                    <c:v>Rolling Mean (30 Minute)</c:v>
                  </c:pt>
                  <c:pt idx="2057">
                    <c:v>Rolling Mean (30 Minute)</c:v>
                  </c:pt>
                  <c:pt idx="2058">
                    <c:v>Rolling Mean (30 Minute)</c:v>
                  </c:pt>
                  <c:pt idx="2059">
                    <c:v>Rolling Mean (30 Minute)</c:v>
                  </c:pt>
                  <c:pt idx="2060">
                    <c:v>Rolling Mean (30 Minute)</c:v>
                  </c:pt>
                  <c:pt idx="2061">
                    <c:v>Rolling Mean (30 Minute)</c:v>
                  </c:pt>
                  <c:pt idx="2062">
                    <c:v>Rolling Mean (30 Minute)</c:v>
                  </c:pt>
                  <c:pt idx="2063">
                    <c:v>Rolling Mean (30 Minute)</c:v>
                  </c:pt>
                  <c:pt idx="2064">
                    <c:v>Rolling Mean (30 Minute)</c:v>
                  </c:pt>
                  <c:pt idx="2065">
                    <c:v>Rolling Mean (30 Minute)</c:v>
                  </c:pt>
                  <c:pt idx="2066">
                    <c:v>Rolling Mean (30 Minute)</c:v>
                  </c:pt>
                  <c:pt idx="2067">
                    <c:v>Rolling Mean (30 Minute)</c:v>
                  </c:pt>
                  <c:pt idx="2068">
                    <c:v>Rolling Mean (30 Minute)</c:v>
                  </c:pt>
                  <c:pt idx="2069">
                    <c:v>Rolling Mean (30 Minute)</c:v>
                  </c:pt>
                  <c:pt idx="2070">
                    <c:v>Rolling Mean (30 Minute)</c:v>
                  </c:pt>
                  <c:pt idx="2071">
                    <c:v>Rolling Mean (30 Minute)</c:v>
                  </c:pt>
                  <c:pt idx="2072">
                    <c:v>Rolling Mean (30 Minute)</c:v>
                  </c:pt>
                  <c:pt idx="2073">
                    <c:v>Rolling Mean (30 Minute)</c:v>
                  </c:pt>
                  <c:pt idx="2074">
                    <c:v>Rolling Mean (30 Minute)</c:v>
                  </c:pt>
                  <c:pt idx="2075">
                    <c:v>Rolling Mean (30 Minute)</c:v>
                  </c:pt>
                  <c:pt idx="2076">
                    <c:v>Rolling Mean (30 Minute)</c:v>
                  </c:pt>
                  <c:pt idx="2077">
                    <c:v>Rolling Mean (30 Minute)</c:v>
                  </c:pt>
                  <c:pt idx="2078">
                    <c:v>Rolling Mean (30 Minute)</c:v>
                  </c:pt>
                  <c:pt idx="2079">
                    <c:v>Rolling Mean (30 Minute)</c:v>
                  </c:pt>
                  <c:pt idx="2080">
                    <c:v>Rolling Mean (30 Minute)</c:v>
                  </c:pt>
                  <c:pt idx="2081">
                    <c:v>Rolling Mean (30 Minute)</c:v>
                  </c:pt>
                  <c:pt idx="2082">
                    <c:v>Rolling Mean (30 Minute)</c:v>
                  </c:pt>
                  <c:pt idx="2083">
                    <c:v>Rolling Mean (30 Minute)</c:v>
                  </c:pt>
                  <c:pt idx="2084">
                    <c:v>Rolling Mean (30 Minute)</c:v>
                  </c:pt>
                  <c:pt idx="2085">
                    <c:v>Rolling Mean (30 Minute)</c:v>
                  </c:pt>
                  <c:pt idx="2086">
                    <c:v>Rolling Mean (30 Minute)</c:v>
                  </c:pt>
                  <c:pt idx="2087">
                    <c:v>Rolling Mean (30 Minute)</c:v>
                  </c:pt>
                  <c:pt idx="2088">
                    <c:v>Rolling Mean (30 Minute)</c:v>
                  </c:pt>
                  <c:pt idx="2089">
                    <c:v>Rolling Mean (30 Minute)</c:v>
                  </c:pt>
                  <c:pt idx="2090">
                    <c:v>Rolling Mean (30 Minute)</c:v>
                  </c:pt>
                  <c:pt idx="2091">
                    <c:v>Rolling Mean (30 Minute)</c:v>
                  </c:pt>
                  <c:pt idx="2092">
                    <c:v>Rolling Mean (30 Minute)</c:v>
                  </c:pt>
                  <c:pt idx="2093">
                    <c:v>Rolling Mean (30 Minute)</c:v>
                  </c:pt>
                  <c:pt idx="2094">
                    <c:v>Rolling Mean (30 Minute)</c:v>
                  </c:pt>
                  <c:pt idx="2095">
                    <c:v>Rolling Mean (30 Minute)</c:v>
                  </c:pt>
                  <c:pt idx="2096">
                    <c:v>Rolling Mean (30 Minute)</c:v>
                  </c:pt>
                  <c:pt idx="2097">
                    <c:v>Rolling Mean (30 Minute)</c:v>
                  </c:pt>
                  <c:pt idx="2098">
                    <c:v>Rolling Mean (30 Minute)</c:v>
                  </c:pt>
                  <c:pt idx="2099">
                    <c:v>Rolling Mean (30 Minute)</c:v>
                  </c:pt>
                  <c:pt idx="2100">
                    <c:v>Rolling Mean (30 Minute)</c:v>
                  </c:pt>
                  <c:pt idx="2101">
                    <c:v>Rolling Mean (30 Minute)</c:v>
                  </c:pt>
                  <c:pt idx="2102">
                    <c:v>Rolling Mean (30 Minute)</c:v>
                  </c:pt>
                  <c:pt idx="2103">
                    <c:v>Rolling Mean (30 Minute)</c:v>
                  </c:pt>
                  <c:pt idx="2104">
                    <c:v>Rolling Mean (30 Minute)</c:v>
                  </c:pt>
                  <c:pt idx="2105">
                    <c:v>Rolling Mean (30 Minute)</c:v>
                  </c:pt>
                  <c:pt idx="2106">
                    <c:v>Rolling Mean (30 Minute)</c:v>
                  </c:pt>
                  <c:pt idx="2107">
                    <c:v>Rolling Mean (30 Minute)</c:v>
                  </c:pt>
                  <c:pt idx="2108">
                    <c:v>Rolling Mean (30 Minute)</c:v>
                  </c:pt>
                  <c:pt idx="2109">
                    <c:v>Rolling Mean (30 Minute)</c:v>
                  </c:pt>
                  <c:pt idx="2110">
                    <c:v>Rolling Mean (30 Minute)</c:v>
                  </c:pt>
                  <c:pt idx="2111">
                    <c:v>Rolling Mean (30 Minute)</c:v>
                  </c:pt>
                  <c:pt idx="2112">
                    <c:v>Rolling Mean (30 Minute)</c:v>
                  </c:pt>
                  <c:pt idx="2113">
                    <c:v>Rolling Mean (30 Minute)</c:v>
                  </c:pt>
                  <c:pt idx="2114">
                    <c:v>Rolling Mean (30 Minute)</c:v>
                  </c:pt>
                  <c:pt idx="2115">
                    <c:v>Rolling Mean (30 Minute)</c:v>
                  </c:pt>
                  <c:pt idx="2116">
                    <c:v>Rolling Mean (30 Minute)</c:v>
                  </c:pt>
                  <c:pt idx="2117">
                    <c:v>Rolling Mean (30 Minute)</c:v>
                  </c:pt>
                  <c:pt idx="2118">
                    <c:v>Rolling Mean (30 Minute)</c:v>
                  </c:pt>
                  <c:pt idx="2119">
                    <c:v>Rolling Mean (30 Minute)</c:v>
                  </c:pt>
                  <c:pt idx="2120">
                    <c:v>Rolling Mean (30 Minute)</c:v>
                  </c:pt>
                  <c:pt idx="2121">
                    <c:v>Rolling Mean (30 Minute)</c:v>
                  </c:pt>
                  <c:pt idx="2122">
                    <c:v>Rolling Mean (30 Minute)</c:v>
                  </c:pt>
                  <c:pt idx="2123">
                    <c:v>Rolling Mean (30 Minute)</c:v>
                  </c:pt>
                  <c:pt idx="2124">
                    <c:v>Rolling Mean (30 Minute)</c:v>
                  </c:pt>
                  <c:pt idx="2125">
                    <c:v>Rolling Mean (30 Minute)</c:v>
                  </c:pt>
                  <c:pt idx="2126">
                    <c:v>Rolling Mean (30 Minute)</c:v>
                  </c:pt>
                  <c:pt idx="2127">
                    <c:v>Rolling Mean (30 Minute)</c:v>
                  </c:pt>
                  <c:pt idx="2128">
                    <c:v>Rolling Mean (30 Minute)</c:v>
                  </c:pt>
                  <c:pt idx="2129">
                    <c:v>Rolling Mean (30 Minute)</c:v>
                  </c:pt>
                  <c:pt idx="2130">
                    <c:v>Rolling Mean (30 Minute)</c:v>
                  </c:pt>
                  <c:pt idx="2131">
                    <c:v>Rolling Mean (30 Minute)</c:v>
                  </c:pt>
                  <c:pt idx="2132">
                    <c:v>Rolling Mean (30 Minute)</c:v>
                  </c:pt>
                  <c:pt idx="2133">
                    <c:v>Rolling Mean (30 Minute)</c:v>
                  </c:pt>
                  <c:pt idx="2134">
                    <c:v>Rolling Mean (30 Minute)</c:v>
                  </c:pt>
                  <c:pt idx="2135">
                    <c:v>Rolling Mean (30 Minute)</c:v>
                  </c:pt>
                  <c:pt idx="2136">
                    <c:v>Rolling Mean (30 Minute)</c:v>
                  </c:pt>
                  <c:pt idx="2137">
                    <c:v>Rolling Mean (30 Minute)</c:v>
                  </c:pt>
                  <c:pt idx="2138">
                    <c:v>Rolling Mean (30 Minute)</c:v>
                  </c:pt>
                  <c:pt idx="2139">
                    <c:v>Rolling Mean (30 Minute)</c:v>
                  </c:pt>
                  <c:pt idx="2140">
                    <c:v>Rolling Mean (30 Minute)</c:v>
                  </c:pt>
                  <c:pt idx="2141">
                    <c:v>Rolling Mean (30 Minute)</c:v>
                  </c:pt>
                  <c:pt idx="2142">
                    <c:v>Rolling Mean (30 Minute)</c:v>
                  </c:pt>
                  <c:pt idx="2143">
                    <c:v>Rolling Mean (30 Minute)</c:v>
                  </c:pt>
                  <c:pt idx="2144">
                    <c:v>Rolling Mean (30 Minute)</c:v>
                  </c:pt>
                  <c:pt idx="2145">
                    <c:v>Rolling Mean (30 Minute)</c:v>
                  </c:pt>
                  <c:pt idx="2146">
                    <c:v>Rolling Mean (30 Minute)</c:v>
                  </c:pt>
                  <c:pt idx="2147">
                    <c:v>Rolling Mean (30 Minute)</c:v>
                  </c:pt>
                  <c:pt idx="2148">
                    <c:v>Rolling Mean (30 Minute)</c:v>
                  </c:pt>
                  <c:pt idx="2149">
                    <c:v>Rolling Mean (30 Minute)</c:v>
                  </c:pt>
                  <c:pt idx="2150">
                    <c:v>Rolling Mean (30 Minute)</c:v>
                  </c:pt>
                  <c:pt idx="2151">
                    <c:v>Rolling Mean (30 Minute)</c:v>
                  </c:pt>
                  <c:pt idx="2152">
                    <c:v>Rolling Mean (30 Minute)</c:v>
                  </c:pt>
                  <c:pt idx="2153">
                    <c:v>Rolling Mean (30 Minute)</c:v>
                  </c:pt>
                  <c:pt idx="2154">
                    <c:v>Rolling Mean (30 Minute)</c:v>
                  </c:pt>
                  <c:pt idx="2155">
                    <c:v>Rolling Mean (30 Minute)</c:v>
                  </c:pt>
                  <c:pt idx="2156">
                    <c:v>Rolling Mean (30 Minute)</c:v>
                  </c:pt>
                  <c:pt idx="2157">
                    <c:v>Rolling Mean (30 Minute)</c:v>
                  </c:pt>
                  <c:pt idx="2158">
                    <c:v>Rolling Mean (30 Minute)</c:v>
                  </c:pt>
                  <c:pt idx="2159">
                    <c:v>Rolling Mean (30 Minute)</c:v>
                  </c:pt>
                  <c:pt idx="2160">
                    <c:v>Rolling Mean (30 Minute)</c:v>
                  </c:pt>
                  <c:pt idx="2161">
                    <c:v>Rolling Mean (30 Minute)</c:v>
                  </c:pt>
                  <c:pt idx="2162">
                    <c:v>Rolling Mean (30 Minute)</c:v>
                  </c:pt>
                  <c:pt idx="2163">
                    <c:v>Rolling Mean (30 Minute)</c:v>
                  </c:pt>
                  <c:pt idx="2164">
                    <c:v>Rolling Mean (30 Minute)</c:v>
                  </c:pt>
                  <c:pt idx="2165">
                    <c:v>Rolling Mean (30 Minute)</c:v>
                  </c:pt>
                  <c:pt idx="2166">
                    <c:v>Rolling Mean (30 Minute)</c:v>
                  </c:pt>
                  <c:pt idx="2167">
                    <c:v>Rolling Mean (30 Minute)</c:v>
                  </c:pt>
                  <c:pt idx="2168">
                    <c:v>Rolling Mean (30 Minute)</c:v>
                  </c:pt>
                  <c:pt idx="2169">
                    <c:v>Rolling Mean (30 Minute)</c:v>
                  </c:pt>
                  <c:pt idx="2170">
                    <c:v>Rolling Mean (30 Minute)</c:v>
                  </c:pt>
                  <c:pt idx="2171">
                    <c:v>Rolling Mean (30 Minute)</c:v>
                  </c:pt>
                  <c:pt idx="2172">
                    <c:v>Rolling Mean (30 Minute)</c:v>
                  </c:pt>
                  <c:pt idx="2173">
                    <c:v>Rolling Mean (30 Minute)</c:v>
                  </c:pt>
                  <c:pt idx="2174">
                    <c:v>Rolling Mean (30 Minute)</c:v>
                  </c:pt>
                  <c:pt idx="2175">
                    <c:v>Rolling Mean (30 Minute)</c:v>
                  </c:pt>
                  <c:pt idx="2176">
                    <c:v>Rolling Mean (30 Minute)</c:v>
                  </c:pt>
                  <c:pt idx="2177">
                    <c:v>Rolling Mean (30 Minute)</c:v>
                  </c:pt>
                  <c:pt idx="2178">
                    <c:v>Rolling Mean (30 Minute)</c:v>
                  </c:pt>
                  <c:pt idx="2179">
                    <c:v>Rolling Mean (30 Minute)</c:v>
                  </c:pt>
                  <c:pt idx="2180">
                    <c:v>Rolling Mean (30 Minute)</c:v>
                  </c:pt>
                  <c:pt idx="2181">
                    <c:v>Rolling Mean (30 Minute)</c:v>
                  </c:pt>
                  <c:pt idx="2182">
                    <c:v>Rolling Mean (30 Minute)</c:v>
                  </c:pt>
                  <c:pt idx="2183">
                    <c:v>Rolling Mean (30 Minute)</c:v>
                  </c:pt>
                  <c:pt idx="2184">
                    <c:v>Rolling Mean (30 Minute)</c:v>
                  </c:pt>
                  <c:pt idx="2185">
                    <c:v>Rolling Mean (30 Minute)</c:v>
                  </c:pt>
                  <c:pt idx="2186">
                    <c:v>Rolling Mean (30 Minute)</c:v>
                  </c:pt>
                  <c:pt idx="2187">
                    <c:v>Rolling Mean (30 Minute)</c:v>
                  </c:pt>
                  <c:pt idx="2188">
                    <c:v>Rolling Mean (30 Minute)</c:v>
                  </c:pt>
                  <c:pt idx="2189">
                    <c:v>Rolling Mean (30 Minute)</c:v>
                  </c:pt>
                  <c:pt idx="2190">
                    <c:v>Rolling Mean (30 Minute)</c:v>
                  </c:pt>
                  <c:pt idx="2191">
                    <c:v>Rolling Mean (30 Minute)</c:v>
                  </c:pt>
                  <c:pt idx="2192">
                    <c:v>Rolling Mean (30 Minute)</c:v>
                  </c:pt>
                  <c:pt idx="2193">
                    <c:v>Rolling Mean (30 Minute)</c:v>
                  </c:pt>
                  <c:pt idx="2194">
                    <c:v>Rolling Mean (30 Minute)</c:v>
                  </c:pt>
                  <c:pt idx="2195">
                    <c:v>Rolling Mean (30 Minute)</c:v>
                  </c:pt>
                  <c:pt idx="2196">
                    <c:v>Rolling Mean (30 Minute)</c:v>
                  </c:pt>
                  <c:pt idx="2197">
                    <c:v>Rolling Mean (30 Minute)</c:v>
                  </c:pt>
                  <c:pt idx="2198">
                    <c:v>Rolling Mean (30 Minute)</c:v>
                  </c:pt>
                  <c:pt idx="2199">
                    <c:v>Rolling Mean (30 Minute)</c:v>
                  </c:pt>
                  <c:pt idx="2200">
                    <c:v>Rolling Mean (30 Minute)</c:v>
                  </c:pt>
                  <c:pt idx="2201">
                    <c:v>Rolling Mean (30 Minute)</c:v>
                  </c:pt>
                  <c:pt idx="2202">
                    <c:v>Rolling Mean (30 Minute)</c:v>
                  </c:pt>
                  <c:pt idx="2203">
                    <c:v>Rolling Mean (30 Minute)</c:v>
                  </c:pt>
                  <c:pt idx="2204">
                    <c:v>Rolling Mean (30 Minute)</c:v>
                  </c:pt>
                  <c:pt idx="2205">
                    <c:v>Rolling Mean (30 Minute)</c:v>
                  </c:pt>
                  <c:pt idx="2206">
                    <c:v>Rolling Mean (30 Minute)</c:v>
                  </c:pt>
                  <c:pt idx="2207">
                    <c:v>Rolling Mean (30 Minute)</c:v>
                  </c:pt>
                  <c:pt idx="2208">
                    <c:v>Rolling Mean (30 Minute)</c:v>
                  </c:pt>
                  <c:pt idx="2209">
                    <c:v>Rolling Mean (30 Minute)</c:v>
                  </c:pt>
                  <c:pt idx="2210">
                    <c:v>Rolling Mean (30 Minute)</c:v>
                  </c:pt>
                  <c:pt idx="2211">
                    <c:v>Rolling Mean (30 Minute)</c:v>
                  </c:pt>
                  <c:pt idx="2212">
                    <c:v>Rolling Mean (30 Minute)</c:v>
                  </c:pt>
                  <c:pt idx="2213">
                    <c:v>Rolling Mean (30 Minute)</c:v>
                  </c:pt>
                  <c:pt idx="2214">
                    <c:v>Rolling Mean (30 Minute)</c:v>
                  </c:pt>
                  <c:pt idx="2215">
                    <c:v>Rolling Mean (30 Minute)</c:v>
                  </c:pt>
                  <c:pt idx="2216">
                    <c:v>Rolling Mean (30 Minute)</c:v>
                  </c:pt>
                  <c:pt idx="2217">
                    <c:v>Rolling Mean (30 Minute)</c:v>
                  </c:pt>
                  <c:pt idx="2218">
                    <c:v>Rolling Mean (30 Minute)</c:v>
                  </c:pt>
                  <c:pt idx="2219">
                    <c:v>Rolling Mean (30 Minute)</c:v>
                  </c:pt>
                  <c:pt idx="2220">
                    <c:v>Rolling Mean (30 Minute)</c:v>
                  </c:pt>
                  <c:pt idx="2221">
                    <c:v>Rolling Mean (30 Minute)</c:v>
                  </c:pt>
                  <c:pt idx="2222">
                    <c:v>Rolling Mean (30 Minute)</c:v>
                  </c:pt>
                  <c:pt idx="2223">
                    <c:v>Rolling Mean (30 Minute)</c:v>
                  </c:pt>
                  <c:pt idx="2224">
                    <c:v>Rolling Mean (30 Minute)</c:v>
                  </c:pt>
                  <c:pt idx="2225">
                    <c:v>Rolling Mean (30 Minute)</c:v>
                  </c:pt>
                  <c:pt idx="2226">
                    <c:v>Rolling Mean (30 Minute)</c:v>
                  </c:pt>
                  <c:pt idx="2227">
                    <c:v>Rolling Mean (30 Minute)</c:v>
                  </c:pt>
                  <c:pt idx="2228">
                    <c:v>Rolling Mean (30 Minute)</c:v>
                  </c:pt>
                  <c:pt idx="2229">
                    <c:v>Rolling Mean (30 Minute)</c:v>
                  </c:pt>
                  <c:pt idx="2230">
                    <c:v>Rolling Mean (30 Minute)</c:v>
                  </c:pt>
                  <c:pt idx="2231">
                    <c:v>Rolling Mean (30 Minute)</c:v>
                  </c:pt>
                  <c:pt idx="2232">
                    <c:v>Rolling Mean (30 Minute)</c:v>
                  </c:pt>
                  <c:pt idx="2233">
                    <c:v>Rolling Mean (30 Minute)</c:v>
                  </c:pt>
                  <c:pt idx="2234">
                    <c:v>Rolling Mean (30 Minute)</c:v>
                  </c:pt>
                  <c:pt idx="2235">
                    <c:v>Rolling Mean (30 Minute)</c:v>
                  </c:pt>
                  <c:pt idx="2236">
                    <c:v>Rolling Mean (30 Minute)</c:v>
                  </c:pt>
                  <c:pt idx="2237">
                    <c:v>Rolling Mean (30 Minute)</c:v>
                  </c:pt>
                  <c:pt idx="2238">
                    <c:v>Rolling Mean (30 Minute)</c:v>
                  </c:pt>
                  <c:pt idx="2239">
                    <c:v>Rolling Mean (30 Minute)</c:v>
                  </c:pt>
                  <c:pt idx="2240">
                    <c:v>Rolling Mean (30 Minute)</c:v>
                  </c:pt>
                  <c:pt idx="2241">
                    <c:v>Rolling Mean (30 Minute)</c:v>
                  </c:pt>
                  <c:pt idx="2242">
                    <c:v>Rolling Mean (30 Minute)</c:v>
                  </c:pt>
                  <c:pt idx="2243">
                    <c:v>Rolling Mean (30 Minute)</c:v>
                  </c:pt>
                  <c:pt idx="2244">
                    <c:v>Rolling Mean (30 Minute)</c:v>
                  </c:pt>
                  <c:pt idx="2245">
                    <c:v>Rolling Mean (30 Minute)</c:v>
                  </c:pt>
                  <c:pt idx="2246">
                    <c:v>Rolling Mean (30 Minute)</c:v>
                  </c:pt>
                  <c:pt idx="2247">
                    <c:v>Rolling Mean (30 Minute)</c:v>
                  </c:pt>
                  <c:pt idx="2248">
                    <c:v>Rolling Mean (30 Minute)</c:v>
                  </c:pt>
                  <c:pt idx="2249">
                    <c:v>Rolling Mean (30 Minute)</c:v>
                  </c:pt>
                  <c:pt idx="2250">
                    <c:v>Rolling Mean (30 Minute)</c:v>
                  </c:pt>
                  <c:pt idx="2251">
                    <c:v>Rolling Mean (30 Minute)</c:v>
                  </c:pt>
                  <c:pt idx="2252">
                    <c:v>Rolling Mean (30 Minute)</c:v>
                  </c:pt>
                  <c:pt idx="2253">
                    <c:v>Rolling Mean (30 Minute)</c:v>
                  </c:pt>
                  <c:pt idx="2254">
                    <c:v>Rolling Mean (30 Minute)</c:v>
                  </c:pt>
                  <c:pt idx="2255">
                    <c:v>Rolling Mean (30 Minute)</c:v>
                  </c:pt>
                  <c:pt idx="2256">
                    <c:v>Rolling Mean (30 Minute)</c:v>
                  </c:pt>
                  <c:pt idx="2257">
                    <c:v>Rolling Mean (30 Minute)</c:v>
                  </c:pt>
                  <c:pt idx="2258">
                    <c:v>Rolling Mean (30 Minute)</c:v>
                  </c:pt>
                  <c:pt idx="2259">
                    <c:v>Rolling Mean (30 Minute)</c:v>
                  </c:pt>
                  <c:pt idx="2260">
                    <c:v>Rolling Mean (30 Minute)</c:v>
                  </c:pt>
                  <c:pt idx="2261">
                    <c:v>Rolling Mean (30 Minute)</c:v>
                  </c:pt>
                  <c:pt idx="2262">
                    <c:v>Rolling Mean (30 Minute)</c:v>
                  </c:pt>
                  <c:pt idx="2263">
                    <c:v>Rolling Mean (30 Minute)</c:v>
                  </c:pt>
                  <c:pt idx="2264">
                    <c:v>Rolling Mean (30 Minute)</c:v>
                  </c:pt>
                  <c:pt idx="2265">
                    <c:v>Rolling Mean (30 Minute)</c:v>
                  </c:pt>
                  <c:pt idx="2266">
                    <c:v>Rolling Mean (30 Minute)</c:v>
                  </c:pt>
                  <c:pt idx="2267">
                    <c:v>Rolling Mean (30 Minute)</c:v>
                  </c:pt>
                  <c:pt idx="2268">
                    <c:v>Rolling Mean (30 Minute)</c:v>
                  </c:pt>
                  <c:pt idx="2269">
                    <c:v>Rolling Mean (30 Minute)</c:v>
                  </c:pt>
                  <c:pt idx="2270">
                    <c:v>Rolling Mean (30 Minute)</c:v>
                  </c:pt>
                  <c:pt idx="2271">
                    <c:v>Rolling Mean (30 Minute)</c:v>
                  </c:pt>
                  <c:pt idx="2272">
                    <c:v>Rolling Mean (30 Minute)</c:v>
                  </c:pt>
                  <c:pt idx="2273">
                    <c:v>Rolling Mean (30 Minute)</c:v>
                  </c:pt>
                  <c:pt idx="2274">
                    <c:v>Rolling Mean (30 Minute)</c:v>
                  </c:pt>
                  <c:pt idx="2275">
                    <c:v>Rolling Mean (30 Minute)</c:v>
                  </c:pt>
                  <c:pt idx="2276">
                    <c:v>Rolling Mean (30 Minute)</c:v>
                  </c:pt>
                  <c:pt idx="2277">
                    <c:v>Rolling Mean (30 Minute)</c:v>
                  </c:pt>
                  <c:pt idx="2278">
                    <c:v>Rolling Mean (30 Minute)</c:v>
                  </c:pt>
                  <c:pt idx="2279">
                    <c:v>Rolling Mean (30 Minute)</c:v>
                  </c:pt>
                  <c:pt idx="2280">
                    <c:v>Rolling Mean (30 Minute)</c:v>
                  </c:pt>
                  <c:pt idx="2281">
                    <c:v>Rolling Mean (30 Minute)</c:v>
                  </c:pt>
                  <c:pt idx="2282">
                    <c:v>Rolling Mean (30 Minute)</c:v>
                  </c:pt>
                  <c:pt idx="2283">
                    <c:v>Rolling Mean (30 Minute)</c:v>
                  </c:pt>
                  <c:pt idx="2284">
                    <c:v>Rolling Mean (30 Minute)</c:v>
                  </c:pt>
                  <c:pt idx="2285">
                    <c:v>Rolling Mean (30 Minute)</c:v>
                  </c:pt>
                  <c:pt idx="2286">
                    <c:v>Rolling Mean (30 Minute)</c:v>
                  </c:pt>
                  <c:pt idx="2287">
                    <c:v>Rolling Mean (30 Minute)</c:v>
                  </c:pt>
                  <c:pt idx="2288">
                    <c:v>Rolling Mean (30 Minute)</c:v>
                  </c:pt>
                  <c:pt idx="2289">
                    <c:v>Rolling Mean (30 Minute)</c:v>
                  </c:pt>
                  <c:pt idx="2290">
                    <c:v>Rolling Mean (30 Minute)</c:v>
                  </c:pt>
                  <c:pt idx="2291">
                    <c:v>Rolling Mean (30 Minute)</c:v>
                  </c:pt>
                  <c:pt idx="2292">
                    <c:v>Rolling Mean (30 Minute)</c:v>
                  </c:pt>
                  <c:pt idx="2293">
                    <c:v>Rolling Mean (30 Minute)</c:v>
                  </c:pt>
                  <c:pt idx="2294">
                    <c:v>Rolling Mean (30 Minute)</c:v>
                  </c:pt>
                  <c:pt idx="2295">
                    <c:v>Rolling Mean (30 Minute)</c:v>
                  </c:pt>
                  <c:pt idx="2296">
                    <c:v>Rolling Mean (30 Minute)</c:v>
                  </c:pt>
                  <c:pt idx="2297">
                    <c:v>Rolling Mean (30 Minute)</c:v>
                  </c:pt>
                  <c:pt idx="2298">
                    <c:v>Rolling Mean (30 Minute)</c:v>
                  </c:pt>
                  <c:pt idx="2299">
                    <c:v>Rolling Mean (30 Minute)</c:v>
                  </c:pt>
                  <c:pt idx="2300">
                    <c:v>Rolling Mean (30 Minute)</c:v>
                  </c:pt>
                  <c:pt idx="2301">
                    <c:v>Rolling Mean (30 Minute)</c:v>
                  </c:pt>
                  <c:pt idx="2302">
                    <c:v>Rolling Mean (30 Minute)</c:v>
                  </c:pt>
                  <c:pt idx="2303">
                    <c:v>Rolling Mean (30 Minute)</c:v>
                  </c:pt>
                  <c:pt idx="2304">
                    <c:v>Rolling Mean (30 Minute)</c:v>
                  </c:pt>
                  <c:pt idx="2305">
                    <c:v>Rolling Mean (30 Minute)</c:v>
                  </c:pt>
                  <c:pt idx="2306">
                    <c:v>Rolling Mean (30 Minute)</c:v>
                  </c:pt>
                  <c:pt idx="2307">
                    <c:v>Rolling Mean (30 Minute)</c:v>
                  </c:pt>
                  <c:pt idx="2308">
                    <c:v>Rolling Mean (30 Minute)</c:v>
                  </c:pt>
                  <c:pt idx="2309">
                    <c:v>Rolling Mean (30 Minute)</c:v>
                  </c:pt>
                  <c:pt idx="2310">
                    <c:v>Rolling Mean (30 Minute)</c:v>
                  </c:pt>
                  <c:pt idx="2311">
                    <c:v>Rolling Mean (30 Minute)</c:v>
                  </c:pt>
                  <c:pt idx="2312">
                    <c:v>Rolling Mean (30 Minute)</c:v>
                  </c:pt>
                  <c:pt idx="2313">
                    <c:v>Rolling Mean (30 Minute)</c:v>
                  </c:pt>
                  <c:pt idx="2314">
                    <c:v>Rolling Mean (30 Minute)</c:v>
                  </c:pt>
                  <c:pt idx="2315">
                    <c:v>Rolling Mean (30 Minute)</c:v>
                  </c:pt>
                  <c:pt idx="2316">
                    <c:v>Rolling Mean (30 Minute)</c:v>
                  </c:pt>
                  <c:pt idx="2317">
                    <c:v>Rolling Mean (30 Minute)</c:v>
                  </c:pt>
                  <c:pt idx="2318">
                    <c:v>Rolling Mean (30 Minute)</c:v>
                  </c:pt>
                  <c:pt idx="2319">
                    <c:v>Rolling Mean (30 Minute)</c:v>
                  </c:pt>
                  <c:pt idx="2320">
                    <c:v>Rolling Mean (30 Minute)</c:v>
                  </c:pt>
                  <c:pt idx="2321">
                    <c:v>Rolling Mean (30 Minute)</c:v>
                  </c:pt>
                  <c:pt idx="2322">
                    <c:v>Rolling Mean (30 Minute)</c:v>
                  </c:pt>
                  <c:pt idx="2323">
                    <c:v>Rolling Mean (30 Minute)</c:v>
                  </c:pt>
                  <c:pt idx="2324">
                    <c:v>Rolling Mean (30 Minute)</c:v>
                  </c:pt>
                  <c:pt idx="2325">
                    <c:v>Rolling Mean (30 Minute)</c:v>
                  </c:pt>
                  <c:pt idx="2326">
                    <c:v>Rolling Mean (30 Minute)</c:v>
                  </c:pt>
                  <c:pt idx="2327">
                    <c:v>Rolling Mean (30 Minute)</c:v>
                  </c:pt>
                  <c:pt idx="2328">
                    <c:v>Rolling Mean (30 Minute)</c:v>
                  </c:pt>
                  <c:pt idx="2329">
                    <c:v>Rolling Mean (30 Minute)</c:v>
                  </c:pt>
                  <c:pt idx="2330">
                    <c:v>Rolling Mean (30 Minute)</c:v>
                  </c:pt>
                  <c:pt idx="2331">
                    <c:v>Rolling Mean (30 Minute)</c:v>
                  </c:pt>
                  <c:pt idx="2332">
                    <c:v>Rolling Mean (30 Minute)</c:v>
                  </c:pt>
                  <c:pt idx="2333">
                    <c:v>Rolling Mean (30 Minute)</c:v>
                  </c:pt>
                  <c:pt idx="2334">
                    <c:v>Rolling Mean (30 Minute)</c:v>
                  </c:pt>
                  <c:pt idx="2335">
                    <c:v>Rolling Mean (30 Minute)</c:v>
                  </c:pt>
                  <c:pt idx="2336">
                    <c:v>Rolling Mean (30 Minute)</c:v>
                  </c:pt>
                  <c:pt idx="2337">
                    <c:v>Rolling Mean (30 Minute)</c:v>
                  </c:pt>
                  <c:pt idx="2338">
                    <c:v>Rolling Mean (30 Minute)</c:v>
                  </c:pt>
                  <c:pt idx="2339">
                    <c:v>Rolling Mean (30 Minute)</c:v>
                  </c:pt>
                  <c:pt idx="2340">
                    <c:v>Rolling Mean (30 Minute)</c:v>
                  </c:pt>
                  <c:pt idx="2341">
                    <c:v>Rolling Mean (30 Minute)</c:v>
                  </c:pt>
                  <c:pt idx="2342">
                    <c:v>Rolling Mean (30 Minute)</c:v>
                  </c:pt>
                  <c:pt idx="2343">
                    <c:v>Rolling Mean (30 Minute)</c:v>
                  </c:pt>
                  <c:pt idx="2344">
                    <c:v>Rolling Mean (30 Minute)</c:v>
                  </c:pt>
                  <c:pt idx="2345">
                    <c:v>Rolling Mean (30 Minute)</c:v>
                  </c:pt>
                  <c:pt idx="2346">
                    <c:v>Rolling Mean (30 Minute)</c:v>
                  </c:pt>
                  <c:pt idx="2347">
                    <c:v>Rolling Mean (30 Minute)</c:v>
                  </c:pt>
                  <c:pt idx="2348">
                    <c:v>Rolling Mean (30 Minute)</c:v>
                  </c:pt>
                  <c:pt idx="2349">
                    <c:v>Rolling Mean (30 Minute)</c:v>
                  </c:pt>
                  <c:pt idx="2350">
                    <c:v>Rolling Mean (30 Minute)</c:v>
                  </c:pt>
                  <c:pt idx="2351">
                    <c:v>Rolling Mean (30 Minute)</c:v>
                  </c:pt>
                  <c:pt idx="2352">
                    <c:v>Rolling Mean (30 Minute)</c:v>
                  </c:pt>
                  <c:pt idx="2353">
                    <c:v>Rolling Mean (30 Minute)</c:v>
                  </c:pt>
                  <c:pt idx="2354">
                    <c:v>Rolling Mean (30 Minute)</c:v>
                  </c:pt>
                  <c:pt idx="2355">
                    <c:v>Rolling Mean (30 Minute)</c:v>
                  </c:pt>
                  <c:pt idx="2356">
                    <c:v>Rolling Mean (30 Minute)</c:v>
                  </c:pt>
                  <c:pt idx="2357">
                    <c:v>Rolling Mean (30 Minute)</c:v>
                  </c:pt>
                  <c:pt idx="2358">
                    <c:v>Rolling Mean (30 Minute)</c:v>
                  </c:pt>
                  <c:pt idx="2359">
                    <c:v>Rolling Mean (30 Minute)</c:v>
                  </c:pt>
                  <c:pt idx="2360">
                    <c:v>Rolling Mean (30 Minute)</c:v>
                  </c:pt>
                  <c:pt idx="2361">
                    <c:v>Rolling Mean (30 Minute)</c:v>
                  </c:pt>
                  <c:pt idx="2362">
                    <c:v>Rolling Mean (30 Minute)</c:v>
                  </c:pt>
                  <c:pt idx="2363">
                    <c:v>Rolling Mean (30 Minute)</c:v>
                  </c:pt>
                  <c:pt idx="2364">
                    <c:v>Rolling Mean (30 Minute)</c:v>
                  </c:pt>
                  <c:pt idx="2365">
                    <c:v>Rolling Mean (30 Minute)</c:v>
                  </c:pt>
                  <c:pt idx="2366">
                    <c:v>Rolling Mean (30 Minute)</c:v>
                  </c:pt>
                  <c:pt idx="2367">
                    <c:v>Rolling Mean (30 Minute)</c:v>
                  </c:pt>
                  <c:pt idx="2368">
                    <c:v>Rolling Mean (30 Minute)</c:v>
                  </c:pt>
                  <c:pt idx="2369">
                    <c:v>Rolling Mean (30 Minute)</c:v>
                  </c:pt>
                  <c:pt idx="2370">
                    <c:v>Rolling Mean (30 Minute)</c:v>
                  </c:pt>
                  <c:pt idx="2371">
                    <c:v>Rolling Mean (30 Minute)</c:v>
                  </c:pt>
                  <c:pt idx="2372">
                    <c:v>Rolling Mean (30 Minute)</c:v>
                  </c:pt>
                  <c:pt idx="2373">
                    <c:v>Rolling Mean (30 Minute)</c:v>
                  </c:pt>
                  <c:pt idx="2374">
                    <c:v>Rolling Mean (30 Minute)</c:v>
                  </c:pt>
                  <c:pt idx="2375">
                    <c:v>Rolling Mean (30 Minute)</c:v>
                  </c:pt>
                  <c:pt idx="2376">
                    <c:v>Rolling Mean (30 Minute)</c:v>
                  </c:pt>
                  <c:pt idx="2377">
                    <c:v>Rolling Mean (30 Minute)</c:v>
                  </c:pt>
                  <c:pt idx="2378">
                    <c:v>Rolling Mean (30 Minute)</c:v>
                  </c:pt>
                  <c:pt idx="2379">
                    <c:v>Rolling Mean (30 Minute)</c:v>
                  </c:pt>
                  <c:pt idx="2380">
                    <c:v>Rolling Mean (30 Minute)</c:v>
                  </c:pt>
                  <c:pt idx="2381">
                    <c:v>Rolling Mean (30 Minute)</c:v>
                  </c:pt>
                  <c:pt idx="2382">
                    <c:v>Rolling Mean (30 Minute)</c:v>
                  </c:pt>
                  <c:pt idx="2383">
                    <c:v>Rolling Mean (30 Minute)</c:v>
                  </c:pt>
                  <c:pt idx="2384">
                    <c:v>Rolling Mean (30 Minute)</c:v>
                  </c:pt>
                  <c:pt idx="2385">
                    <c:v>Rolling Mean (30 Minute)</c:v>
                  </c:pt>
                  <c:pt idx="2386">
                    <c:v>Rolling Mean (30 Minute)</c:v>
                  </c:pt>
                  <c:pt idx="2387">
                    <c:v>Rolling Mean (30 Minute)</c:v>
                  </c:pt>
                  <c:pt idx="2388">
                    <c:v>Rolling Mean (30 Minute)</c:v>
                  </c:pt>
                  <c:pt idx="2389">
                    <c:v>Rolling Mean (30 Minute)</c:v>
                  </c:pt>
                  <c:pt idx="2390">
                    <c:v>Rolling Mean (30 Minute)</c:v>
                  </c:pt>
                  <c:pt idx="2391">
                    <c:v>Rolling Mean (30 Minute)</c:v>
                  </c:pt>
                  <c:pt idx="2392">
                    <c:v>Rolling Mean (30 Minute)</c:v>
                  </c:pt>
                  <c:pt idx="2393">
                    <c:v>Rolling Mean (30 Minute)</c:v>
                  </c:pt>
                  <c:pt idx="2394">
                    <c:v>Rolling Mean (30 Minute)</c:v>
                  </c:pt>
                  <c:pt idx="2395">
                    <c:v>Rolling Mean (30 Minute)</c:v>
                  </c:pt>
                  <c:pt idx="2396">
                    <c:v>Rolling Mean (30 Minute)</c:v>
                  </c:pt>
                  <c:pt idx="2397">
                    <c:v>Rolling Mean (30 Minute)</c:v>
                  </c:pt>
                  <c:pt idx="2398">
                    <c:v>Rolling Mean (30 Minute)</c:v>
                  </c:pt>
                  <c:pt idx="2399">
                    <c:v>Rolling Mean (30 Minute)</c:v>
                  </c:pt>
                  <c:pt idx="2400">
                    <c:v>Rolling Mean (30 Minute)</c:v>
                  </c:pt>
                  <c:pt idx="2401">
                    <c:v>Rolling Mean (30 Minute)</c:v>
                  </c:pt>
                  <c:pt idx="2402">
                    <c:v>Rolling Mean (30 Minute)</c:v>
                  </c:pt>
                  <c:pt idx="2403">
                    <c:v>Rolling Mean (30 Minute)</c:v>
                  </c:pt>
                  <c:pt idx="2404">
                    <c:v>Rolling Mean (30 Minute)</c:v>
                  </c:pt>
                  <c:pt idx="2405">
                    <c:v>Rolling Mean (30 Minute)</c:v>
                  </c:pt>
                  <c:pt idx="2406">
                    <c:v>Rolling Mean (30 Minute)</c:v>
                  </c:pt>
                  <c:pt idx="2407">
                    <c:v>Rolling Mean (30 Minute)</c:v>
                  </c:pt>
                  <c:pt idx="2408">
                    <c:v>Rolling Mean (30 Minute)</c:v>
                  </c:pt>
                  <c:pt idx="2409">
                    <c:v>Rolling Mean (30 Minute)</c:v>
                  </c:pt>
                  <c:pt idx="2410">
                    <c:v>Rolling Mean (30 Minute)</c:v>
                  </c:pt>
                  <c:pt idx="2411">
                    <c:v>Rolling Mean (30 Minute)</c:v>
                  </c:pt>
                  <c:pt idx="2412">
                    <c:v>Rolling Mean (30 Minute)</c:v>
                  </c:pt>
                  <c:pt idx="2413">
                    <c:v>Rolling Mean (30 Minute)</c:v>
                  </c:pt>
                  <c:pt idx="2414">
                    <c:v>Rolling Mean (30 Minute)</c:v>
                  </c:pt>
                  <c:pt idx="2415">
                    <c:v>Rolling Mean (30 Minute)</c:v>
                  </c:pt>
                  <c:pt idx="2416">
                    <c:v>Rolling Mean (30 Minute)</c:v>
                  </c:pt>
                  <c:pt idx="2417">
                    <c:v>Rolling Mean (30 Minute)</c:v>
                  </c:pt>
                  <c:pt idx="2418">
                    <c:v>Rolling Mean (30 Minute)</c:v>
                  </c:pt>
                  <c:pt idx="2419">
                    <c:v>Rolling Mean (30 Minute)</c:v>
                  </c:pt>
                  <c:pt idx="2420">
                    <c:v>Rolling Mean (30 Minute)</c:v>
                  </c:pt>
                  <c:pt idx="2421">
                    <c:v>Rolling Mean (30 Minute)</c:v>
                  </c:pt>
                  <c:pt idx="2422">
                    <c:v>Rolling Mean (30 Minute)</c:v>
                  </c:pt>
                  <c:pt idx="2423">
                    <c:v>Rolling Mean (30 Minute)</c:v>
                  </c:pt>
                  <c:pt idx="2424">
                    <c:v>Rolling Mean (30 Minute)</c:v>
                  </c:pt>
                  <c:pt idx="2425">
                    <c:v>Rolling Mean (30 Minute)</c:v>
                  </c:pt>
                  <c:pt idx="2426">
                    <c:v>Rolling Mean (30 Minute)</c:v>
                  </c:pt>
                  <c:pt idx="2427">
                    <c:v>Rolling Mean (30 Minute)</c:v>
                  </c:pt>
                  <c:pt idx="2428">
                    <c:v>Rolling Mean (30 Minute)</c:v>
                  </c:pt>
                  <c:pt idx="2429">
                    <c:v>Rolling Mean (30 Minute)</c:v>
                  </c:pt>
                  <c:pt idx="2430">
                    <c:v>Rolling Mean (30 Minute)</c:v>
                  </c:pt>
                  <c:pt idx="2431">
                    <c:v>Rolling Mean (30 Minute)</c:v>
                  </c:pt>
                  <c:pt idx="2432">
                    <c:v>Rolling Mean (30 Minute)</c:v>
                  </c:pt>
                  <c:pt idx="2433">
                    <c:v>Rolling Mean (30 Minute)</c:v>
                  </c:pt>
                  <c:pt idx="2434">
                    <c:v>Rolling Mean (30 Minute)</c:v>
                  </c:pt>
                  <c:pt idx="2435">
                    <c:v>Rolling Mean (30 Minute)</c:v>
                  </c:pt>
                  <c:pt idx="2436">
                    <c:v>Rolling Mean (30 Minute)</c:v>
                  </c:pt>
                  <c:pt idx="2437">
                    <c:v>Rolling Mean (30 Minute)</c:v>
                  </c:pt>
                  <c:pt idx="2438">
                    <c:v>Rolling Mean (30 Minute)</c:v>
                  </c:pt>
                  <c:pt idx="2439">
                    <c:v>Rolling Mean (30 Minute)</c:v>
                  </c:pt>
                  <c:pt idx="2440">
                    <c:v>Rolling Mean (30 Minute)</c:v>
                  </c:pt>
                  <c:pt idx="2441">
                    <c:v>Rolling Mean (30 Minute)</c:v>
                  </c:pt>
                  <c:pt idx="2442">
                    <c:v>Rolling Mean (30 Minute)</c:v>
                  </c:pt>
                  <c:pt idx="2443">
                    <c:v>Rolling Mean (30 Minute)</c:v>
                  </c:pt>
                  <c:pt idx="2444">
                    <c:v>Rolling Mean (30 Minute)</c:v>
                  </c:pt>
                  <c:pt idx="2445">
                    <c:v>Rolling Mean (30 Minute)</c:v>
                  </c:pt>
                  <c:pt idx="2446">
                    <c:v>Rolling Mean (30 Minute)</c:v>
                  </c:pt>
                  <c:pt idx="2447">
                    <c:v>Rolling Mean (30 Minute)</c:v>
                  </c:pt>
                  <c:pt idx="2448">
                    <c:v>Rolling Mean (30 Minute)</c:v>
                  </c:pt>
                  <c:pt idx="2449">
                    <c:v>Rolling Mean (30 Minute)</c:v>
                  </c:pt>
                  <c:pt idx="2450">
                    <c:v>Rolling Mean (30 Minute)</c:v>
                  </c:pt>
                  <c:pt idx="2451">
                    <c:v>Rolling Mean (30 Minute)</c:v>
                  </c:pt>
                </c:lvl>
              </c:multiLvlStrCache>
            </c:multiLvlStrRef>
          </c:cat>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EEAA-4648-9585-8881DB12715D}"/>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multiLvlStrRef>
              <c:f>'DRT Rolling Mean'!$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Mean (30 Minute)</c:v>
                  </c:pt>
                  <c:pt idx="1">
                    <c:v>Rolling Mean (30 Minute)</c:v>
                  </c:pt>
                  <c:pt idx="2">
                    <c:v>Rolling Mean (30 Minute)</c:v>
                  </c:pt>
                  <c:pt idx="3">
                    <c:v>Rolling Mean (30 Minute)</c:v>
                  </c:pt>
                  <c:pt idx="4">
                    <c:v>Rolling Mean (30 Minute)</c:v>
                  </c:pt>
                  <c:pt idx="5">
                    <c:v>Rolling Mean (30 Minute)</c:v>
                  </c:pt>
                  <c:pt idx="6">
                    <c:v>Rolling Mean (30 Minute)</c:v>
                  </c:pt>
                  <c:pt idx="7">
                    <c:v>Rolling Mean (30 Minute)</c:v>
                  </c:pt>
                  <c:pt idx="8">
                    <c:v>Rolling Mean (30 Minute)</c:v>
                  </c:pt>
                  <c:pt idx="9">
                    <c:v>Rolling Mean (30 Minute)</c:v>
                  </c:pt>
                  <c:pt idx="10">
                    <c:v>Rolling Mean (30 Minute)</c:v>
                  </c:pt>
                  <c:pt idx="11">
                    <c:v>Rolling Mean (30 Minute)</c:v>
                  </c:pt>
                  <c:pt idx="12">
                    <c:v>Rolling Mean (30 Minute)</c:v>
                  </c:pt>
                  <c:pt idx="13">
                    <c:v>Rolling Mean (30 Minute)</c:v>
                  </c:pt>
                  <c:pt idx="14">
                    <c:v>Rolling Mean (30 Minute)</c:v>
                  </c:pt>
                  <c:pt idx="15">
                    <c:v>Rolling Mean (30 Minute)</c:v>
                  </c:pt>
                  <c:pt idx="16">
                    <c:v>Rolling Mean (30 Minute)</c:v>
                  </c:pt>
                  <c:pt idx="17">
                    <c:v>Rolling Mean (30 Minute)</c:v>
                  </c:pt>
                  <c:pt idx="18">
                    <c:v>Rolling Mean (30 Minute)</c:v>
                  </c:pt>
                  <c:pt idx="19">
                    <c:v>Rolling Mean (30 Minute)</c:v>
                  </c:pt>
                  <c:pt idx="20">
                    <c:v>Rolling Mean (30 Minute)</c:v>
                  </c:pt>
                  <c:pt idx="21">
                    <c:v>Rolling Mean (30 Minute)</c:v>
                  </c:pt>
                  <c:pt idx="22">
                    <c:v>Rolling Mean (30 Minute)</c:v>
                  </c:pt>
                  <c:pt idx="23">
                    <c:v>Rolling Mean (30 Minute)</c:v>
                  </c:pt>
                  <c:pt idx="24">
                    <c:v>Rolling Mean (30 Minute)</c:v>
                  </c:pt>
                  <c:pt idx="25">
                    <c:v>Rolling Mean (30 Minute)</c:v>
                  </c:pt>
                  <c:pt idx="26">
                    <c:v>Rolling Mean (30 Minute)</c:v>
                  </c:pt>
                  <c:pt idx="27">
                    <c:v>Rolling Mean (30 Minute)</c:v>
                  </c:pt>
                  <c:pt idx="28">
                    <c:v>Rolling Mean (30 Minute)</c:v>
                  </c:pt>
                  <c:pt idx="29">
                    <c:v>Rolling Mean (30 Minute)</c:v>
                  </c:pt>
                  <c:pt idx="30">
                    <c:v>Rolling Mean (30 Minute)</c:v>
                  </c:pt>
                  <c:pt idx="31">
                    <c:v>Rolling Mean (30 Minute)</c:v>
                  </c:pt>
                  <c:pt idx="32">
                    <c:v>Rolling Mean (30 Minute)</c:v>
                  </c:pt>
                  <c:pt idx="33">
                    <c:v>Rolling Mean (30 Minute)</c:v>
                  </c:pt>
                  <c:pt idx="34">
                    <c:v>Rolling Mean (30 Minute)</c:v>
                  </c:pt>
                  <c:pt idx="35">
                    <c:v>Rolling Mean (30 Minute)</c:v>
                  </c:pt>
                  <c:pt idx="36">
                    <c:v>Rolling Mean (30 Minute)</c:v>
                  </c:pt>
                  <c:pt idx="37">
                    <c:v>Rolling Mean (30 Minute)</c:v>
                  </c:pt>
                  <c:pt idx="38">
                    <c:v>Rolling Mean (30 Minute)</c:v>
                  </c:pt>
                  <c:pt idx="39">
                    <c:v>Rolling Mean (30 Minute)</c:v>
                  </c:pt>
                  <c:pt idx="40">
                    <c:v>Rolling Mean (30 Minute)</c:v>
                  </c:pt>
                  <c:pt idx="41">
                    <c:v>Rolling Mean (30 Minute)</c:v>
                  </c:pt>
                  <c:pt idx="42">
                    <c:v>Rolling Mean (30 Minute)</c:v>
                  </c:pt>
                  <c:pt idx="43">
                    <c:v>Rolling Mean (30 Minute)</c:v>
                  </c:pt>
                  <c:pt idx="44">
                    <c:v>Rolling Mean (30 Minute)</c:v>
                  </c:pt>
                  <c:pt idx="45">
                    <c:v>Rolling Mean (30 Minute)</c:v>
                  </c:pt>
                  <c:pt idx="46">
                    <c:v>Rolling Mean (30 Minute)</c:v>
                  </c:pt>
                  <c:pt idx="47">
                    <c:v>Rolling Mean (30 Minute)</c:v>
                  </c:pt>
                  <c:pt idx="48">
                    <c:v>Rolling Mean (30 Minute)</c:v>
                  </c:pt>
                  <c:pt idx="49">
                    <c:v>Rolling Mean (30 Minute)</c:v>
                  </c:pt>
                  <c:pt idx="50">
                    <c:v>Rolling Mean (30 Minute)</c:v>
                  </c:pt>
                  <c:pt idx="51">
                    <c:v>Rolling Mean (30 Minute)</c:v>
                  </c:pt>
                  <c:pt idx="52">
                    <c:v>Rolling Mean (30 Minute)</c:v>
                  </c:pt>
                  <c:pt idx="53">
                    <c:v>Rolling Mean (30 Minute)</c:v>
                  </c:pt>
                  <c:pt idx="54">
                    <c:v>Rolling Mean (30 Minute)</c:v>
                  </c:pt>
                  <c:pt idx="55">
                    <c:v>Rolling Mean (30 Minute)</c:v>
                  </c:pt>
                  <c:pt idx="56">
                    <c:v>Rolling Mean (30 Minute)</c:v>
                  </c:pt>
                  <c:pt idx="57">
                    <c:v>Rolling Mean (30 Minute)</c:v>
                  </c:pt>
                  <c:pt idx="58">
                    <c:v>Rolling Mean (30 Minute)</c:v>
                  </c:pt>
                  <c:pt idx="59">
                    <c:v>Rolling Mean (30 Minute)</c:v>
                  </c:pt>
                  <c:pt idx="60">
                    <c:v>Rolling Mean (30 Minute)</c:v>
                  </c:pt>
                  <c:pt idx="61">
                    <c:v>Rolling Mean (30 Minute)</c:v>
                  </c:pt>
                  <c:pt idx="62">
                    <c:v>Rolling Mean (30 Minute)</c:v>
                  </c:pt>
                  <c:pt idx="63">
                    <c:v>Rolling Mean (30 Minute)</c:v>
                  </c:pt>
                  <c:pt idx="64">
                    <c:v>Rolling Mean (30 Minute)</c:v>
                  </c:pt>
                  <c:pt idx="65">
                    <c:v>Rolling Mean (30 Minute)</c:v>
                  </c:pt>
                  <c:pt idx="66">
                    <c:v>Rolling Mean (30 Minute)</c:v>
                  </c:pt>
                  <c:pt idx="67">
                    <c:v>Rolling Mean (30 Minute)</c:v>
                  </c:pt>
                  <c:pt idx="68">
                    <c:v>Rolling Mean (30 Minute)</c:v>
                  </c:pt>
                  <c:pt idx="69">
                    <c:v>Rolling Mean (30 Minute)</c:v>
                  </c:pt>
                  <c:pt idx="70">
                    <c:v>Rolling Mean (30 Minute)</c:v>
                  </c:pt>
                  <c:pt idx="71">
                    <c:v>Rolling Mean (30 Minute)</c:v>
                  </c:pt>
                  <c:pt idx="72">
                    <c:v>Rolling Mean (30 Minute)</c:v>
                  </c:pt>
                  <c:pt idx="73">
                    <c:v>Rolling Mean (30 Minute)</c:v>
                  </c:pt>
                  <c:pt idx="74">
                    <c:v>Rolling Mean (30 Minute)</c:v>
                  </c:pt>
                  <c:pt idx="75">
                    <c:v>Rolling Mean (30 Minute)</c:v>
                  </c:pt>
                  <c:pt idx="76">
                    <c:v>Rolling Mean (30 Minute)</c:v>
                  </c:pt>
                  <c:pt idx="77">
                    <c:v>Rolling Mean (30 Minute)</c:v>
                  </c:pt>
                  <c:pt idx="78">
                    <c:v>Rolling Mean (30 Minute)</c:v>
                  </c:pt>
                  <c:pt idx="79">
                    <c:v>Rolling Mean (30 Minute)</c:v>
                  </c:pt>
                  <c:pt idx="80">
                    <c:v>Rolling Mean (30 Minute)</c:v>
                  </c:pt>
                  <c:pt idx="81">
                    <c:v>Rolling Mean (30 Minute)</c:v>
                  </c:pt>
                  <c:pt idx="82">
                    <c:v>Rolling Mean (30 Minute)</c:v>
                  </c:pt>
                  <c:pt idx="83">
                    <c:v>Rolling Mean (30 Minute)</c:v>
                  </c:pt>
                  <c:pt idx="84">
                    <c:v>Rolling Mean (30 Minute)</c:v>
                  </c:pt>
                  <c:pt idx="85">
                    <c:v>Rolling Mean (30 Minute)</c:v>
                  </c:pt>
                  <c:pt idx="86">
                    <c:v>Rolling Mean (30 Minute)</c:v>
                  </c:pt>
                  <c:pt idx="87">
                    <c:v>Rolling Mean (30 Minute)</c:v>
                  </c:pt>
                  <c:pt idx="88">
                    <c:v>Rolling Mean (30 Minute)</c:v>
                  </c:pt>
                  <c:pt idx="89">
                    <c:v>Rolling Mean (30 Minute)</c:v>
                  </c:pt>
                  <c:pt idx="90">
                    <c:v>Rolling Mean (30 Minute)</c:v>
                  </c:pt>
                  <c:pt idx="91">
                    <c:v>Rolling Mean (30 Minute)</c:v>
                  </c:pt>
                  <c:pt idx="92">
                    <c:v>Rolling Mean (30 Minute)</c:v>
                  </c:pt>
                  <c:pt idx="93">
                    <c:v>Rolling Mean (30 Minute)</c:v>
                  </c:pt>
                  <c:pt idx="94">
                    <c:v>Rolling Mean (30 Minute)</c:v>
                  </c:pt>
                  <c:pt idx="95">
                    <c:v>Rolling Mean (30 Minute)</c:v>
                  </c:pt>
                  <c:pt idx="96">
                    <c:v>Rolling Mean (30 Minute)</c:v>
                  </c:pt>
                  <c:pt idx="97">
                    <c:v>Rolling Mean (30 Minute)</c:v>
                  </c:pt>
                  <c:pt idx="98">
                    <c:v>Rolling Mean (30 Minute)</c:v>
                  </c:pt>
                  <c:pt idx="99">
                    <c:v>Rolling Mean (30 Minute)</c:v>
                  </c:pt>
                  <c:pt idx="100">
                    <c:v>Rolling Mean (30 Minute)</c:v>
                  </c:pt>
                  <c:pt idx="101">
                    <c:v>Rolling Mean (30 Minute)</c:v>
                  </c:pt>
                  <c:pt idx="102">
                    <c:v>Rolling Mean (30 Minute)</c:v>
                  </c:pt>
                  <c:pt idx="103">
                    <c:v>Rolling Mean (30 Minute)</c:v>
                  </c:pt>
                  <c:pt idx="104">
                    <c:v>Rolling Mean (30 Minute)</c:v>
                  </c:pt>
                  <c:pt idx="105">
                    <c:v>Rolling Mean (30 Minute)</c:v>
                  </c:pt>
                  <c:pt idx="106">
                    <c:v>Rolling Mean (30 Minute)</c:v>
                  </c:pt>
                  <c:pt idx="107">
                    <c:v>Rolling Mean (30 Minute)</c:v>
                  </c:pt>
                  <c:pt idx="108">
                    <c:v>Rolling Mean (30 Minute)</c:v>
                  </c:pt>
                  <c:pt idx="109">
                    <c:v>Rolling Mean (30 Minute)</c:v>
                  </c:pt>
                  <c:pt idx="110">
                    <c:v>Rolling Mean (30 Minute)</c:v>
                  </c:pt>
                  <c:pt idx="111">
                    <c:v>Rolling Mean (30 Minute)</c:v>
                  </c:pt>
                  <c:pt idx="112">
                    <c:v>Rolling Mean (30 Minute)</c:v>
                  </c:pt>
                  <c:pt idx="113">
                    <c:v>Rolling Mean (30 Minute)</c:v>
                  </c:pt>
                  <c:pt idx="114">
                    <c:v>Rolling Mean (30 Minute)</c:v>
                  </c:pt>
                  <c:pt idx="115">
                    <c:v>Rolling Mean (30 Minute)</c:v>
                  </c:pt>
                  <c:pt idx="116">
                    <c:v>Rolling Mean (30 Minute)</c:v>
                  </c:pt>
                  <c:pt idx="117">
                    <c:v>Rolling Mean (30 Minute)</c:v>
                  </c:pt>
                  <c:pt idx="118">
                    <c:v>Rolling Mean (30 Minute)</c:v>
                  </c:pt>
                  <c:pt idx="119">
                    <c:v>Rolling Mean (30 Minute)</c:v>
                  </c:pt>
                  <c:pt idx="120">
                    <c:v>Rolling Mean (30 Minute)</c:v>
                  </c:pt>
                  <c:pt idx="121">
                    <c:v>Rolling Mean (30 Minute)</c:v>
                  </c:pt>
                  <c:pt idx="122">
                    <c:v>Rolling Mean (30 Minute)</c:v>
                  </c:pt>
                  <c:pt idx="123">
                    <c:v>Rolling Mean (30 Minute)</c:v>
                  </c:pt>
                  <c:pt idx="124">
                    <c:v>Rolling Mean (30 Minute)</c:v>
                  </c:pt>
                  <c:pt idx="125">
                    <c:v>Rolling Mean (30 Minute)</c:v>
                  </c:pt>
                  <c:pt idx="126">
                    <c:v>Rolling Mean (30 Minute)</c:v>
                  </c:pt>
                  <c:pt idx="127">
                    <c:v>Rolling Mean (30 Minute)</c:v>
                  </c:pt>
                  <c:pt idx="128">
                    <c:v>Rolling Mean (30 Minute)</c:v>
                  </c:pt>
                  <c:pt idx="129">
                    <c:v>Rolling Mean (30 Minute)</c:v>
                  </c:pt>
                  <c:pt idx="130">
                    <c:v>Rolling Mean (30 Minute)</c:v>
                  </c:pt>
                  <c:pt idx="131">
                    <c:v>Rolling Mean (30 Minute)</c:v>
                  </c:pt>
                  <c:pt idx="132">
                    <c:v>Rolling Mean (30 Minute)</c:v>
                  </c:pt>
                  <c:pt idx="133">
                    <c:v>Rolling Mean (30 Minute)</c:v>
                  </c:pt>
                  <c:pt idx="134">
                    <c:v>Rolling Mean (30 Minute)</c:v>
                  </c:pt>
                  <c:pt idx="135">
                    <c:v>Rolling Mean (30 Minute)</c:v>
                  </c:pt>
                  <c:pt idx="136">
                    <c:v>Rolling Mean (30 Minute)</c:v>
                  </c:pt>
                  <c:pt idx="137">
                    <c:v>Rolling Mean (30 Minute)</c:v>
                  </c:pt>
                  <c:pt idx="138">
                    <c:v>Rolling Mean (30 Minute)</c:v>
                  </c:pt>
                  <c:pt idx="139">
                    <c:v>Rolling Mean (30 Minute)</c:v>
                  </c:pt>
                  <c:pt idx="140">
                    <c:v>Rolling Mean (30 Minute)</c:v>
                  </c:pt>
                  <c:pt idx="141">
                    <c:v>Rolling Mean (30 Minute)</c:v>
                  </c:pt>
                  <c:pt idx="142">
                    <c:v>Rolling Mean (30 Minute)</c:v>
                  </c:pt>
                  <c:pt idx="143">
                    <c:v>Rolling Mean (30 Minute)</c:v>
                  </c:pt>
                  <c:pt idx="144">
                    <c:v>Rolling Mean (30 Minute)</c:v>
                  </c:pt>
                  <c:pt idx="145">
                    <c:v>Rolling Mean (30 Minute)</c:v>
                  </c:pt>
                  <c:pt idx="146">
                    <c:v>Rolling Mean (30 Minute)</c:v>
                  </c:pt>
                  <c:pt idx="147">
                    <c:v>Rolling Mean (30 Minute)</c:v>
                  </c:pt>
                  <c:pt idx="148">
                    <c:v>Rolling Mean (30 Minute)</c:v>
                  </c:pt>
                  <c:pt idx="149">
                    <c:v>Rolling Mean (30 Minute)</c:v>
                  </c:pt>
                  <c:pt idx="150">
                    <c:v>Rolling Mean (30 Minute)</c:v>
                  </c:pt>
                  <c:pt idx="151">
                    <c:v>Rolling Mean (30 Minute)</c:v>
                  </c:pt>
                  <c:pt idx="152">
                    <c:v>Rolling Mean (30 Minute)</c:v>
                  </c:pt>
                  <c:pt idx="153">
                    <c:v>Rolling Mean (30 Minute)</c:v>
                  </c:pt>
                  <c:pt idx="154">
                    <c:v>Rolling Mean (30 Minute)</c:v>
                  </c:pt>
                  <c:pt idx="155">
                    <c:v>Rolling Mean (30 Minute)</c:v>
                  </c:pt>
                  <c:pt idx="156">
                    <c:v>Rolling Mean (30 Minute)</c:v>
                  </c:pt>
                  <c:pt idx="157">
                    <c:v>Rolling Mean (30 Minute)</c:v>
                  </c:pt>
                  <c:pt idx="158">
                    <c:v>Rolling Mean (30 Minute)</c:v>
                  </c:pt>
                  <c:pt idx="159">
                    <c:v>Rolling Mean (30 Minute)</c:v>
                  </c:pt>
                  <c:pt idx="160">
                    <c:v>Rolling Mean (30 Minute)</c:v>
                  </c:pt>
                  <c:pt idx="161">
                    <c:v>Rolling Mean (30 Minute)</c:v>
                  </c:pt>
                  <c:pt idx="162">
                    <c:v>Rolling Mean (30 Minute)</c:v>
                  </c:pt>
                  <c:pt idx="163">
                    <c:v>Rolling Mean (30 Minute)</c:v>
                  </c:pt>
                  <c:pt idx="164">
                    <c:v>Rolling Mean (30 Minute)</c:v>
                  </c:pt>
                  <c:pt idx="165">
                    <c:v>Rolling Mean (30 Minute)</c:v>
                  </c:pt>
                  <c:pt idx="166">
                    <c:v>Rolling Mean (30 Minute)</c:v>
                  </c:pt>
                  <c:pt idx="167">
                    <c:v>Rolling Mean (30 Minute)</c:v>
                  </c:pt>
                  <c:pt idx="168">
                    <c:v>Rolling Mean (30 Minute)</c:v>
                  </c:pt>
                  <c:pt idx="169">
                    <c:v>Rolling Mean (30 Minute)</c:v>
                  </c:pt>
                  <c:pt idx="170">
                    <c:v>Rolling Mean (30 Minute)</c:v>
                  </c:pt>
                  <c:pt idx="171">
                    <c:v>Rolling Mean (30 Minute)</c:v>
                  </c:pt>
                  <c:pt idx="172">
                    <c:v>Rolling Mean (30 Minute)</c:v>
                  </c:pt>
                  <c:pt idx="173">
                    <c:v>Rolling Mean (30 Minute)</c:v>
                  </c:pt>
                  <c:pt idx="174">
                    <c:v>Rolling Mean (30 Minute)</c:v>
                  </c:pt>
                  <c:pt idx="175">
                    <c:v>Rolling Mean (30 Minute)</c:v>
                  </c:pt>
                  <c:pt idx="176">
                    <c:v>Rolling Mean (30 Minute)</c:v>
                  </c:pt>
                  <c:pt idx="177">
                    <c:v>Rolling Mean (30 Minute)</c:v>
                  </c:pt>
                  <c:pt idx="178">
                    <c:v>Rolling Mean (30 Minute)</c:v>
                  </c:pt>
                  <c:pt idx="179">
                    <c:v>Rolling Mean (30 Minute)</c:v>
                  </c:pt>
                  <c:pt idx="180">
                    <c:v>Rolling Mean (30 Minute)</c:v>
                  </c:pt>
                  <c:pt idx="181">
                    <c:v>Rolling Mean (30 Minute)</c:v>
                  </c:pt>
                  <c:pt idx="182">
                    <c:v>Rolling Mean (30 Minute)</c:v>
                  </c:pt>
                  <c:pt idx="183">
                    <c:v>Rolling Mean (30 Minute)</c:v>
                  </c:pt>
                  <c:pt idx="184">
                    <c:v>Rolling Mean (30 Minute)</c:v>
                  </c:pt>
                  <c:pt idx="185">
                    <c:v>Rolling Mean (30 Minute)</c:v>
                  </c:pt>
                  <c:pt idx="186">
                    <c:v>Rolling Mean (30 Minute)</c:v>
                  </c:pt>
                  <c:pt idx="187">
                    <c:v>Rolling Mean (30 Minute)</c:v>
                  </c:pt>
                  <c:pt idx="188">
                    <c:v>Rolling Mean (30 Minute)</c:v>
                  </c:pt>
                  <c:pt idx="189">
                    <c:v>Rolling Mean (30 Minute)</c:v>
                  </c:pt>
                  <c:pt idx="190">
                    <c:v>Rolling Mean (30 Minute)</c:v>
                  </c:pt>
                  <c:pt idx="191">
                    <c:v>Rolling Mean (30 Minute)</c:v>
                  </c:pt>
                  <c:pt idx="192">
                    <c:v>Rolling Mean (30 Minute)</c:v>
                  </c:pt>
                  <c:pt idx="193">
                    <c:v>Rolling Mean (30 Minute)</c:v>
                  </c:pt>
                  <c:pt idx="194">
                    <c:v>Rolling Mean (30 Minute)</c:v>
                  </c:pt>
                  <c:pt idx="195">
                    <c:v>Rolling Mean (30 Minute)</c:v>
                  </c:pt>
                  <c:pt idx="196">
                    <c:v>Rolling Mean (30 Minute)</c:v>
                  </c:pt>
                  <c:pt idx="197">
                    <c:v>Rolling Mean (30 Minute)</c:v>
                  </c:pt>
                  <c:pt idx="198">
                    <c:v>Rolling Mean (30 Minute)</c:v>
                  </c:pt>
                  <c:pt idx="199">
                    <c:v>Rolling Mean (30 Minute)</c:v>
                  </c:pt>
                  <c:pt idx="200">
                    <c:v>Rolling Mean (30 Minute)</c:v>
                  </c:pt>
                  <c:pt idx="201">
                    <c:v>Rolling Mean (30 Minute)</c:v>
                  </c:pt>
                  <c:pt idx="202">
                    <c:v>Rolling Mean (30 Minute)</c:v>
                  </c:pt>
                  <c:pt idx="203">
                    <c:v>Rolling Mean (30 Minute)</c:v>
                  </c:pt>
                  <c:pt idx="204">
                    <c:v>Rolling Mean (30 Minute)</c:v>
                  </c:pt>
                  <c:pt idx="205">
                    <c:v>Rolling Mean (30 Minute)</c:v>
                  </c:pt>
                  <c:pt idx="206">
                    <c:v>Rolling Mean (30 Minute)</c:v>
                  </c:pt>
                  <c:pt idx="207">
                    <c:v>Rolling Mean (30 Minute)</c:v>
                  </c:pt>
                  <c:pt idx="208">
                    <c:v>Rolling Mean (30 Minute)</c:v>
                  </c:pt>
                  <c:pt idx="209">
                    <c:v>Rolling Mean (30 Minute)</c:v>
                  </c:pt>
                  <c:pt idx="210">
                    <c:v>Rolling Mean (30 Minute)</c:v>
                  </c:pt>
                  <c:pt idx="211">
                    <c:v>Rolling Mean (30 Minute)</c:v>
                  </c:pt>
                  <c:pt idx="212">
                    <c:v>Rolling Mean (30 Minute)</c:v>
                  </c:pt>
                  <c:pt idx="213">
                    <c:v>Rolling Mean (30 Minute)</c:v>
                  </c:pt>
                  <c:pt idx="214">
                    <c:v>Rolling Mean (30 Minute)</c:v>
                  </c:pt>
                  <c:pt idx="215">
                    <c:v>Rolling Mean (30 Minute)</c:v>
                  </c:pt>
                  <c:pt idx="216">
                    <c:v>Rolling Mean (30 Minute)</c:v>
                  </c:pt>
                  <c:pt idx="217">
                    <c:v>Rolling Mean (30 Minute)</c:v>
                  </c:pt>
                  <c:pt idx="218">
                    <c:v>Rolling Mean (30 Minute)</c:v>
                  </c:pt>
                  <c:pt idx="219">
                    <c:v>Rolling Mean (30 Minute)</c:v>
                  </c:pt>
                  <c:pt idx="220">
                    <c:v>Rolling Mean (30 Minute)</c:v>
                  </c:pt>
                  <c:pt idx="221">
                    <c:v>Rolling Mean (30 Minute)</c:v>
                  </c:pt>
                  <c:pt idx="222">
                    <c:v>Rolling Mean (30 Minute)</c:v>
                  </c:pt>
                  <c:pt idx="223">
                    <c:v>Rolling Mean (30 Minute)</c:v>
                  </c:pt>
                  <c:pt idx="224">
                    <c:v>Rolling Mean (30 Minute)</c:v>
                  </c:pt>
                  <c:pt idx="225">
                    <c:v>Rolling Mean (30 Minute)</c:v>
                  </c:pt>
                  <c:pt idx="226">
                    <c:v>Rolling Mean (30 Minute)</c:v>
                  </c:pt>
                  <c:pt idx="227">
                    <c:v>Rolling Mean (30 Minute)</c:v>
                  </c:pt>
                  <c:pt idx="228">
                    <c:v>Rolling Mean (30 Minute)</c:v>
                  </c:pt>
                  <c:pt idx="229">
                    <c:v>Rolling Mean (30 Minute)</c:v>
                  </c:pt>
                  <c:pt idx="230">
                    <c:v>Rolling Mean (30 Minute)</c:v>
                  </c:pt>
                  <c:pt idx="231">
                    <c:v>Rolling Mean (30 Minute)</c:v>
                  </c:pt>
                  <c:pt idx="232">
                    <c:v>Rolling Mean (30 Minute)</c:v>
                  </c:pt>
                  <c:pt idx="233">
                    <c:v>Rolling Mean (30 Minute)</c:v>
                  </c:pt>
                  <c:pt idx="234">
                    <c:v>Rolling Mean (30 Minute)</c:v>
                  </c:pt>
                  <c:pt idx="235">
                    <c:v>Rolling Mean (30 Minute)</c:v>
                  </c:pt>
                  <c:pt idx="236">
                    <c:v>Rolling Mean (30 Minute)</c:v>
                  </c:pt>
                  <c:pt idx="237">
                    <c:v>Rolling Mean (30 Minute)</c:v>
                  </c:pt>
                  <c:pt idx="238">
                    <c:v>Rolling Mean (30 Minute)</c:v>
                  </c:pt>
                  <c:pt idx="239">
                    <c:v>Rolling Mean (30 Minute)</c:v>
                  </c:pt>
                  <c:pt idx="240">
                    <c:v>Rolling Mean (30 Minute)</c:v>
                  </c:pt>
                  <c:pt idx="241">
                    <c:v>Rolling Mean (30 Minute)</c:v>
                  </c:pt>
                  <c:pt idx="242">
                    <c:v>Rolling Mean (30 Minute)</c:v>
                  </c:pt>
                  <c:pt idx="243">
                    <c:v>Rolling Mean (30 Minute)</c:v>
                  </c:pt>
                  <c:pt idx="244">
                    <c:v>Rolling Mean (30 Minute)</c:v>
                  </c:pt>
                  <c:pt idx="245">
                    <c:v>Rolling Mean (30 Minute)</c:v>
                  </c:pt>
                  <c:pt idx="246">
                    <c:v>Rolling Mean (30 Minute)</c:v>
                  </c:pt>
                  <c:pt idx="247">
                    <c:v>Rolling Mean (30 Minute)</c:v>
                  </c:pt>
                  <c:pt idx="248">
                    <c:v>Rolling Mean (30 Minute)</c:v>
                  </c:pt>
                  <c:pt idx="249">
                    <c:v>Rolling Mean (30 Minute)</c:v>
                  </c:pt>
                  <c:pt idx="250">
                    <c:v>Rolling Mean (30 Minute)</c:v>
                  </c:pt>
                  <c:pt idx="251">
                    <c:v>Rolling Mean (30 Minute)</c:v>
                  </c:pt>
                  <c:pt idx="252">
                    <c:v>Rolling Mean (30 Minute)</c:v>
                  </c:pt>
                  <c:pt idx="253">
                    <c:v>Rolling Mean (30 Minute)</c:v>
                  </c:pt>
                  <c:pt idx="254">
                    <c:v>Rolling Mean (30 Minute)</c:v>
                  </c:pt>
                  <c:pt idx="255">
                    <c:v>Rolling Mean (30 Minute)</c:v>
                  </c:pt>
                  <c:pt idx="256">
                    <c:v>Rolling Mean (30 Minute)</c:v>
                  </c:pt>
                  <c:pt idx="257">
                    <c:v>Rolling Mean (30 Minute)</c:v>
                  </c:pt>
                  <c:pt idx="258">
                    <c:v>Rolling Mean (30 Minute)</c:v>
                  </c:pt>
                  <c:pt idx="259">
                    <c:v>Rolling Mean (30 Minute)</c:v>
                  </c:pt>
                  <c:pt idx="260">
                    <c:v>Rolling Mean (30 Minute)</c:v>
                  </c:pt>
                  <c:pt idx="261">
                    <c:v>Rolling Mean (30 Minute)</c:v>
                  </c:pt>
                  <c:pt idx="262">
                    <c:v>Rolling Mean (30 Minute)</c:v>
                  </c:pt>
                  <c:pt idx="263">
                    <c:v>Rolling Mean (30 Minute)</c:v>
                  </c:pt>
                  <c:pt idx="264">
                    <c:v>Rolling Mean (30 Minute)</c:v>
                  </c:pt>
                  <c:pt idx="265">
                    <c:v>Rolling Mean (30 Minute)</c:v>
                  </c:pt>
                  <c:pt idx="266">
                    <c:v>Rolling Mean (30 Minute)</c:v>
                  </c:pt>
                  <c:pt idx="267">
                    <c:v>Rolling Mean (30 Minute)</c:v>
                  </c:pt>
                  <c:pt idx="268">
                    <c:v>Rolling Mean (30 Minute)</c:v>
                  </c:pt>
                  <c:pt idx="269">
                    <c:v>Rolling Mean (30 Minute)</c:v>
                  </c:pt>
                  <c:pt idx="270">
                    <c:v>Rolling Mean (30 Minute)</c:v>
                  </c:pt>
                  <c:pt idx="271">
                    <c:v>Rolling Mean (30 Minute)</c:v>
                  </c:pt>
                  <c:pt idx="272">
                    <c:v>Rolling Mean (30 Minute)</c:v>
                  </c:pt>
                  <c:pt idx="273">
                    <c:v>Rolling Mean (30 Minute)</c:v>
                  </c:pt>
                  <c:pt idx="274">
                    <c:v>Rolling Mean (30 Minute)</c:v>
                  </c:pt>
                  <c:pt idx="275">
                    <c:v>Rolling Mean (30 Minute)</c:v>
                  </c:pt>
                  <c:pt idx="276">
                    <c:v>Rolling Mean (30 Minute)</c:v>
                  </c:pt>
                  <c:pt idx="277">
                    <c:v>Rolling Mean (30 Minute)</c:v>
                  </c:pt>
                  <c:pt idx="278">
                    <c:v>Rolling Mean (30 Minute)</c:v>
                  </c:pt>
                  <c:pt idx="279">
                    <c:v>Rolling Mean (30 Minute)</c:v>
                  </c:pt>
                  <c:pt idx="280">
                    <c:v>Rolling Mean (30 Minute)</c:v>
                  </c:pt>
                  <c:pt idx="281">
                    <c:v>Rolling Mean (30 Minute)</c:v>
                  </c:pt>
                  <c:pt idx="282">
                    <c:v>Rolling Mean (30 Minute)</c:v>
                  </c:pt>
                  <c:pt idx="283">
                    <c:v>Rolling Mean (30 Minute)</c:v>
                  </c:pt>
                  <c:pt idx="284">
                    <c:v>Rolling Mean (30 Minute)</c:v>
                  </c:pt>
                  <c:pt idx="285">
                    <c:v>Rolling Mean (30 Minute)</c:v>
                  </c:pt>
                  <c:pt idx="286">
                    <c:v>Rolling Mean (30 Minute)</c:v>
                  </c:pt>
                  <c:pt idx="287">
                    <c:v>Rolling Mean (30 Minute)</c:v>
                  </c:pt>
                  <c:pt idx="288">
                    <c:v>Rolling Mean (30 Minute)</c:v>
                  </c:pt>
                  <c:pt idx="289">
                    <c:v>Rolling Mean (30 Minute)</c:v>
                  </c:pt>
                  <c:pt idx="290">
                    <c:v>Rolling Mean (30 Minute)</c:v>
                  </c:pt>
                  <c:pt idx="291">
                    <c:v>Rolling Mean (30 Minute)</c:v>
                  </c:pt>
                  <c:pt idx="292">
                    <c:v>Rolling Mean (30 Minute)</c:v>
                  </c:pt>
                  <c:pt idx="293">
                    <c:v>Rolling Mean (30 Minute)</c:v>
                  </c:pt>
                  <c:pt idx="294">
                    <c:v>Rolling Mean (30 Minute)</c:v>
                  </c:pt>
                  <c:pt idx="295">
                    <c:v>Rolling Mean (30 Minute)</c:v>
                  </c:pt>
                  <c:pt idx="296">
                    <c:v>Rolling Mean (30 Minute)</c:v>
                  </c:pt>
                  <c:pt idx="297">
                    <c:v>Rolling Mean (30 Minute)</c:v>
                  </c:pt>
                  <c:pt idx="298">
                    <c:v>Rolling Mean (30 Minute)</c:v>
                  </c:pt>
                  <c:pt idx="299">
                    <c:v>Rolling Mean (30 Minute)</c:v>
                  </c:pt>
                  <c:pt idx="300">
                    <c:v>Rolling Mean (30 Minute)</c:v>
                  </c:pt>
                  <c:pt idx="301">
                    <c:v>Rolling Mean (30 Minute)</c:v>
                  </c:pt>
                  <c:pt idx="302">
                    <c:v>Rolling Mean (30 Minute)</c:v>
                  </c:pt>
                  <c:pt idx="303">
                    <c:v>Rolling Mean (30 Minute)</c:v>
                  </c:pt>
                  <c:pt idx="304">
                    <c:v>Rolling Mean (30 Minute)</c:v>
                  </c:pt>
                  <c:pt idx="305">
                    <c:v>Rolling Mean (30 Minute)</c:v>
                  </c:pt>
                  <c:pt idx="306">
                    <c:v>Rolling Mean (30 Minute)</c:v>
                  </c:pt>
                  <c:pt idx="307">
                    <c:v>Rolling Mean (30 Minute)</c:v>
                  </c:pt>
                  <c:pt idx="308">
                    <c:v>Rolling Mean (30 Minute)</c:v>
                  </c:pt>
                  <c:pt idx="309">
                    <c:v>Rolling Mean (30 Minute)</c:v>
                  </c:pt>
                  <c:pt idx="310">
                    <c:v>Rolling Mean (30 Minute)</c:v>
                  </c:pt>
                  <c:pt idx="311">
                    <c:v>Rolling Mean (30 Minute)</c:v>
                  </c:pt>
                  <c:pt idx="312">
                    <c:v>Rolling Mean (30 Minute)</c:v>
                  </c:pt>
                  <c:pt idx="313">
                    <c:v>Rolling Mean (30 Minute)</c:v>
                  </c:pt>
                  <c:pt idx="314">
                    <c:v>Rolling Mean (30 Minute)</c:v>
                  </c:pt>
                  <c:pt idx="315">
                    <c:v>Rolling Mean (30 Minute)</c:v>
                  </c:pt>
                  <c:pt idx="316">
                    <c:v>Rolling Mean (30 Minute)</c:v>
                  </c:pt>
                  <c:pt idx="317">
                    <c:v>Rolling Mean (30 Minute)</c:v>
                  </c:pt>
                  <c:pt idx="318">
                    <c:v>Rolling Mean (30 Minute)</c:v>
                  </c:pt>
                  <c:pt idx="319">
                    <c:v>Rolling Mean (30 Minute)</c:v>
                  </c:pt>
                  <c:pt idx="320">
                    <c:v>Rolling Mean (30 Minute)</c:v>
                  </c:pt>
                  <c:pt idx="321">
                    <c:v>Rolling Mean (30 Minute)</c:v>
                  </c:pt>
                  <c:pt idx="322">
                    <c:v>Rolling Mean (30 Minute)</c:v>
                  </c:pt>
                  <c:pt idx="323">
                    <c:v>Rolling Mean (30 Minute)</c:v>
                  </c:pt>
                  <c:pt idx="324">
                    <c:v>Rolling Mean (30 Minute)</c:v>
                  </c:pt>
                  <c:pt idx="325">
                    <c:v>Rolling Mean (30 Minute)</c:v>
                  </c:pt>
                  <c:pt idx="326">
                    <c:v>Rolling Mean (30 Minute)</c:v>
                  </c:pt>
                  <c:pt idx="327">
                    <c:v>Rolling Mean (30 Minute)</c:v>
                  </c:pt>
                  <c:pt idx="328">
                    <c:v>Rolling Mean (30 Minute)</c:v>
                  </c:pt>
                  <c:pt idx="329">
                    <c:v>Rolling Mean (30 Minute)</c:v>
                  </c:pt>
                  <c:pt idx="330">
                    <c:v>Rolling Mean (30 Minute)</c:v>
                  </c:pt>
                  <c:pt idx="331">
                    <c:v>Rolling Mean (30 Minute)</c:v>
                  </c:pt>
                  <c:pt idx="332">
                    <c:v>Rolling Mean (30 Minute)</c:v>
                  </c:pt>
                  <c:pt idx="333">
                    <c:v>Rolling Mean (30 Minute)</c:v>
                  </c:pt>
                  <c:pt idx="334">
                    <c:v>Rolling Mean (30 Minute)</c:v>
                  </c:pt>
                  <c:pt idx="335">
                    <c:v>Rolling Mean (30 Minute)</c:v>
                  </c:pt>
                  <c:pt idx="336">
                    <c:v>Rolling Mean (30 Minute)</c:v>
                  </c:pt>
                  <c:pt idx="337">
                    <c:v>Rolling Mean (30 Minute)</c:v>
                  </c:pt>
                  <c:pt idx="338">
                    <c:v>Rolling Mean (30 Minute)</c:v>
                  </c:pt>
                  <c:pt idx="339">
                    <c:v>Rolling Mean (30 Minute)</c:v>
                  </c:pt>
                  <c:pt idx="340">
                    <c:v>Rolling Mean (30 Minute)</c:v>
                  </c:pt>
                  <c:pt idx="341">
                    <c:v>Rolling Mean (30 Minute)</c:v>
                  </c:pt>
                  <c:pt idx="342">
                    <c:v>Rolling Mean (30 Minute)</c:v>
                  </c:pt>
                  <c:pt idx="343">
                    <c:v>Rolling Mean (30 Minute)</c:v>
                  </c:pt>
                  <c:pt idx="344">
                    <c:v>Rolling Mean (30 Minute)</c:v>
                  </c:pt>
                  <c:pt idx="345">
                    <c:v>Rolling Mean (30 Minute)</c:v>
                  </c:pt>
                  <c:pt idx="346">
                    <c:v>Rolling Mean (30 Minute)</c:v>
                  </c:pt>
                  <c:pt idx="347">
                    <c:v>Rolling Mean (30 Minute)</c:v>
                  </c:pt>
                  <c:pt idx="348">
                    <c:v>Rolling Mean (30 Minute)</c:v>
                  </c:pt>
                  <c:pt idx="349">
                    <c:v>Rolling Mean (30 Minute)</c:v>
                  </c:pt>
                  <c:pt idx="350">
                    <c:v>Rolling Mean (30 Minute)</c:v>
                  </c:pt>
                  <c:pt idx="351">
                    <c:v>Rolling Mean (30 Minute)</c:v>
                  </c:pt>
                  <c:pt idx="352">
                    <c:v>Rolling Mean (30 Minute)</c:v>
                  </c:pt>
                  <c:pt idx="353">
                    <c:v>Rolling Mean (30 Minute)</c:v>
                  </c:pt>
                  <c:pt idx="354">
                    <c:v>Rolling Mean (30 Minute)</c:v>
                  </c:pt>
                  <c:pt idx="355">
                    <c:v>Rolling Mean (30 Minute)</c:v>
                  </c:pt>
                  <c:pt idx="356">
                    <c:v>Rolling Mean (30 Minute)</c:v>
                  </c:pt>
                  <c:pt idx="357">
                    <c:v>Rolling Mean (30 Minute)</c:v>
                  </c:pt>
                  <c:pt idx="358">
                    <c:v>Rolling Mean (30 Minute)</c:v>
                  </c:pt>
                  <c:pt idx="359">
                    <c:v>Rolling Mean (30 Minute)</c:v>
                  </c:pt>
                  <c:pt idx="360">
                    <c:v>Rolling Mean (30 Minute)</c:v>
                  </c:pt>
                  <c:pt idx="361">
                    <c:v>Rolling Mean (30 Minute)</c:v>
                  </c:pt>
                  <c:pt idx="362">
                    <c:v>Rolling Mean (30 Minute)</c:v>
                  </c:pt>
                  <c:pt idx="363">
                    <c:v>Rolling Mean (30 Minute)</c:v>
                  </c:pt>
                  <c:pt idx="364">
                    <c:v>Rolling Mean (30 Minute)</c:v>
                  </c:pt>
                  <c:pt idx="365">
                    <c:v>Rolling Mean (30 Minute)</c:v>
                  </c:pt>
                  <c:pt idx="366">
                    <c:v>Rolling Mean (30 Minute)</c:v>
                  </c:pt>
                  <c:pt idx="367">
                    <c:v>Rolling Mean (30 Minute)</c:v>
                  </c:pt>
                  <c:pt idx="368">
                    <c:v>Rolling Mean (30 Minute)</c:v>
                  </c:pt>
                  <c:pt idx="369">
                    <c:v>Rolling Mean (30 Minute)</c:v>
                  </c:pt>
                  <c:pt idx="370">
                    <c:v>Rolling Mean (30 Minute)</c:v>
                  </c:pt>
                  <c:pt idx="371">
                    <c:v>Rolling Mean (30 Minute)</c:v>
                  </c:pt>
                  <c:pt idx="372">
                    <c:v>Rolling Mean (30 Minute)</c:v>
                  </c:pt>
                  <c:pt idx="373">
                    <c:v>Rolling Mean (30 Minute)</c:v>
                  </c:pt>
                  <c:pt idx="374">
                    <c:v>Rolling Mean (30 Minute)</c:v>
                  </c:pt>
                  <c:pt idx="375">
                    <c:v>Rolling Mean (30 Minute)</c:v>
                  </c:pt>
                  <c:pt idx="376">
                    <c:v>Rolling Mean (30 Minute)</c:v>
                  </c:pt>
                  <c:pt idx="377">
                    <c:v>Rolling Mean (30 Minute)</c:v>
                  </c:pt>
                  <c:pt idx="378">
                    <c:v>Rolling Mean (30 Minute)</c:v>
                  </c:pt>
                  <c:pt idx="379">
                    <c:v>Rolling Mean (30 Minute)</c:v>
                  </c:pt>
                  <c:pt idx="380">
                    <c:v>Rolling Mean (30 Minute)</c:v>
                  </c:pt>
                  <c:pt idx="381">
                    <c:v>Rolling Mean (30 Minute)</c:v>
                  </c:pt>
                  <c:pt idx="382">
                    <c:v>Rolling Mean (30 Minute)</c:v>
                  </c:pt>
                  <c:pt idx="383">
                    <c:v>Rolling Mean (30 Minute)</c:v>
                  </c:pt>
                  <c:pt idx="384">
                    <c:v>Rolling Mean (30 Minute)</c:v>
                  </c:pt>
                  <c:pt idx="385">
                    <c:v>Rolling Mean (30 Minute)</c:v>
                  </c:pt>
                  <c:pt idx="386">
                    <c:v>Rolling Mean (30 Minute)</c:v>
                  </c:pt>
                  <c:pt idx="387">
                    <c:v>Rolling Mean (30 Minute)</c:v>
                  </c:pt>
                  <c:pt idx="388">
                    <c:v>Rolling Mean (30 Minute)</c:v>
                  </c:pt>
                  <c:pt idx="389">
                    <c:v>Rolling Mean (30 Minute)</c:v>
                  </c:pt>
                  <c:pt idx="390">
                    <c:v>Rolling Mean (30 Minute)</c:v>
                  </c:pt>
                  <c:pt idx="391">
                    <c:v>Rolling Mean (30 Minute)</c:v>
                  </c:pt>
                  <c:pt idx="392">
                    <c:v>Rolling Mean (30 Minute)</c:v>
                  </c:pt>
                  <c:pt idx="393">
                    <c:v>Rolling Mean (30 Minute)</c:v>
                  </c:pt>
                  <c:pt idx="394">
                    <c:v>Rolling Mean (30 Minute)</c:v>
                  </c:pt>
                  <c:pt idx="395">
                    <c:v>Rolling Mean (30 Minute)</c:v>
                  </c:pt>
                  <c:pt idx="396">
                    <c:v>Rolling Mean (30 Minute)</c:v>
                  </c:pt>
                  <c:pt idx="397">
                    <c:v>Rolling Mean (30 Minute)</c:v>
                  </c:pt>
                  <c:pt idx="398">
                    <c:v>Rolling Mean (30 Minute)</c:v>
                  </c:pt>
                  <c:pt idx="399">
                    <c:v>Rolling Mean (30 Minute)</c:v>
                  </c:pt>
                  <c:pt idx="400">
                    <c:v>Rolling Mean (30 Minute)</c:v>
                  </c:pt>
                  <c:pt idx="401">
                    <c:v>Rolling Mean (30 Minute)</c:v>
                  </c:pt>
                  <c:pt idx="402">
                    <c:v>Rolling Mean (30 Minute)</c:v>
                  </c:pt>
                  <c:pt idx="403">
                    <c:v>Rolling Mean (30 Minute)</c:v>
                  </c:pt>
                  <c:pt idx="404">
                    <c:v>Rolling Mean (30 Minute)</c:v>
                  </c:pt>
                  <c:pt idx="405">
                    <c:v>Rolling Mean (30 Minute)</c:v>
                  </c:pt>
                  <c:pt idx="406">
                    <c:v>Rolling Mean (30 Minute)</c:v>
                  </c:pt>
                  <c:pt idx="407">
                    <c:v>Rolling Mean (30 Minute)</c:v>
                  </c:pt>
                  <c:pt idx="408">
                    <c:v>Rolling Mean (30 Minute)</c:v>
                  </c:pt>
                  <c:pt idx="409">
                    <c:v>Rolling Mean (30 Minute)</c:v>
                  </c:pt>
                  <c:pt idx="410">
                    <c:v>Rolling Mean (30 Minute)</c:v>
                  </c:pt>
                  <c:pt idx="411">
                    <c:v>Rolling Mean (30 Minute)</c:v>
                  </c:pt>
                  <c:pt idx="412">
                    <c:v>Rolling Mean (30 Minute)</c:v>
                  </c:pt>
                  <c:pt idx="413">
                    <c:v>Rolling Mean (30 Minute)</c:v>
                  </c:pt>
                  <c:pt idx="414">
                    <c:v>Rolling Mean (30 Minute)</c:v>
                  </c:pt>
                  <c:pt idx="415">
                    <c:v>Rolling Mean (30 Minute)</c:v>
                  </c:pt>
                  <c:pt idx="416">
                    <c:v>Rolling Mean (30 Minute)</c:v>
                  </c:pt>
                  <c:pt idx="417">
                    <c:v>Rolling Mean (30 Minute)</c:v>
                  </c:pt>
                  <c:pt idx="418">
                    <c:v>Rolling Mean (30 Minute)</c:v>
                  </c:pt>
                  <c:pt idx="419">
                    <c:v>Rolling Mean (30 Minute)</c:v>
                  </c:pt>
                  <c:pt idx="420">
                    <c:v>Rolling Mean (30 Minute)</c:v>
                  </c:pt>
                  <c:pt idx="421">
                    <c:v>Rolling Mean (30 Minute)</c:v>
                  </c:pt>
                  <c:pt idx="422">
                    <c:v>Rolling Mean (30 Minute)</c:v>
                  </c:pt>
                  <c:pt idx="423">
                    <c:v>Rolling Mean (30 Minute)</c:v>
                  </c:pt>
                  <c:pt idx="424">
                    <c:v>Rolling Mean (30 Minute)</c:v>
                  </c:pt>
                  <c:pt idx="425">
                    <c:v>Rolling Mean (30 Minute)</c:v>
                  </c:pt>
                  <c:pt idx="426">
                    <c:v>Rolling Mean (30 Minute)</c:v>
                  </c:pt>
                  <c:pt idx="427">
                    <c:v>Rolling Mean (30 Minute)</c:v>
                  </c:pt>
                  <c:pt idx="428">
                    <c:v>Rolling Mean (30 Minute)</c:v>
                  </c:pt>
                  <c:pt idx="429">
                    <c:v>Rolling Mean (30 Minute)</c:v>
                  </c:pt>
                  <c:pt idx="430">
                    <c:v>Rolling Mean (30 Minute)</c:v>
                  </c:pt>
                  <c:pt idx="431">
                    <c:v>Rolling Mean (30 Minute)</c:v>
                  </c:pt>
                  <c:pt idx="432">
                    <c:v>Rolling Mean (30 Minute)</c:v>
                  </c:pt>
                  <c:pt idx="433">
                    <c:v>Rolling Mean (30 Minute)</c:v>
                  </c:pt>
                  <c:pt idx="434">
                    <c:v>Rolling Mean (30 Minute)</c:v>
                  </c:pt>
                  <c:pt idx="435">
                    <c:v>Rolling Mean (30 Minute)</c:v>
                  </c:pt>
                  <c:pt idx="436">
                    <c:v>Rolling Mean (30 Minute)</c:v>
                  </c:pt>
                  <c:pt idx="437">
                    <c:v>Rolling Mean (30 Minute)</c:v>
                  </c:pt>
                  <c:pt idx="438">
                    <c:v>Rolling Mean (30 Minute)</c:v>
                  </c:pt>
                  <c:pt idx="439">
                    <c:v>Rolling Mean (30 Minute)</c:v>
                  </c:pt>
                  <c:pt idx="440">
                    <c:v>Rolling Mean (30 Minute)</c:v>
                  </c:pt>
                  <c:pt idx="441">
                    <c:v>Rolling Mean (30 Minute)</c:v>
                  </c:pt>
                  <c:pt idx="442">
                    <c:v>Rolling Mean (30 Minute)</c:v>
                  </c:pt>
                  <c:pt idx="443">
                    <c:v>Rolling Mean (30 Minute)</c:v>
                  </c:pt>
                  <c:pt idx="444">
                    <c:v>Rolling Mean (30 Minute)</c:v>
                  </c:pt>
                  <c:pt idx="445">
                    <c:v>Rolling Mean (30 Minute)</c:v>
                  </c:pt>
                  <c:pt idx="446">
                    <c:v>Rolling Mean (30 Minute)</c:v>
                  </c:pt>
                  <c:pt idx="447">
                    <c:v>Rolling Mean (30 Minute)</c:v>
                  </c:pt>
                  <c:pt idx="448">
                    <c:v>Rolling Mean (30 Minute)</c:v>
                  </c:pt>
                  <c:pt idx="449">
                    <c:v>Rolling Mean (30 Minute)</c:v>
                  </c:pt>
                  <c:pt idx="450">
                    <c:v>Rolling Mean (30 Minute)</c:v>
                  </c:pt>
                  <c:pt idx="451">
                    <c:v>Rolling Mean (30 Minute)</c:v>
                  </c:pt>
                  <c:pt idx="452">
                    <c:v>Rolling Mean (30 Minute)</c:v>
                  </c:pt>
                  <c:pt idx="453">
                    <c:v>Rolling Mean (30 Minute)</c:v>
                  </c:pt>
                  <c:pt idx="454">
                    <c:v>Rolling Mean (30 Minute)</c:v>
                  </c:pt>
                  <c:pt idx="455">
                    <c:v>Rolling Mean (30 Minute)</c:v>
                  </c:pt>
                  <c:pt idx="456">
                    <c:v>Rolling Mean (30 Minute)</c:v>
                  </c:pt>
                  <c:pt idx="457">
                    <c:v>Rolling Mean (30 Minute)</c:v>
                  </c:pt>
                  <c:pt idx="458">
                    <c:v>Rolling Mean (30 Minute)</c:v>
                  </c:pt>
                  <c:pt idx="459">
                    <c:v>Rolling Mean (30 Minute)</c:v>
                  </c:pt>
                  <c:pt idx="460">
                    <c:v>Rolling Mean (30 Minute)</c:v>
                  </c:pt>
                  <c:pt idx="461">
                    <c:v>Rolling Mean (30 Minute)</c:v>
                  </c:pt>
                  <c:pt idx="462">
                    <c:v>Rolling Mean (30 Minute)</c:v>
                  </c:pt>
                  <c:pt idx="463">
                    <c:v>Rolling Mean (30 Minute)</c:v>
                  </c:pt>
                  <c:pt idx="464">
                    <c:v>Rolling Mean (30 Minute)</c:v>
                  </c:pt>
                  <c:pt idx="465">
                    <c:v>Rolling Mean (30 Minute)</c:v>
                  </c:pt>
                  <c:pt idx="466">
                    <c:v>Rolling Mean (30 Minute)</c:v>
                  </c:pt>
                  <c:pt idx="467">
                    <c:v>Rolling Mean (30 Minute)</c:v>
                  </c:pt>
                  <c:pt idx="468">
                    <c:v>Rolling Mean (30 Minute)</c:v>
                  </c:pt>
                  <c:pt idx="469">
                    <c:v>Rolling Mean (30 Minute)</c:v>
                  </c:pt>
                  <c:pt idx="470">
                    <c:v>Rolling Mean (30 Minute)</c:v>
                  </c:pt>
                  <c:pt idx="471">
                    <c:v>Rolling Mean (30 Minute)</c:v>
                  </c:pt>
                  <c:pt idx="472">
                    <c:v>Rolling Mean (30 Minute)</c:v>
                  </c:pt>
                  <c:pt idx="473">
                    <c:v>Rolling Mean (30 Minute)</c:v>
                  </c:pt>
                  <c:pt idx="474">
                    <c:v>Rolling Mean (30 Minute)</c:v>
                  </c:pt>
                  <c:pt idx="475">
                    <c:v>Rolling Mean (30 Minute)</c:v>
                  </c:pt>
                  <c:pt idx="476">
                    <c:v>Rolling Mean (30 Minute)</c:v>
                  </c:pt>
                  <c:pt idx="477">
                    <c:v>Rolling Mean (30 Minute)</c:v>
                  </c:pt>
                  <c:pt idx="478">
                    <c:v>Rolling Mean (30 Minute)</c:v>
                  </c:pt>
                  <c:pt idx="479">
                    <c:v>Rolling Mean (30 Minute)</c:v>
                  </c:pt>
                  <c:pt idx="480">
                    <c:v>Rolling Mean (30 Minute)</c:v>
                  </c:pt>
                  <c:pt idx="481">
                    <c:v>Rolling Mean (30 Minute)</c:v>
                  </c:pt>
                  <c:pt idx="482">
                    <c:v>Rolling Mean (30 Minute)</c:v>
                  </c:pt>
                  <c:pt idx="483">
                    <c:v>Rolling Mean (30 Minute)</c:v>
                  </c:pt>
                  <c:pt idx="484">
                    <c:v>Rolling Mean (30 Minute)</c:v>
                  </c:pt>
                  <c:pt idx="485">
                    <c:v>Rolling Mean (30 Minute)</c:v>
                  </c:pt>
                  <c:pt idx="486">
                    <c:v>Rolling Mean (30 Minute)</c:v>
                  </c:pt>
                  <c:pt idx="487">
                    <c:v>Rolling Mean (30 Minute)</c:v>
                  </c:pt>
                  <c:pt idx="488">
                    <c:v>Rolling Mean (30 Minute)</c:v>
                  </c:pt>
                  <c:pt idx="489">
                    <c:v>Rolling Mean (30 Minute)</c:v>
                  </c:pt>
                  <c:pt idx="490">
                    <c:v>Rolling Mean (30 Minute)</c:v>
                  </c:pt>
                  <c:pt idx="491">
                    <c:v>Rolling Mean (30 Minute)</c:v>
                  </c:pt>
                  <c:pt idx="492">
                    <c:v>Rolling Mean (30 Minute)</c:v>
                  </c:pt>
                  <c:pt idx="493">
                    <c:v>Rolling Mean (30 Minute)</c:v>
                  </c:pt>
                  <c:pt idx="494">
                    <c:v>Rolling Mean (30 Minute)</c:v>
                  </c:pt>
                  <c:pt idx="495">
                    <c:v>Rolling Mean (30 Minute)</c:v>
                  </c:pt>
                  <c:pt idx="496">
                    <c:v>Rolling Mean (30 Minute)</c:v>
                  </c:pt>
                  <c:pt idx="497">
                    <c:v>Rolling Mean (30 Minute)</c:v>
                  </c:pt>
                  <c:pt idx="498">
                    <c:v>Rolling Mean (30 Minute)</c:v>
                  </c:pt>
                  <c:pt idx="499">
                    <c:v>Rolling Mean (30 Minute)</c:v>
                  </c:pt>
                  <c:pt idx="500">
                    <c:v>Rolling Mean (30 Minute)</c:v>
                  </c:pt>
                  <c:pt idx="501">
                    <c:v>Rolling Mean (30 Minute)</c:v>
                  </c:pt>
                  <c:pt idx="502">
                    <c:v>Rolling Mean (30 Minute)</c:v>
                  </c:pt>
                  <c:pt idx="503">
                    <c:v>Rolling Mean (30 Minute)</c:v>
                  </c:pt>
                  <c:pt idx="504">
                    <c:v>Rolling Mean (30 Minute)</c:v>
                  </c:pt>
                  <c:pt idx="505">
                    <c:v>Rolling Mean (30 Minute)</c:v>
                  </c:pt>
                  <c:pt idx="506">
                    <c:v>Rolling Mean (30 Minute)</c:v>
                  </c:pt>
                  <c:pt idx="507">
                    <c:v>Rolling Mean (30 Minute)</c:v>
                  </c:pt>
                  <c:pt idx="508">
                    <c:v>Rolling Mean (30 Minute)</c:v>
                  </c:pt>
                  <c:pt idx="509">
                    <c:v>Rolling Mean (30 Minute)</c:v>
                  </c:pt>
                  <c:pt idx="510">
                    <c:v>Rolling Mean (30 Minute)</c:v>
                  </c:pt>
                  <c:pt idx="511">
                    <c:v>Rolling Mean (30 Minute)</c:v>
                  </c:pt>
                  <c:pt idx="512">
                    <c:v>Rolling Mean (30 Minute)</c:v>
                  </c:pt>
                  <c:pt idx="513">
                    <c:v>Rolling Mean (30 Minute)</c:v>
                  </c:pt>
                  <c:pt idx="514">
                    <c:v>Rolling Mean (30 Minute)</c:v>
                  </c:pt>
                  <c:pt idx="515">
                    <c:v>Rolling Mean (30 Minute)</c:v>
                  </c:pt>
                  <c:pt idx="516">
                    <c:v>Rolling Mean (30 Minute)</c:v>
                  </c:pt>
                  <c:pt idx="517">
                    <c:v>Rolling Mean (30 Minute)</c:v>
                  </c:pt>
                  <c:pt idx="518">
                    <c:v>Rolling Mean (30 Minute)</c:v>
                  </c:pt>
                  <c:pt idx="519">
                    <c:v>Rolling Mean (30 Minute)</c:v>
                  </c:pt>
                  <c:pt idx="520">
                    <c:v>Rolling Mean (30 Minute)</c:v>
                  </c:pt>
                  <c:pt idx="521">
                    <c:v>Rolling Mean (30 Minute)</c:v>
                  </c:pt>
                  <c:pt idx="522">
                    <c:v>Rolling Mean (30 Minute)</c:v>
                  </c:pt>
                  <c:pt idx="523">
                    <c:v>Rolling Mean (30 Minute)</c:v>
                  </c:pt>
                  <c:pt idx="524">
                    <c:v>Rolling Mean (30 Minute)</c:v>
                  </c:pt>
                  <c:pt idx="525">
                    <c:v>Rolling Mean (30 Minute)</c:v>
                  </c:pt>
                  <c:pt idx="526">
                    <c:v>Rolling Mean (30 Minute)</c:v>
                  </c:pt>
                  <c:pt idx="527">
                    <c:v>Rolling Mean (30 Minute)</c:v>
                  </c:pt>
                  <c:pt idx="528">
                    <c:v>Rolling Mean (30 Minute)</c:v>
                  </c:pt>
                  <c:pt idx="529">
                    <c:v>Rolling Mean (30 Minute)</c:v>
                  </c:pt>
                  <c:pt idx="530">
                    <c:v>Rolling Mean (30 Minute)</c:v>
                  </c:pt>
                  <c:pt idx="531">
                    <c:v>Rolling Mean (30 Minute)</c:v>
                  </c:pt>
                  <c:pt idx="532">
                    <c:v>Rolling Mean (30 Minute)</c:v>
                  </c:pt>
                  <c:pt idx="533">
                    <c:v>Rolling Mean (30 Minute)</c:v>
                  </c:pt>
                  <c:pt idx="534">
                    <c:v>Rolling Mean (30 Minute)</c:v>
                  </c:pt>
                  <c:pt idx="535">
                    <c:v>Rolling Mean (30 Minute)</c:v>
                  </c:pt>
                  <c:pt idx="536">
                    <c:v>Rolling Mean (30 Minute)</c:v>
                  </c:pt>
                  <c:pt idx="537">
                    <c:v>Rolling Mean (30 Minute)</c:v>
                  </c:pt>
                  <c:pt idx="538">
                    <c:v>Rolling Mean (30 Minute)</c:v>
                  </c:pt>
                  <c:pt idx="539">
                    <c:v>Rolling Mean (30 Minute)</c:v>
                  </c:pt>
                  <c:pt idx="540">
                    <c:v>Rolling Mean (30 Minute)</c:v>
                  </c:pt>
                  <c:pt idx="541">
                    <c:v>Rolling Mean (30 Minute)</c:v>
                  </c:pt>
                  <c:pt idx="542">
                    <c:v>Rolling Mean (30 Minute)</c:v>
                  </c:pt>
                  <c:pt idx="543">
                    <c:v>Rolling Mean (30 Minute)</c:v>
                  </c:pt>
                  <c:pt idx="544">
                    <c:v>Rolling Mean (30 Minute)</c:v>
                  </c:pt>
                  <c:pt idx="545">
                    <c:v>Rolling Mean (30 Minute)</c:v>
                  </c:pt>
                  <c:pt idx="546">
                    <c:v>Rolling Mean (30 Minute)</c:v>
                  </c:pt>
                  <c:pt idx="547">
                    <c:v>Rolling Mean (30 Minute)</c:v>
                  </c:pt>
                  <c:pt idx="548">
                    <c:v>Rolling Mean (30 Minute)</c:v>
                  </c:pt>
                  <c:pt idx="549">
                    <c:v>Rolling Mean (30 Minute)</c:v>
                  </c:pt>
                  <c:pt idx="550">
                    <c:v>Rolling Mean (30 Minute)</c:v>
                  </c:pt>
                  <c:pt idx="551">
                    <c:v>Rolling Mean (30 Minute)</c:v>
                  </c:pt>
                  <c:pt idx="552">
                    <c:v>Rolling Mean (30 Minute)</c:v>
                  </c:pt>
                  <c:pt idx="553">
                    <c:v>Rolling Mean (30 Minute)</c:v>
                  </c:pt>
                  <c:pt idx="554">
                    <c:v>Rolling Mean (30 Minute)</c:v>
                  </c:pt>
                  <c:pt idx="555">
                    <c:v>Rolling Mean (30 Minute)</c:v>
                  </c:pt>
                  <c:pt idx="556">
                    <c:v>Rolling Mean (30 Minute)</c:v>
                  </c:pt>
                  <c:pt idx="557">
                    <c:v>Rolling Mean (30 Minute)</c:v>
                  </c:pt>
                  <c:pt idx="558">
                    <c:v>Rolling Mean (30 Minute)</c:v>
                  </c:pt>
                  <c:pt idx="559">
                    <c:v>Rolling Mean (30 Minute)</c:v>
                  </c:pt>
                  <c:pt idx="560">
                    <c:v>Rolling Mean (30 Minute)</c:v>
                  </c:pt>
                  <c:pt idx="561">
                    <c:v>Rolling Mean (30 Minute)</c:v>
                  </c:pt>
                  <c:pt idx="562">
                    <c:v>Rolling Mean (30 Minute)</c:v>
                  </c:pt>
                  <c:pt idx="563">
                    <c:v>Rolling Mean (30 Minute)</c:v>
                  </c:pt>
                  <c:pt idx="564">
                    <c:v>Rolling Mean (30 Minute)</c:v>
                  </c:pt>
                  <c:pt idx="565">
                    <c:v>Rolling Mean (30 Minute)</c:v>
                  </c:pt>
                  <c:pt idx="566">
                    <c:v>Rolling Mean (30 Minute)</c:v>
                  </c:pt>
                  <c:pt idx="567">
                    <c:v>Rolling Mean (30 Minute)</c:v>
                  </c:pt>
                  <c:pt idx="568">
                    <c:v>Rolling Mean (30 Minute)</c:v>
                  </c:pt>
                  <c:pt idx="569">
                    <c:v>Rolling Mean (30 Minute)</c:v>
                  </c:pt>
                  <c:pt idx="570">
                    <c:v>Rolling Mean (30 Minute)</c:v>
                  </c:pt>
                  <c:pt idx="571">
                    <c:v>Rolling Mean (30 Minute)</c:v>
                  </c:pt>
                  <c:pt idx="572">
                    <c:v>Rolling Mean (30 Minute)</c:v>
                  </c:pt>
                  <c:pt idx="573">
                    <c:v>Rolling Mean (30 Minute)</c:v>
                  </c:pt>
                  <c:pt idx="574">
                    <c:v>Rolling Mean (30 Minute)</c:v>
                  </c:pt>
                  <c:pt idx="575">
                    <c:v>Rolling Mean (30 Minute)</c:v>
                  </c:pt>
                  <c:pt idx="576">
                    <c:v>Rolling Mean (30 Minute)</c:v>
                  </c:pt>
                  <c:pt idx="577">
                    <c:v>Rolling Mean (30 Minute)</c:v>
                  </c:pt>
                  <c:pt idx="578">
                    <c:v>Rolling Mean (30 Minute)</c:v>
                  </c:pt>
                  <c:pt idx="579">
                    <c:v>Rolling Mean (30 Minute)</c:v>
                  </c:pt>
                  <c:pt idx="580">
                    <c:v>Rolling Mean (30 Minute)</c:v>
                  </c:pt>
                  <c:pt idx="581">
                    <c:v>Rolling Mean (30 Minute)</c:v>
                  </c:pt>
                  <c:pt idx="582">
                    <c:v>Rolling Mean (30 Minute)</c:v>
                  </c:pt>
                  <c:pt idx="583">
                    <c:v>Rolling Mean (30 Minute)</c:v>
                  </c:pt>
                  <c:pt idx="584">
                    <c:v>Rolling Mean (30 Minute)</c:v>
                  </c:pt>
                  <c:pt idx="585">
                    <c:v>Rolling Mean (30 Minute)</c:v>
                  </c:pt>
                  <c:pt idx="586">
                    <c:v>Rolling Mean (30 Minute)</c:v>
                  </c:pt>
                  <c:pt idx="587">
                    <c:v>Rolling Mean (30 Minute)</c:v>
                  </c:pt>
                  <c:pt idx="588">
                    <c:v>Rolling Mean (30 Minute)</c:v>
                  </c:pt>
                  <c:pt idx="589">
                    <c:v>Rolling Mean (30 Minute)</c:v>
                  </c:pt>
                  <c:pt idx="590">
                    <c:v>Rolling Mean (30 Minute)</c:v>
                  </c:pt>
                  <c:pt idx="591">
                    <c:v>Rolling Mean (30 Minute)</c:v>
                  </c:pt>
                  <c:pt idx="592">
                    <c:v>Rolling Mean (30 Minute)</c:v>
                  </c:pt>
                  <c:pt idx="593">
                    <c:v>Rolling Mean (30 Minute)</c:v>
                  </c:pt>
                  <c:pt idx="594">
                    <c:v>Rolling Mean (30 Minute)</c:v>
                  </c:pt>
                  <c:pt idx="595">
                    <c:v>Rolling Mean (30 Minute)</c:v>
                  </c:pt>
                  <c:pt idx="596">
                    <c:v>Rolling Mean (30 Minute)</c:v>
                  </c:pt>
                  <c:pt idx="597">
                    <c:v>Rolling Mean (30 Minute)</c:v>
                  </c:pt>
                  <c:pt idx="598">
                    <c:v>Rolling Mean (30 Minute)</c:v>
                  </c:pt>
                  <c:pt idx="599">
                    <c:v>Rolling Mean (30 Minute)</c:v>
                  </c:pt>
                  <c:pt idx="600">
                    <c:v>Rolling Mean (30 Minute)</c:v>
                  </c:pt>
                  <c:pt idx="601">
                    <c:v>Rolling Mean (30 Minute)</c:v>
                  </c:pt>
                  <c:pt idx="602">
                    <c:v>Rolling Mean (30 Minute)</c:v>
                  </c:pt>
                  <c:pt idx="603">
                    <c:v>Rolling Mean (30 Minute)</c:v>
                  </c:pt>
                  <c:pt idx="604">
                    <c:v>Rolling Mean (30 Minute)</c:v>
                  </c:pt>
                  <c:pt idx="605">
                    <c:v>Rolling Mean (30 Minute)</c:v>
                  </c:pt>
                  <c:pt idx="606">
                    <c:v>Rolling Mean (30 Minute)</c:v>
                  </c:pt>
                  <c:pt idx="607">
                    <c:v>Rolling Mean (30 Minute)</c:v>
                  </c:pt>
                  <c:pt idx="608">
                    <c:v>Rolling Mean (30 Minute)</c:v>
                  </c:pt>
                  <c:pt idx="609">
                    <c:v>Rolling Mean (30 Minute)</c:v>
                  </c:pt>
                  <c:pt idx="610">
                    <c:v>Rolling Mean (30 Minute)</c:v>
                  </c:pt>
                  <c:pt idx="611">
                    <c:v>Rolling Mean (30 Minute)</c:v>
                  </c:pt>
                  <c:pt idx="612">
                    <c:v>Rolling Mean (30 Minute)</c:v>
                  </c:pt>
                  <c:pt idx="613">
                    <c:v>Rolling Mean (30 Minute)</c:v>
                  </c:pt>
                  <c:pt idx="614">
                    <c:v>Rolling Mean (30 Minute)</c:v>
                  </c:pt>
                  <c:pt idx="615">
                    <c:v>Rolling Mean (30 Minute)</c:v>
                  </c:pt>
                  <c:pt idx="616">
                    <c:v>Rolling Mean (30 Minute)</c:v>
                  </c:pt>
                  <c:pt idx="617">
                    <c:v>Rolling Mean (30 Minute)</c:v>
                  </c:pt>
                  <c:pt idx="618">
                    <c:v>Rolling Mean (30 Minute)</c:v>
                  </c:pt>
                  <c:pt idx="619">
                    <c:v>Rolling Mean (30 Minute)</c:v>
                  </c:pt>
                  <c:pt idx="620">
                    <c:v>Rolling Mean (30 Minute)</c:v>
                  </c:pt>
                  <c:pt idx="621">
                    <c:v>Rolling Mean (30 Minute)</c:v>
                  </c:pt>
                  <c:pt idx="622">
                    <c:v>Rolling Mean (30 Minute)</c:v>
                  </c:pt>
                  <c:pt idx="623">
                    <c:v>Rolling Mean (30 Minute)</c:v>
                  </c:pt>
                  <c:pt idx="624">
                    <c:v>Rolling Mean (30 Minute)</c:v>
                  </c:pt>
                  <c:pt idx="625">
                    <c:v>Rolling Mean (30 Minute)</c:v>
                  </c:pt>
                  <c:pt idx="626">
                    <c:v>Rolling Mean (30 Minute)</c:v>
                  </c:pt>
                  <c:pt idx="627">
                    <c:v>Rolling Mean (30 Minute)</c:v>
                  </c:pt>
                  <c:pt idx="628">
                    <c:v>Rolling Mean (30 Minute)</c:v>
                  </c:pt>
                  <c:pt idx="629">
                    <c:v>Rolling Mean (30 Minute)</c:v>
                  </c:pt>
                  <c:pt idx="630">
                    <c:v>Rolling Mean (30 Minute)</c:v>
                  </c:pt>
                  <c:pt idx="631">
                    <c:v>Rolling Mean (30 Minute)</c:v>
                  </c:pt>
                  <c:pt idx="632">
                    <c:v>Rolling Mean (30 Minute)</c:v>
                  </c:pt>
                  <c:pt idx="633">
                    <c:v>Rolling Mean (30 Minute)</c:v>
                  </c:pt>
                  <c:pt idx="634">
                    <c:v>Rolling Mean (30 Minute)</c:v>
                  </c:pt>
                  <c:pt idx="635">
                    <c:v>Rolling Mean (30 Minute)</c:v>
                  </c:pt>
                  <c:pt idx="636">
                    <c:v>Rolling Mean (30 Minute)</c:v>
                  </c:pt>
                  <c:pt idx="637">
                    <c:v>Rolling Mean (30 Minute)</c:v>
                  </c:pt>
                  <c:pt idx="638">
                    <c:v>Rolling Mean (30 Minute)</c:v>
                  </c:pt>
                  <c:pt idx="639">
                    <c:v>Rolling Mean (30 Minute)</c:v>
                  </c:pt>
                  <c:pt idx="640">
                    <c:v>Rolling Mean (30 Minute)</c:v>
                  </c:pt>
                  <c:pt idx="641">
                    <c:v>Rolling Mean (30 Minute)</c:v>
                  </c:pt>
                  <c:pt idx="642">
                    <c:v>Rolling Mean (30 Minute)</c:v>
                  </c:pt>
                  <c:pt idx="643">
                    <c:v>Rolling Mean (30 Minute)</c:v>
                  </c:pt>
                  <c:pt idx="644">
                    <c:v>Rolling Mean (30 Minute)</c:v>
                  </c:pt>
                  <c:pt idx="645">
                    <c:v>Rolling Mean (30 Minute)</c:v>
                  </c:pt>
                  <c:pt idx="646">
                    <c:v>Rolling Mean (30 Minute)</c:v>
                  </c:pt>
                  <c:pt idx="647">
                    <c:v>Rolling Mean (30 Minute)</c:v>
                  </c:pt>
                  <c:pt idx="648">
                    <c:v>Rolling Mean (30 Minute)</c:v>
                  </c:pt>
                  <c:pt idx="649">
                    <c:v>Rolling Mean (30 Minute)</c:v>
                  </c:pt>
                  <c:pt idx="650">
                    <c:v>Rolling Mean (30 Minute)</c:v>
                  </c:pt>
                  <c:pt idx="651">
                    <c:v>Rolling Mean (30 Minute)</c:v>
                  </c:pt>
                  <c:pt idx="652">
                    <c:v>Rolling Mean (30 Minute)</c:v>
                  </c:pt>
                  <c:pt idx="653">
                    <c:v>Rolling Mean (30 Minute)</c:v>
                  </c:pt>
                  <c:pt idx="654">
                    <c:v>Rolling Mean (30 Minute)</c:v>
                  </c:pt>
                  <c:pt idx="655">
                    <c:v>Rolling Mean (30 Minute)</c:v>
                  </c:pt>
                  <c:pt idx="656">
                    <c:v>Rolling Mean (30 Minute)</c:v>
                  </c:pt>
                  <c:pt idx="657">
                    <c:v>Rolling Mean (30 Minute)</c:v>
                  </c:pt>
                  <c:pt idx="658">
                    <c:v>Rolling Mean (30 Minute)</c:v>
                  </c:pt>
                  <c:pt idx="659">
                    <c:v>Rolling Mean (30 Minute)</c:v>
                  </c:pt>
                  <c:pt idx="660">
                    <c:v>Rolling Mean (30 Minute)</c:v>
                  </c:pt>
                  <c:pt idx="661">
                    <c:v>Rolling Mean (30 Minute)</c:v>
                  </c:pt>
                  <c:pt idx="662">
                    <c:v>Rolling Mean (30 Minute)</c:v>
                  </c:pt>
                  <c:pt idx="663">
                    <c:v>Rolling Mean (30 Minute)</c:v>
                  </c:pt>
                  <c:pt idx="664">
                    <c:v>Rolling Mean (30 Minute)</c:v>
                  </c:pt>
                  <c:pt idx="665">
                    <c:v>Rolling Mean (30 Minute)</c:v>
                  </c:pt>
                  <c:pt idx="666">
                    <c:v>Rolling Mean (30 Minute)</c:v>
                  </c:pt>
                  <c:pt idx="667">
                    <c:v>Rolling Mean (30 Minute)</c:v>
                  </c:pt>
                  <c:pt idx="668">
                    <c:v>Rolling Mean (30 Minute)</c:v>
                  </c:pt>
                  <c:pt idx="669">
                    <c:v>Rolling Mean (30 Minute)</c:v>
                  </c:pt>
                  <c:pt idx="670">
                    <c:v>Rolling Mean (30 Minute)</c:v>
                  </c:pt>
                  <c:pt idx="671">
                    <c:v>Rolling Mean (30 Minute)</c:v>
                  </c:pt>
                  <c:pt idx="672">
                    <c:v>Rolling Mean (30 Minute)</c:v>
                  </c:pt>
                  <c:pt idx="673">
                    <c:v>Rolling Mean (30 Minute)</c:v>
                  </c:pt>
                  <c:pt idx="674">
                    <c:v>Rolling Mean (30 Minute)</c:v>
                  </c:pt>
                  <c:pt idx="675">
                    <c:v>Rolling Mean (30 Minute)</c:v>
                  </c:pt>
                  <c:pt idx="676">
                    <c:v>Rolling Mean (30 Minute)</c:v>
                  </c:pt>
                  <c:pt idx="677">
                    <c:v>Rolling Mean (30 Minute)</c:v>
                  </c:pt>
                  <c:pt idx="678">
                    <c:v>Rolling Mean (30 Minute)</c:v>
                  </c:pt>
                  <c:pt idx="679">
                    <c:v>Rolling Mean (30 Minute)</c:v>
                  </c:pt>
                  <c:pt idx="680">
                    <c:v>Rolling Mean (30 Minute)</c:v>
                  </c:pt>
                  <c:pt idx="681">
                    <c:v>Rolling Mean (30 Minute)</c:v>
                  </c:pt>
                  <c:pt idx="682">
                    <c:v>Rolling Mean (30 Minute)</c:v>
                  </c:pt>
                  <c:pt idx="683">
                    <c:v>Rolling Mean (30 Minute)</c:v>
                  </c:pt>
                  <c:pt idx="684">
                    <c:v>Rolling Mean (30 Minute)</c:v>
                  </c:pt>
                  <c:pt idx="685">
                    <c:v>Rolling Mean (30 Minute)</c:v>
                  </c:pt>
                  <c:pt idx="686">
                    <c:v>Rolling Mean (30 Minute)</c:v>
                  </c:pt>
                  <c:pt idx="687">
                    <c:v>Rolling Mean (30 Minute)</c:v>
                  </c:pt>
                  <c:pt idx="688">
                    <c:v>Rolling Mean (30 Minute)</c:v>
                  </c:pt>
                  <c:pt idx="689">
                    <c:v>Rolling Mean (30 Minute)</c:v>
                  </c:pt>
                  <c:pt idx="690">
                    <c:v>Rolling Mean (30 Minute)</c:v>
                  </c:pt>
                  <c:pt idx="691">
                    <c:v>Rolling Mean (30 Minute)</c:v>
                  </c:pt>
                  <c:pt idx="692">
                    <c:v>Rolling Mean (30 Minute)</c:v>
                  </c:pt>
                  <c:pt idx="693">
                    <c:v>Rolling Mean (30 Minute)</c:v>
                  </c:pt>
                  <c:pt idx="694">
                    <c:v>Rolling Mean (30 Minute)</c:v>
                  </c:pt>
                  <c:pt idx="695">
                    <c:v>Rolling Mean (30 Minute)</c:v>
                  </c:pt>
                  <c:pt idx="696">
                    <c:v>Rolling Mean (30 Minute)</c:v>
                  </c:pt>
                  <c:pt idx="697">
                    <c:v>Rolling Mean (30 Minute)</c:v>
                  </c:pt>
                  <c:pt idx="698">
                    <c:v>Rolling Mean (30 Minute)</c:v>
                  </c:pt>
                  <c:pt idx="699">
                    <c:v>Rolling Mean (30 Minute)</c:v>
                  </c:pt>
                  <c:pt idx="700">
                    <c:v>Rolling Mean (30 Minute)</c:v>
                  </c:pt>
                  <c:pt idx="701">
                    <c:v>Rolling Mean (30 Minute)</c:v>
                  </c:pt>
                  <c:pt idx="702">
                    <c:v>Rolling Mean (30 Minute)</c:v>
                  </c:pt>
                  <c:pt idx="703">
                    <c:v>Rolling Mean (30 Minute)</c:v>
                  </c:pt>
                  <c:pt idx="704">
                    <c:v>Rolling Mean (30 Minute)</c:v>
                  </c:pt>
                  <c:pt idx="705">
                    <c:v>Rolling Mean (30 Minute)</c:v>
                  </c:pt>
                  <c:pt idx="706">
                    <c:v>Rolling Mean (30 Minute)</c:v>
                  </c:pt>
                  <c:pt idx="707">
                    <c:v>Rolling Mean (30 Minute)</c:v>
                  </c:pt>
                  <c:pt idx="708">
                    <c:v>Rolling Mean (30 Minute)</c:v>
                  </c:pt>
                  <c:pt idx="709">
                    <c:v>Rolling Mean (30 Minute)</c:v>
                  </c:pt>
                  <c:pt idx="710">
                    <c:v>Rolling Mean (30 Minute)</c:v>
                  </c:pt>
                  <c:pt idx="711">
                    <c:v>Rolling Mean (30 Minute)</c:v>
                  </c:pt>
                  <c:pt idx="712">
                    <c:v>Rolling Mean (30 Minute)</c:v>
                  </c:pt>
                  <c:pt idx="713">
                    <c:v>Rolling Mean (30 Minute)</c:v>
                  </c:pt>
                  <c:pt idx="714">
                    <c:v>Rolling Mean (30 Minute)</c:v>
                  </c:pt>
                  <c:pt idx="715">
                    <c:v>Rolling Mean (30 Minute)</c:v>
                  </c:pt>
                  <c:pt idx="716">
                    <c:v>Rolling Mean (30 Minute)</c:v>
                  </c:pt>
                  <c:pt idx="717">
                    <c:v>Rolling Mean (30 Minute)</c:v>
                  </c:pt>
                  <c:pt idx="718">
                    <c:v>Rolling Mean (30 Minute)</c:v>
                  </c:pt>
                  <c:pt idx="719">
                    <c:v>Rolling Mean (30 Minute)</c:v>
                  </c:pt>
                  <c:pt idx="720">
                    <c:v>Rolling Mean (30 Minute)</c:v>
                  </c:pt>
                  <c:pt idx="721">
                    <c:v>Rolling Mean (30 Minute)</c:v>
                  </c:pt>
                  <c:pt idx="722">
                    <c:v>Rolling Mean (30 Minute)</c:v>
                  </c:pt>
                  <c:pt idx="723">
                    <c:v>Rolling Mean (30 Minute)</c:v>
                  </c:pt>
                  <c:pt idx="724">
                    <c:v>Rolling Mean (30 Minute)</c:v>
                  </c:pt>
                  <c:pt idx="725">
                    <c:v>Rolling Mean (30 Minute)</c:v>
                  </c:pt>
                  <c:pt idx="726">
                    <c:v>Rolling Mean (30 Minute)</c:v>
                  </c:pt>
                  <c:pt idx="727">
                    <c:v>Rolling Mean (30 Minute)</c:v>
                  </c:pt>
                  <c:pt idx="728">
                    <c:v>Rolling Mean (30 Minute)</c:v>
                  </c:pt>
                  <c:pt idx="729">
                    <c:v>Rolling Mean (30 Minute)</c:v>
                  </c:pt>
                  <c:pt idx="730">
                    <c:v>Rolling Mean (30 Minute)</c:v>
                  </c:pt>
                  <c:pt idx="731">
                    <c:v>Rolling Mean (30 Minute)</c:v>
                  </c:pt>
                  <c:pt idx="732">
                    <c:v>Rolling Mean (30 Minute)</c:v>
                  </c:pt>
                  <c:pt idx="733">
                    <c:v>Rolling Mean (30 Minute)</c:v>
                  </c:pt>
                  <c:pt idx="734">
                    <c:v>Rolling Mean (30 Minute)</c:v>
                  </c:pt>
                  <c:pt idx="735">
                    <c:v>Rolling Mean (30 Minute)</c:v>
                  </c:pt>
                  <c:pt idx="736">
                    <c:v>Rolling Mean (30 Minute)</c:v>
                  </c:pt>
                  <c:pt idx="737">
                    <c:v>Rolling Mean (30 Minute)</c:v>
                  </c:pt>
                  <c:pt idx="738">
                    <c:v>Rolling Mean (30 Minute)</c:v>
                  </c:pt>
                  <c:pt idx="739">
                    <c:v>Rolling Mean (30 Minute)</c:v>
                  </c:pt>
                  <c:pt idx="740">
                    <c:v>Rolling Mean (30 Minute)</c:v>
                  </c:pt>
                  <c:pt idx="741">
                    <c:v>Rolling Mean (30 Minute)</c:v>
                  </c:pt>
                  <c:pt idx="742">
                    <c:v>Rolling Mean (30 Minute)</c:v>
                  </c:pt>
                  <c:pt idx="743">
                    <c:v>Rolling Mean (30 Minute)</c:v>
                  </c:pt>
                  <c:pt idx="744">
                    <c:v>Rolling Mean (30 Minute)</c:v>
                  </c:pt>
                  <c:pt idx="745">
                    <c:v>Rolling Mean (30 Minute)</c:v>
                  </c:pt>
                  <c:pt idx="746">
                    <c:v>Rolling Mean (30 Minute)</c:v>
                  </c:pt>
                  <c:pt idx="747">
                    <c:v>Rolling Mean (30 Minute)</c:v>
                  </c:pt>
                  <c:pt idx="748">
                    <c:v>Rolling Mean (30 Minute)</c:v>
                  </c:pt>
                  <c:pt idx="749">
                    <c:v>Rolling Mean (30 Minute)</c:v>
                  </c:pt>
                  <c:pt idx="750">
                    <c:v>Rolling Mean (30 Minute)</c:v>
                  </c:pt>
                  <c:pt idx="751">
                    <c:v>Rolling Mean (30 Minute)</c:v>
                  </c:pt>
                  <c:pt idx="752">
                    <c:v>Rolling Mean (30 Minute)</c:v>
                  </c:pt>
                  <c:pt idx="753">
                    <c:v>Rolling Mean (30 Minute)</c:v>
                  </c:pt>
                  <c:pt idx="754">
                    <c:v>Rolling Mean (30 Minute)</c:v>
                  </c:pt>
                  <c:pt idx="755">
                    <c:v>Rolling Mean (30 Minute)</c:v>
                  </c:pt>
                  <c:pt idx="756">
                    <c:v>Rolling Mean (30 Minute)</c:v>
                  </c:pt>
                  <c:pt idx="757">
                    <c:v>Rolling Mean (30 Minute)</c:v>
                  </c:pt>
                  <c:pt idx="758">
                    <c:v>Rolling Mean (30 Minute)</c:v>
                  </c:pt>
                  <c:pt idx="759">
                    <c:v>Rolling Mean (30 Minute)</c:v>
                  </c:pt>
                  <c:pt idx="760">
                    <c:v>Rolling Mean (30 Minute)</c:v>
                  </c:pt>
                  <c:pt idx="761">
                    <c:v>Rolling Mean (30 Minute)</c:v>
                  </c:pt>
                  <c:pt idx="762">
                    <c:v>Rolling Mean (30 Minute)</c:v>
                  </c:pt>
                  <c:pt idx="763">
                    <c:v>Rolling Mean (30 Minute)</c:v>
                  </c:pt>
                  <c:pt idx="764">
                    <c:v>Rolling Mean (30 Minute)</c:v>
                  </c:pt>
                  <c:pt idx="765">
                    <c:v>Rolling Mean (30 Minute)</c:v>
                  </c:pt>
                  <c:pt idx="766">
                    <c:v>Rolling Mean (30 Minute)</c:v>
                  </c:pt>
                  <c:pt idx="767">
                    <c:v>Rolling Mean (30 Minute)</c:v>
                  </c:pt>
                  <c:pt idx="768">
                    <c:v>Rolling Mean (30 Minute)</c:v>
                  </c:pt>
                  <c:pt idx="769">
                    <c:v>Rolling Mean (30 Minute)</c:v>
                  </c:pt>
                  <c:pt idx="770">
                    <c:v>Rolling Mean (30 Minute)</c:v>
                  </c:pt>
                  <c:pt idx="771">
                    <c:v>Rolling Mean (30 Minute)</c:v>
                  </c:pt>
                  <c:pt idx="772">
                    <c:v>Rolling Mean (30 Minute)</c:v>
                  </c:pt>
                  <c:pt idx="773">
                    <c:v>Rolling Mean (30 Minute)</c:v>
                  </c:pt>
                  <c:pt idx="774">
                    <c:v>Rolling Mean (30 Minute)</c:v>
                  </c:pt>
                  <c:pt idx="775">
                    <c:v>Rolling Mean (30 Minute)</c:v>
                  </c:pt>
                  <c:pt idx="776">
                    <c:v>Rolling Mean (30 Minute)</c:v>
                  </c:pt>
                  <c:pt idx="777">
                    <c:v>Rolling Mean (30 Minute)</c:v>
                  </c:pt>
                  <c:pt idx="778">
                    <c:v>Rolling Mean (30 Minute)</c:v>
                  </c:pt>
                  <c:pt idx="779">
                    <c:v>Rolling Mean (30 Minute)</c:v>
                  </c:pt>
                  <c:pt idx="780">
                    <c:v>Rolling Mean (30 Minute)</c:v>
                  </c:pt>
                  <c:pt idx="781">
                    <c:v>Rolling Mean (30 Minute)</c:v>
                  </c:pt>
                  <c:pt idx="782">
                    <c:v>Rolling Mean (30 Minute)</c:v>
                  </c:pt>
                  <c:pt idx="783">
                    <c:v>Rolling Mean (30 Minute)</c:v>
                  </c:pt>
                  <c:pt idx="784">
                    <c:v>Rolling Mean (30 Minute)</c:v>
                  </c:pt>
                  <c:pt idx="785">
                    <c:v>Rolling Mean (30 Minute)</c:v>
                  </c:pt>
                  <c:pt idx="786">
                    <c:v>Rolling Mean (30 Minute)</c:v>
                  </c:pt>
                  <c:pt idx="787">
                    <c:v>Rolling Mean (30 Minute)</c:v>
                  </c:pt>
                  <c:pt idx="788">
                    <c:v>Rolling Mean (30 Minute)</c:v>
                  </c:pt>
                  <c:pt idx="789">
                    <c:v>Rolling Mean (30 Minute)</c:v>
                  </c:pt>
                  <c:pt idx="790">
                    <c:v>Rolling Mean (30 Minute)</c:v>
                  </c:pt>
                  <c:pt idx="791">
                    <c:v>Rolling Mean (30 Minute)</c:v>
                  </c:pt>
                  <c:pt idx="792">
                    <c:v>Rolling Mean (30 Minute)</c:v>
                  </c:pt>
                  <c:pt idx="793">
                    <c:v>Rolling Mean (30 Minute)</c:v>
                  </c:pt>
                  <c:pt idx="794">
                    <c:v>Rolling Mean (30 Minute)</c:v>
                  </c:pt>
                  <c:pt idx="795">
                    <c:v>Rolling Mean (30 Minute)</c:v>
                  </c:pt>
                  <c:pt idx="796">
                    <c:v>Rolling Mean (30 Minute)</c:v>
                  </c:pt>
                  <c:pt idx="797">
                    <c:v>Rolling Mean (30 Minute)</c:v>
                  </c:pt>
                  <c:pt idx="798">
                    <c:v>Rolling Mean (30 Minute)</c:v>
                  </c:pt>
                  <c:pt idx="799">
                    <c:v>Rolling Mean (30 Minute)</c:v>
                  </c:pt>
                  <c:pt idx="800">
                    <c:v>Rolling Mean (30 Minute)</c:v>
                  </c:pt>
                  <c:pt idx="801">
                    <c:v>Rolling Mean (30 Minute)</c:v>
                  </c:pt>
                  <c:pt idx="802">
                    <c:v>Rolling Mean (30 Minute)</c:v>
                  </c:pt>
                  <c:pt idx="803">
                    <c:v>Rolling Mean (30 Minute)</c:v>
                  </c:pt>
                  <c:pt idx="804">
                    <c:v>Rolling Mean (30 Minute)</c:v>
                  </c:pt>
                  <c:pt idx="805">
                    <c:v>Rolling Mean (30 Minute)</c:v>
                  </c:pt>
                  <c:pt idx="806">
                    <c:v>Rolling Mean (30 Minute)</c:v>
                  </c:pt>
                  <c:pt idx="807">
                    <c:v>Rolling Mean (30 Minute)</c:v>
                  </c:pt>
                  <c:pt idx="808">
                    <c:v>Rolling Mean (30 Minute)</c:v>
                  </c:pt>
                  <c:pt idx="809">
                    <c:v>Rolling Mean (30 Minute)</c:v>
                  </c:pt>
                  <c:pt idx="810">
                    <c:v>Rolling Mean (30 Minute)</c:v>
                  </c:pt>
                  <c:pt idx="811">
                    <c:v>Rolling Mean (30 Minute)</c:v>
                  </c:pt>
                  <c:pt idx="812">
                    <c:v>Rolling Mean (30 Minute)</c:v>
                  </c:pt>
                  <c:pt idx="813">
                    <c:v>Rolling Mean (30 Minute)</c:v>
                  </c:pt>
                  <c:pt idx="814">
                    <c:v>Rolling Mean (30 Minute)</c:v>
                  </c:pt>
                  <c:pt idx="815">
                    <c:v>Rolling Mean (30 Minute)</c:v>
                  </c:pt>
                  <c:pt idx="816">
                    <c:v>Rolling Mean (30 Minute)</c:v>
                  </c:pt>
                  <c:pt idx="817">
                    <c:v>Rolling Mean (30 Minute)</c:v>
                  </c:pt>
                  <c:pt idx="818">
                    <c:v>Rolling Mean (30 Minute)</c:v>
                  </c:pt>
                  <c:pt idx="819">
                    <c:v>Rolling Mean (30 Minute)</c:v>
                  </c:pt>
                  <c:pt idx="820">
                    <c:v>Rolling Mean (30 Minute)</c:v>
                  </c:pt>
                  <c:pt idx="821">
                    <c:v>Rolling Mean (30 Minute)</c:v>
                  </c:pt>
                  <c:pt idx="822">
                    <c:v>Rolling Mean (30 Minute)</c:v>
                  </c:pt>
                  <c:pt idx="823">
                    <c:v>Rolling Mean (30 Minute)</c:v>
                  </c:pt>
                  <c:pt idx="824">
                    <c:v>Rolling Mean (30 Minute)</c:v>
                  </c:pt>
                  <c:pt idx="825">
                    <c:v>Rolling Mean (30 Minute)</c:v>
                  </c:pt>
                  <c:pt idx="826">
                    <c:v>Rolling Mean (30 Minute)</c:v>
                  </c:pt>
                  <c:pt idx="827">
                    <c:v>Rolling Mean (30 Minute)</c:v>
                  </c:pt>
                  <c:pt idx="828">
                    <c:v>Rolling Mean (30 Minute)</c:v>
                  </c:pt>
                  <c:pt idx="829">
                    <c:v>Rolling Mean (30 Minute)</c:v>
                  </c:pt>
                  <c:pt idx="830">
                    <c:v>Rolling Mean (30 Minute)</c:v>
                  </c:pt>
                  <c:pt idx="831">
                    <c:v>Rolling Mean (30 Minute)</c:v>
                  </c:pt>
                  <c:pt idx="832">
                    <c:v>Rolling Mean (30 Minute)</c:v>
                  </c:pt>
                  <c:pt idx="833">
                    <c:v>Rolling Mean (30 Minute)</c:v>
                  </c:pt>
                  <c:pt idx="834">
                    <c:v>Rolling Mean (30 Minute)</c:v>
                  </c:pt>
                  <c:pt idx="835">
                    <c:v>Rolling Mean (30 Minute)</c:v>
                  </c:pt>
                  <c:pt idx="836">
                    <c:v>Rolling Mean (30 Minute)</c:v>
                  </c:pt>
                  <c:pt idx="837">
                    <c:v>Rolling Mean (30 Minute)</c:v>
                  </c:pt>
                  <c:pt idx="838">
                    <c:v>Rolling Mean (30 Minute)</c:v>
                  </c:pt>
                  <c:pt idx="839">
                    <c:v>Rolling Mean (30 Minute)</c:v>
                  </c:pt>
                  <c:pt idx="840">
                    <c:v>Rolling Mean (30 Minute)</c:v>
                  </c:pt>
                  <c:pt idx="841">
                    <c:v>Rolling Mean (30 Minute)</c:v>
                  </c:pt>
                  <c:pt idx="842">
                    <c:v>Rolling Mean (30 Minute)</c:v>
                  </c:pt>
                  <c:pt idx="843">
                    <c:v>Rolling Mean (30 Minute)</c:v>
                  </c:pt>
                  <c:pt idx="844">
                    <c:v>Rolling Mean (30 Minute)</c:v>
                  </c:pt>
                  <c:pt idx="845">
                    <c:v>Rolling Mean (30 Minute)</c:v>
                  </c:pt>
                  <c:pt idx="846">
                    <c:v>Rolling Mean (30 Minute)</c:v>
                  </c:pt>
                  <c:pt idx="847">
                    <c:v>Rolling Mean (30 Minute)</c:v>
                  </c:pt>
                  <c:pt idx="848">
                    <c:v>Rolling Mean (30 Minute)</c:v>
                  </c:pt>
                  <c:pt idx="849">
                    <c:v>Rolling Mean (30 Minute)</c:v>
                  </c:pt>
                  <c:pt idx="850">
                    <c:v>Rolling Mean (30 Minute)</c:v>
                  </c:pt>
                  <c:pt idx="851">
                    <c:v>Rolling Mean (30 Minute)</c:v>
                  </c:pt>
                  <c:pt idx="852">
                    <c:v>Rolling Mean (30 Minute)</c:v>
                  </c:pt>
                  <c:pt idx="853">
                    <c:v>Rolling Mean (30 Minute)</c:v>
                  </c:pt>
                  <c:pt idx="854">
                    <c:v>Rolling Mean (30 Minute)</c:v>
                  </c:pt>
                  <c:pt idx="855">
                    <c:v>Rolling Mean (30 Minute)</c:v>
                  </c:pt>
                  <c:pt idx="856">
                    <c:v>Rolling Mean (30 Minute)</c:v>
                  </c:pt>
                  <c:pt idx="857">
                    <c:v>Rolling Mean (30 Minute)</c:v>
                  </c:pt>
                  <c:pt idx="858">
                    <c:v>Rolling Mean (30 Minute)</c:v>
                  </c:pt>
                  <c:pt idx="859">
                    <c:v>Rolling Mean (30 Minute)</c:v>
                  </c:pt>
                  <c:pt idx="860">
                    <c:v>Rolling Mean (30 Minute)</c:v>
                  </c:pt>
                  <c:pt idx="861">
                    <c:v>Rolling Mean (30 Minute)</c:v>
                  </c:pt>
                  <c:pt idx="862">
                    <c:v>Rolling Mean (30 Minute)</c:v>
                  </c:pt>
                  <c:pt idx="863">
                    <c:v>Rolling Mean (30 Minute)</c:v>
                  </c:pt>
                  <c:pt idx="864">
                    <c:v>Rolling Mean (30 Minute)</c:v>
                  </c:pt>
                  <c:pt idx="865">
                    <c:v>Rolling Mean (30 Minute)</c:v>
                  </c:pt>
                  <c:pt idx="866">
                    <c:v>Rolling Mean (30 Minute)</c:v>
                  </c:pt>
                  <c:pt idx="867">
                    <c:v>Rolling Mean (30 Minute)</c:v>
                  </c:pt>
                  <c:pt idx="868">
                    <c:v>Rolling Mean (30 Minute)</c:v>
                  </c:pt>
                  <c:pt idx="869">
                    <c:v>Rolling Mean (30 Minute)</c:v>
                  </c:pt>
                  <c:pt idx="870">
                    <c:v>Rolling Mean (30 Minute)</c:v>
                  </c:pt>
                  <c:pt idx="871">
                    <c:v>Rolling Mean (30 Minute)</c:v>
                  </c:pt>
                  <c:pt idx="872">
                    <c:v>Rolling Mean (30 Minute)</c:v>
                  </c:pt>
                  <c:pt idx="873">
                    <c:v>Rolling Mean (30 Minute)</c:v>
                  </c:pt>
                  <c:pt idx="874">
                    <c:v>Rolling Mean (30 Minute)</c:v>
                  </c:pt>
                  <c:pt idx="875">
                    <c:v>Rolling Mean (30 Minute)</c:v>
                  </c:pt>
                  <c:pt idx="876">
                    <c:v>Rolling Mean (30 Minute)</c:v>
                  </c:pt>
                  <c:pt idx="877">
                    <c:v>Rolling Mean (30 Minute)</c:v>
                  </c:pt>
                  <c:pt idx="878">
                    <c:v>Rolling Mean (30 Minute)</c:v>
                  </c:pt>
                  <c:pt idx="879">
                    <c:v>Rolling Mean (30 Minute)</c:v>
                  </c:pt>
                  <c:pt idx="880">
                    <c:v>Rolling Mean (30 Minute)</c:v>
                  </c:pt>
                  <c:pt idx="881">
                    <c:v>Rolling Mean (30 Minute)</c:v>
                  </c:pt>
                  <c:pt idx="882">
                    <c:v>Rolling Mean (30 Minute)</c:v>
                  </c:pt>
                  <c:pt idx="883">
                    <c:v>Rolling Mean (30 Minute)</c:v>
                  </c:pt>
                  <c:pt idx="884">
                    <c:v>Rolling Mean (30 Minute)</c:v>
                  </c:pt>
                  <c:pt idx="885">
                    <c:v>Rolling Mean (30 Minute)</c:v>
                  </c:pt>
                  <c:pt idx="886">
                    <c:v>Rolling Mean (30 Minute)</c:v>
                  </c:pt>
                  <c:pt idx="887">
                    <c:v>Rolling Mean (30 Minute)</c:v>
                  </c:pt>
                  <c:pt idx="888">
                    <c:v>Rolling Mean (30 Minute)</c:v>
                  </c:pt>
                  <c:pt idx="889">
                    <c:v>Rolling Mean (30 Minute)</c:v>
                  </c:pt>
                  <c:pt idx="890">
                    <c:v>Rolling Mean (30 Minute)</c:v>
                  </c:pt>
                  <c:pt idx="891">
                    <c:v>Rolling Mean (30 Minute)</c:v>
                  </c:pt>
                  <c:pt idx="892">
                    <c:v>Rolling Mean (30 Minute)</c:v>
                  </c:pt>
                  <c:pt idx="893">
                    <c:v>Rolling Mean (30 Minute)</c:v>
                  </c:pt>
                  <c:pt idx="894">
                    <c:v>Rolling Mean (30 Minute)</c:v>
                  </c:pt>
                  <c:pt idx="895">
                    <c:v>Rolling Mean (30 Minute)</c:v>
                  </c:pt>
                  <c:pt idx="896">
                    <c:v>Rolling Mean (30 Minute)</c:v>
                  </c:pt>
                  <c:pt idx="897">
                    <c:v>Rolling Mean (30 Minute)</c:v>
                  </c:pt>
                  <c:pt idx="898">
                    <c:v>Rolling Mean (30 Minute)</c:v>
                  </c:pt>
                  <c:pt idx="899">
                    <c:v>Rolling Mean (30 Minute)</c:v>
                  </c:pt>
                  <c:pt idx="900">
                    <c:v>Rolling Mean (30 Minute)</c:v>
                  </c:pt>
                  <c:pt idx="901">
                    <c:v>Rolling Mean (30 Minute)</c:v>
                  </c:pt>
                  <c:pt idx="902">
                    <c:v>Rolling Mean (30 Minute)</c:v>
                  </c:pt>
                  <c:pt idx="903">
                    <c:v>Rolling Mean (30 Minute)</c:v>
                  </c:pt>
                  <c:pt idx="904">
                    <c:v>Rolling Mean (30 Minute)</c:v>
                  </c:pt>
                  <c:pt idx="905">
                    <c:v>Rolling Mean (30 Minute)</c:v>
                  </c:pt>
                  <c:pt idx="906">
                    <c:v>Rolling Mean (30 Minute)</c:v>
                  </c:pt>
                  <c:pt idx="907">
                    <c:v>Rolling Mean (30 Minute)</c:v>
                  </c:pt>
                  <c:pt idx="908">
                    <c:v>Rolling Mean (30 Minute)</c:v>
                  </c:pt>
                  <c:pt idx="909">
                    <c:v>Rolling Mean (30 Minute)</c:v>
                  </c:pt>
                  <c:pt idx="910">
                    <c:v>Rolling Mean (30 Minute)</c:v>
                  </c:pt>
                  <c:pt idx="911">
                    <c:v>Rolling Mean (30 Minute)</c:v>
                  </c:pt>
                  <c:pt idx="912">
                    <c:v>Rolling Mean (30 Minute)</c:v>
                  </c:pt>
                  <c:pt idx="913">
                    <c:v>Rolling Mean (30 Minute)</c:v>
                  </c:pt>
                  <c:pt idx="914">
                    <c:v>Rolling Mean (30 Minute)</c:v>
                  </c:pt>
                  <c:pt idx="915">
                    <c:v>Rolling Mean (30 Minute)</c:v>
                  </c:pt>
                  <c:pt idx="916">
                    <c:v>Rolling Mean (30 Minute)</c:v>
                  </c:pt>
                  <c:pt idx="917">
                    <c:v>Rolling Mean (30 Minute)</c:v>
                  </c:pt>
                  <c:pt idx="918">
                    <c:v>Rolling Mean (30 Minute)</c:v>
                  </c:pt>
                  <c:pt idx="919">
                    <c:v>Rolling Mean (30 Minute)</c:v>
                  </c:pt>
                  <c:pt idx="920">
                    <c:v>Rolling Mean (30 Minute)</c:v>
                  </c:pt>
                  <c:pt idx="921">
                    <c:v>Rolling Mean (30 Minute)</c:v>
                  </c:pt>
                  <c:pt idx="922">
                    <c:v>Rolling Mean (30 Minute)</c:v>
                  </c:pt>
                  <c:pt idx="923">
                    <c:v>Rolling Mean (30 Minute)</c:v>
                  </c:pt>
                  <c:pt idx="924">
                    <c:v>Rolling Mean (30 Minute)</c:v>
                  </c:pt>
                  <c:pt idx="925">
                    <c:v>Rolling Mean (30 Minute)</c:v>
                  </c:pt>
                  <c:pt idx="926">
                    <c:v>Rolling Mean (30 Minute)</c:v>
                  </c:pt>
                  <c:pt idx="927">
                    <c:v>Rolling Mean (30 Minute)</c:v>
                  </c:pt>
                  <c:pt idx="928">
                    <c:v>Rolling Mean (30 Minute)</c:v>
                  </c:pt>
                  <c:pt idx="929">
                    <c:v>Rolling Mean (30 Minute)</c:v>
                  </c:pt>
                  <c:pt idx="930">
                    <c:v>Rolling Mean (30 Minute)</c:v>
                  </c:pt>
                  <c:pt idx="931">
                    <c:v>Rolling Mean (30 Minute)</c:v>
                  </c:pt>
                  <c:pt idx="932">
                    <c:v>Rolling Mean (30 Minute)</c:v>
                  </c:pt>
                  <c:pt idx="933">
                    <c:v>Rolling Mean (30 Minute)</c:v>
                  </c:pt>
                  <c:pt idx="934">
                    <c:v>Rolling Mean (30 Minute)</c:v>
                  </c:pt>
                  <c:pt idx="935">
                    <c:v>Rolling Mean (30 Minute)</c:v>
                  </c:pt>
                  <c:pt idx="936">
                    <c:v>Rolling Mean (30 Minute)</c:v>
                  </c:pt>
                  <c:pt idx="937">
                    <c:v>Rolling Mean (30 Minute)</c:v>
                  </c:pt>
                  <c:pt idx="938">
                    <c:v>Rolling Mean (30 Minute)</c:v>
                  </c:pt>
                  <c:pt idx="939">
                    <c:v>Rolling Mean (30 Minute)</c:v>
                  </c:pt>
                  <c:pt idx="940">
                    <c:v>Rolling Mean (30 Minute)</c:v>
                  </c:pt>
                  <c:pt idx="941">
                    <c:v>Rolling Mean (30 Minute)</c:v>
                  </c:pt>
                  <c:pt idx="942">
                    <c:v>Rolling Mean (30 Minute)</c:v>
                  </c:pt>
                  <c:pt idx="943">
                    <c:v>Rolling Mean (30 Minute)</c:v>
                  </c:pt>
                  <c:pt idx="944">
                    <c:v>Rolling Mean (30 Minute)</c:v>
                  </c:pt>
                  <c:pt idx="945">
                    <c:v>Rolling Mean (30 Minute)</c:v>
                  </c:pt>
                  <c:pt idx="946">
                    <c:v>Rolling Mean (30 Minute)</c:v>
                  </c:pt>
                  <c:pt idx="947">
                    <c:v>Rolling Mean (30 Minute)</c:v>
                  </c:pt>
                  <c:pt idx="948">
                    <c:v>Rolling Mean (30 Minute)</c:v>
                  </c:pt>
                  <c:pt idx="949">
                    <c:v>Rolling Mean (30 Minute)</c:v>
                  </c:pt>
                  <c:pt idx="950">
                    <c:v>Rolling Mean (30 Minute)</c:v>
                  </c:pt>
                  <c:pt idx="951">
                    <c:v>Rolling Mean (30 Minute)</c:v>
                  </c:pt>
                  <c:pt idx="952">
                    <c:v>Rolling Mean (30 Minute)</c:v>
                  </c:pt>
                  <c:pt idx="953">
                    <c:v>Rolling Mean (30 Minute)</c:v>
                  </c:pt>
                  <c:pt idx="954">
                    <c:v>Rolling Mean (30 Minute)</c:v>
                  </c:pt>
                  <c:pt idx="955">
                    <c:v>Rolling Mean (30 Minute)</c:v>
                  </c:pt>
                  <c:pt idx="956">
                    <c:v>Rolling Mean (30 Minute)</c:v>
                  </c:pt>
                  <c:pt idx="957">
                    <c:v>Rolling Mean (30 Minute)</c:v>
                  </c:pt>
                  <c:pt idx="958">
                    <c:v>Rolling Mean (30 Minute)</c:v>
                  </c:pt>
                  <c:pt idx="959">
                    <c:v>Rolling Mean (30 Minute)</c:v>
                  </c:pt>
                  <c:pt idx="960">
                    <c:v>Rolling Mean (30 Minute)</c:v>
                  </c:pt>
                  <c:pt idx="961">
                    <c:v>Rolling Mean (30 Minute)</c:v>
                  </c:pt>
                  <c:pt idx="962">
                    <c:v>Rolling Mean (30 Minute)</c:v>
                  </c:pt>
                  <c:pt idx="963">
                    <c:v>Rolling Mean (30 Minute)</c:v>
                  </c:pt>
                  <c:pt idx="964">
                    <c:v>Rolling Mean (30 Minute)</c:v>
                  </c:pt>
                  <c:pt idx="965">
                    <c:v>Rolling Mean (30 Minute)</c:v>
                  </c:pt>
                  <c:pt idx="966">
                    <c:v>Rolling Mean (30 Minute)</c:v>
                  </c:pt>
                  <c:pt idx="967">
                    <c:v>Rolling Mean (30 Minute)</c:v>
                  </c:pt>
                  <c:pt idx="968">
                    <c:v>Rolling Mean (30 Minute)</c:v>
                  </c:pt>
                  <c:pt idx="969">
                    <c:v>Rolling Mean (30 Minute)</c:v>
                  </c:pt>
                  <c:pt idx="970">
                    <c:v>Rolling Mean (30 Minute)</c:v>
                  </c:pt>
                  <c:pt idx="971">
                    <c:v>Rolling Mean (30 Minute)</c:v>
                  </c:pt>
                  <c:pt idx="972">
                    <c:v>Rolling Mean (30 Minute)</c:v>
                  </c:pt>
                  <c:pt idx="973">
                    <c:v>Rolling Mean (30 Minute)</c:v>
                  </c:pt>
                  <c:pt idx="974">
                    <c:v>Rolling Mean (30 Minute)</c:v>
                  </c:pt>
                  <c:pt idx="975">
                    <c:v>Rolling Mean (30 Minute)</c:v>
                  </c:pt>
                  <c:pt idx="976">
                    <c:v>Rolling Mean (30 Minute)</c:v>
                  </c:pt>
                  <c:pt idx="977">
                    <c:v>Rolling Mean (30 Minute)</c:v>
                  </c:pt>
                  <c:pt idx="978">
                    <c:v>Rolling Mean (30 Minute)</c:v>
                  </c:pt>
                  <c:pt idx="979">
                    <c:v>Rolling Mean (30 Minute)</c:v>
                  </c:pt>
                  <c:pt idx="980">
                    <c:v>Rolling Mean (30 Minute)</c:v>
                  </c:pt>
                  <c:pt idx="981">
                    <c:v>Rolling Mean (30 Minute)</c:v>
                  </c:pt>
                  <c:pt idx="982">
                    <c:v>Rolling Mean (30 Minute)</c:v>
                  </c:pt>
                  <c:pt idx="983">
                    <c:v>Rolling Mean (30 Minute)</c:v>
                  </c:pt>
                  <c:pt idx="984">
                    <c:v>Rolling Mean (30 Minute)</c:v>
                  </c:pt>
                  <c:pt idx="985">
                    <c:v>Rolling Mean (30 Minute)</c:v>
                  </c:pt>
                  <c:pt idx="986">
                    <c:v>Rolling Mean (30 Minute)</c:v>
                  </c:pt>
                  <c:pt idx="987">
                    <c:v>Rolling Mean (30 Minute)</c:v>
                  </c:pt>
                  <c:pt idx="988">
                    <c:v>Rolling Mean (30 Minute)</c:v>
                  </c:pt>
                  <c:pt idx="989">
                    <c:v>Rolling Mean (30 Minute)</c:v>
                  </c:pt>
                  <c:pt idx="990">
                    <c:v>Rolling Mean (30 Minute)</c:v>
                  </c:pt>
                  <c:pt idx="991">
                    <c:v>Rolling Mean (30 Minute)</c:v>
                  </c:pt>
                  <c:pt idx="992">
                    <c:v>Rolling Mean (30 Minute)</c:v>
                  </c:pt>
                  <c:pt idx="993">
                    <c:v>Rolling Mean (30 Minute)</c:v>
                  </c:pt>
                  <c:pt idx="994">
                    <c:v>Rolling Mean (30 Minute)</c:v>
                  </c:pt>
                  <c:pt idx="995">
                    <c:v>Rolling Mean (30 Minute)</c:v>
                  </c:pt>
                  <c:pt idx="996">
                    <c:v>Rolling Mean (30 Minute)</c:v>
                  </c:pt>
                  <c:pt idx="997">
                    <c:v>Rolling Mean (30 Minute)</c:v>
                  </c:pt>
                  <c:pt idx="998">
                    <c:v>Rolling Mean (30 Minute)</c:v>
                  </c:pt>
                  <c:pt idx="999">
                    <c:v>Rolling Mean (30 Minute)</c:v>
                  </c:pt>
                  <c:pt idx="1000">
                    <c:v>Rolling Mean (30 Minute)</c:v>
                  </c:pt>
                  <c:pt idx="1001">
                    <c:v>Rolling Mean (30 Minute)</c:v>
                  </c:pt>
                  <c:pt idx="1002">
                    <c:v>Rolling Mean (30 Minute)</c:v>
                  </c:pt>
                  <c:pt idx="1003">
                    <c:v>Rolling Mean (30 Minute)</c:v>
                  </c:pt>
                  <c:pt idx="1004">
                    <c:v>Rolling Mean (30 Minute)</c:v>
                  </c:pt>
                  <c:pt idx="1005">
                    <c:v>Rolling Mean (30 Minute)</c:v>
                  </c:pt>
                  <c:pt idx="1006">
                    <c:v>Rolling Mean (30 Minute)</c:v>
                  </c:pt>
                  <c:pt idx="1007">
                    <c:v>Rolling Mean (30 Minute)</c:v>
                  </c:pt>
                  <c:pt idx="1008">
                    <c:v>Rolling Mean (30 Minute)</c:v>
                  </c:pt>
                  <c:pt idx="1009">
                    <c:v>Rolling Mean (30 Minute)</c:v>
                  </c:pt>
                  <c:pt idx="1010">
                    <c:v>Rolling Mean (30 Minute)</c:v>
                  </c:pt>
                  <c:pt idx="1011">
                    <c:v>Rolling Mean (30 Minute)</c:v>
                  </c:pt>
                  <c:pt idx="1012">
                    <c:v>Rolling Mean (30 Minute)</c:v>
                  </c:pt>
                  <c:pt idx="1013">
                    <c:v>Rolling Mean (30 Minute)</c:v>
                  </c:pt>
                  <c:pt idx="1014">
                    <c:v>Rolling Mean (30 Minute)</c:v>
                  </c:pt>
                  <c:pt idx="1015">
                    <c:v>Rolling Mean (30 Minute)</c:v>
                  </c:pt>
                  <c:pt idx="1016">
                    <c:v>Rolling Mean (30 Minute)</c:v>
                  </c:pt>
                  <c:pt idx="1017">
                    <c:v>Rolling Mean (30 Minute)</c:v>
                  </c:pt>
                  <c:pt idx="1018">
                    <c:v>Rolling Mean (30 Minute)</c:v>
                  </c:pt>
                  <c:pt idx="1019">
                    <c:v>Rolling Mean (30 Minute)</c:v>
                  </c:pt>
                  <c:pt idx="1020">
                    <c:v>Rolling Mean (30 Minute)</c:v>
                  </c:pt>
                  <c:pt idx="1021">
                    <c:v>Rolling Mean (30 Minute)</c:v>
                  </c:pt>
                  <c:pt idx="1022">
                    <c:v>Rolling Mean (30 Minute)</c:v>
                  </c:pt>
                  <c:pt idx="1023">
                    <c:v>Rolling Mean (30 Minute)</c:v>
                  </c:pt>
                  <c:pt idx="1024">
                    <c:v>Rolling Mean (30 Minute)</c:v>
                  </c:pt>
                  <c:pt idx="1025">
                    <c:v>Rolling Mean (30 Minute)</c:v>
                  </c:pt>
                  <c:pt idx="1026">
                    <c:v>Rolling Mean (30 Minute)</c:v>
                  </c:pt>
                  <c:pt idx="1027">
                    <c:v>Rolling Mean (30 Minute)</c:v>
                  </c:pt>
                  <c:pt idx="1028">
                    <c:v>Rolling Mean (30 Minute)</c:v>
                  </c:pt>
                  <c:pt idx="1029">
                    <c:v>Rolling Mean (30 Minute)</c:v>
                  </c:pt>
                  <c:pt idx="1030">
                    <c:v>Rolling Mean (30 Minute)</c:v>
                  </c:pt>
                  <c:pt idx="1031">
                    <c:v>Rolling Mean (30 Minute)</c:v>
                  </c:pt>
                  <c:pt idx="1032">
                    <c:v>Rolling Mean (30 Minute)</c:v>
                  </c:pt>
                  <c:pt idx="1033">
                    <c:v>Rolling Mean (30 Minute)</c:v>
                  </c:pt>
                  <c:pt idx="1034">
                    <c:v>Rolling Mean (30 Minute)</c:v>
                  </c:pt>
                  <c:pt idx="1035">
                    <c:v>Rolling Mean (30 Minute)</c:v>
                  </c:pt>
                  <c:pt idx="1036">
                    <c:v>Rolling Mean (30 Minute)</c:v>
                  </c:pt>
                  <c:pt idx="1037">
                    <c:v>Rolling Mean (30 Minute)</c:v>
                  </c:pt>
                  <c:pt idx="1038">
                    <c:v>Rolling Mean (30 Minute)</c:v>
                  </c:pt>
                  <c:pt idx="1039">
                    <c:v>Rolling Mean (30 Minute)</c:v>
                  </c:pt>
                  <c:pt idx="1040">
                    <c:v>Rolling Mean (30 Minute)</c:v>
                  </c:pt>
                  <c:pt idx="1041">
                    <c:v>Rolling Mean (30 Minute)</c:v>
                  </c:pt>
                  <c:pt idx="1042">
                    <c:v>Rolling Mean (30 Minute)</c:v>
                  </c:pt>
                  <c:pt idx="1043">
                    <c:v>Rolling Mean (30 Minute)</c:v>
                  </c:pt>
                  <c:pt idx="1044">
                    <c:v>Rolling Mean (30 Minute)</c:v>
                  </c:pt>
                  <c:pt idx="1045">
                    <c:v>Rolling Mean (30 Minute)</c:v>
                  </c:pt>
                  <c:pt idx="1046">
                    <c:v>Rolling Mean (30 Minute)</c:v>
                  </c:pt>
                  <c:pt idx="1047">
                    <c:v>Rolling Mean (30 Minute)</c:v>
                  </c:pt>
                  <c:pt idx="1048">
                    <c:v>Rolling Mean (30 Minute)</c:v>
                  </c:pt>
                  <c:pt idx="1049">
                    <c:v>Rolling Mean (30 Minute)</c:v>
                  </c:pt>
                  <c:pt idx="1050">
                    <c:v>Rolling Mean (30 Minute)</c:v>
                  </c:pt>
                  <c:pt idx="1051">
                    <c:v>Rolling Mean (30 Minute)</c:v>
                  </c:pt>
                  <c:pt idx="1052">
                    <c:v>Rolling Mean (30 Minute)</c:v>
                  </c:pt>
                  <c:pt idx="1053">
                    <c:v>Rolling Mean (30 Minute)</c:v>
                  </c:pt>
                  <c:pt idx="1054">
                    <c:v>Rolling Mean (30 Minute)</c:v>
                  </c:pt>
                  <c:pt idx="1055">
                    <c:v>Rolling Mean (30 Minute)</c:v>
                  </c:pt>
                  <c:pt idx="1056">
                    <c:v>Rolling Mean (30 Minute)</c:v>
                  </c:pt>
                  <c:pt idx="1057">
                    <c:v>Rolling Mean (30 Minute)</c:v>
                  </c:pt>
                  <c:pt idx="1058">
                    <c:v>Rolling Mean (30 Minute)</c:v>
                  </c:pt>
                  <c:pt idx="1059">
                    <c:v>Rolling Mean (30 Minute)</c:v>
                  </c:pt>
                  <c:pt idx="1060">
                    <c:v>Rolling Mean (30 Minute)</c:v>
                  </c:pt>
                  <c:pt idx="1061">
                    <c:v>Rolling Mean (30 Minute)</c:v>
                  </c:pt>
                  <c:pt idx="1062">
                    <c:v>Rolling Mean (30 Minute)</c:v>
                  </c:pt>
                  <c:pt idx="1063">
                    <c:v>Rolling Mean (30 Minute)</c:v>
                  </c:pt>
                  <c:pt idx="1064">
                    <c:v>Rolling Mean (30 Minute)</c:v>
                  </c:pt>
                  <c:pt idx="1065">
                    <c:v>Rolling Mean (30 Minute)</c:v>
                  </c:pt>
                  <c:pt idx="1066">
                    <c:v>Rolling Mean (30 Minute)</c:v>
                  </c:pt>
                  <c:pt idx="1067">
                    <c:v>Rolling Mean (30 Minute)</c:v>
                  </c:pt>
                  <c:pt idx="1068">
                    <c:v>Rolling Mean (30 Minute)</c:v>
                  </c:pt>
                  <c:pt idx="1069">
                    <c:v>Rolling Mean (30 Minute)</c:v>
                  </c:pt>
                  <c:pt idx="1070">
                    <c:v>Rolling Mean (30 Minute)</c:v>
                  </c:pt>
                  <c:pt idx="1071">
                    <c:v>Rolling Mean (30 Minute)</c:v>
                  </c:pt>
                  <c:pt idx="1072">
                    <c:v>Rolling Mean (30 Minute)</c:v>
                  </c:pt>
                  <c:pt idx="1073">
                    <c:v>Rolling Mean (30 Minute)</c:v>
                  </c:pt>
                  <c:pt idx="1074">
                    <c:v>Rolling Mean (30 Minute)</c:v>
                  </c:pt>
                  <c:pt idx="1075">
                    <c:v>Rolling Mean (30 Minute)</c:v>
                  </c:pt>
                  <c:pt idx="1076">
                    <c:v>Rolling Mean (30 Minute)</c:v>
                  </c:pt>
                  <c:pt idx="1077">
                    <c:v>Rolling Mean (30 Minute)</c:v>
                  </c:pt>
                  <c:pt idx="1078">
                    <c:v>Rolling Mean (30 Minute)</c:v>
                  </c:pt>
                  <c:pt idx="1079">
                    <c:v>Rolling Mean (30 Minute)</c:v>
                  </c:pt>
                  <c:pt idx="1080">
                    <c:v>Rolling Mean (30 Minute)</c:v>
                  </c:pt>
                  <c:pt idx="1081">
                    <c:v>Rolling Mean (30 Minute)</c:v>
                  </c:pt>
                  <c:pt idx="1082">
                    <c:v>Rolling Mean (30 Minute)</c:v>
                  </c:pt>
                  <c:pt idx="1083">
                    <c:v>Rolling Mean (30 Minute)</c:v>
                  </c:pt>
                  <c:pt idx="1084">
                    <c:v>Rolling Mean (30 Minute)</c:v>
                  </c:pt>
                  <c:pt idx="1085">
                    <c:v>Rolling Mean (30 Minute)</c:v>
                  </c:pt>
                  <c:pt idx="1086">
                    <c:v>Rolling Mean (30 Minute)</c:v>
                  </c:pt>
                  <c:pt idx="1087">
                    <c:v>Rolling Mean (30 Minute)</c:v>
                  </c:pt>
                  <c:pt idx="1088">
                    <c:v>Rolling Mean (30 Minute)</c:v>
                  </c:pt>
                  <c:pt idx="1089">
                    <c:v>Rolling Mean (30 Minute)</c:v>
                  </c:pt>
                  <c:pt idx="1090">
                    <c:v>Rolling Mean (30 Minute)</c:v>
                  </c:pt>
                  <c:pt idx="1091">
                    <c:v>Rolling Mean (30 Minute)</c:v>
                  </c:pt>
                  <c:pt idx="1092">
                    <c:v>Rolling Mean (30 Minute)</c:v>
                  </c:pt>
                  <c:pt idx="1093">
                    <c:v>Rolling Mean (30 Minute)</c:v>
                  </c:pt>
                  <c:pt idx="1094">
                    <c:v>Rolling Mean (30 Minute)</c:v>
                  </c:pt>
                  <c:pt idx="1095">
                    <c:v>Rolling Mean (30 Minute)</c:v>
                  </c:pt>
                  <c:pt idx="1096">
                    <c:v>Rolling Mean (30 Minute)</c:v>
                  </c:pt>
                  <c:pt idx="1097">
                    <c:v>Rolling Mean (30 Minute)</c:v>
                  </c:pt>
                  <c:pt idx="1098">
                    <c:v>Rolling Mean (30 Minute)</c:v>
                  </c:pt>
                  <c:pt idx="1099">
                    <c:v>Rolling Mean (30 Minute)</c:v>
                  </c:pt>
                  <c:pt idx="1100">
                    <c:v>Rolling Mean (30 Minute)</c:v>
                  </c:pt>
                  <c:pt idx="1101">
                    <c:v>Rolling Mean (30 Minute)</c:v>
                  </c:pt>
                  <c:pt idx="1102">
                    <c:v>Rolling Mean (30 Minute)</c:v>
                  </c:pt>
                  <c:pt idx="1103">
                    <c:v>Rolling Mean (30 Minute)</c:v>
                  </c:pt>
                  <c:pt idx="1104">
                    <c:v>Rolling Mean (30 Minute)</c:v>
                  </c:pt>
                  <c:pt idx="1105">
                    <c:v>Rolling Mean (30 Minute)</c:v>
                  </c:pt>
                  <c:pt idx="1106">
                    <c:v>Rolling Mean (30 Minute)</c:v>
                  </c:pt>
                  <c:pt idx="1107">
                    <c:v>Rolling Mean (30 Minute)</c:v>
                  </c:pt>
                  <c:pt idx="1108">
                    <c:v>Rolling Mean (30 Minute)</c:v>
                  </c:pt>
                  <c:pt idx="1109">
                    <c:v>Rolling Mean (30 Minute)</c:v>
                  </c:pt>
                  <c:pt idx="1110">
                    <c:v>Rolling Mean (30 Minute)</c:v>
                  </c:pt>
                  <c:pt idx="1111">
                    <c:v>Rolling Mean (30 Minute)</c:v>
                  </c:pt>
                  <c:pt idx="1112">
                    <c:v>Rolling Mean (30 Minute)</c:v>
                  </c:pt>
                  <c:pt idx="1113">
                    <c:v>Rolling Mean (30 Minute)</c:v>
                  </c:pt>
                  <c:pt idx="1114">
                    <c:v>Rolling Mean (30 Minute)</c:v>
                  </c:pt>
                  <c:pt idx="1115">
                    <c:v>Rolling Mean (30 Minute)</c:v>
                  </c:pt>
                  <c:pt idx="1116">
                    <c:v>Rolling Mean (30 Minute)</c:v>
                  </c:pt>
                  <c:pt idx="1117">
                    <c:v>Rolling Mean (30 Minute)</c:v>
                  </c:pt>
                  <c:pt idx="1118">
                    <c:v>Rolling Mean (30 Minute)</c:v>
                  </c:pt>
                  <c:pt idx="1119">
                    <c:v>Rolling Mean (30 Minute)</c:v>
                  </c:pt>
                  <c:pt idx="1120">
                    <c:v>Rolling Mean (30 Minute)</c:v>
                  </c:pt>
                  <c:pt idx="1121">
                    <c:v>Rolling Mean (30 Minute)</c:v>
                  </c:pt>
                  <c:pt idx="1122">
                    <c:v>Rolling Mean (30 Minute)</c:v>
                  </c:pt>
                  <c:pt idx="1123">
                    <c:v>Rolling Mean (30 Minute)</c:v>
                  </c:pt>
                  <c:pt idx="1124">
                    <c:v>Rolling Mean (30 Minute)</c:v>
                  </c:pt>
                  <c:pt idx="1125">
                    <c:v>Rolling Mean (30 Minute)</c:v>
                  </c:pt>
                  <c:pt idx="1126">
                    <c:v>Rolling Mean (30 Minute)</c:v>
                  </c:pt>
                  <c:pt idx="1127">
                    <c:v>Rolling Mean (30 Minute)</c:v>
                  </c:pt>
                  <c:pt idx="1128">
                    <c:v>Rolling Mean (30 Minute)</c:v>
                  </c:pt>
                  <c:pt idx="1129">
                    <c:v>Rolling Mean (30 Minute)</c:v>
                  </c:pt>
                  <c:pt idx="1130">
                    <c:v>Rolling Mean (30 Minute)</c:v>
                  </c:pt>
                  <c:pt idx="1131">
                    <c:v>Rolling Mean (30 Minute)</c:v>
                  </c:pt>
                  <c:pt idx="1132">
                    <c:v>Rolling Mean (30 Minute)</c:v>
                  </c:pt>
                  <c:pt idx="1133">
                    <c:v>Rolling Mean (30 Minute)</c:v>
                  </c:pt>
                  <c:pt idx="1134">
                    <c:v>Rolling Mean (30 Minute)</c:v>
                  </c:pt>
                  <c:pt idx="1135">
                    <c:v>Rolling Mean (30 Minute)</c:v>
                  </c:pt>
                  <c:pt idx="1136">
                    <c:v>Rolling Mean (30 Minute)</c:v>
                  </c:pt>
                  <c:pt idx="1137">
                    <c:v>Rolling Mean (30 Minute)</c:v>
                  </c:pt>
                  <c:pt idx="1138">
                    <c:v>Rolling Mean (30 Minute)</c:v>
                  </c:pt>
                  <c:pt idx="1139">
                    <c:v>Rolling Mean (30 Minute)</c:v>
                  </c:pt>
                  <c:pt idx="1140">
                    <c:v>Rolling Mean (30 Minute)</c:v>
                  </c:pt>
                  <c:pt idx="1141">
                    <c:v>Rolling Mean (30 Minute)</c:v>
                  </c:pt>
                  <c:pt idx="1142">
                    <c:v>Rolling Mean (30 Minute)</c:v>
                  </c:pt>
                  <c:pt idx="1143">
                    <c:v>Rolling Mean (30 Minute)</c:v>
                  </c:pt>
                  <c:pt idx="1144">
                    <c:v>Rolling Mean (30 Minute)</c:v>
                  </c:pt>
                  <c:pt idx="1145">
                    <c:v>Rolling Mean (30 Minute)</c:v>
                  </c:pt>
                  <c:pt idx="1146">
                    <c:v>Rolling Mean (30 Minute)</c:v>
                  </c:pt>
                  <c:pt idx="1147">
                    <c:v>Rolling Mean (30 Minute)</c:v>
                  </c:pt>
                  <c:pt idx="1148">
                    <c:v>Rolling Mean (30 Minute)</c:v>
                  </c:pt>
                  <c:pt idx="1149">
                    <c:v>Rolling Mean (30 Minute)</c:v>
                  </c:pt>
                  <c:pt idx="1150">
                    <c:v>Rolling Mean (30 Minute)</c:v>
                  </c:pt>
                  <c:pt idx="1151">
                    <c:v>Rolling Mean (30 Minute)</c:v>
                  </c:pt>
                  <c:pt idx="1152">
                    <c:v>Rolling Mean (30 Minute)</c:v>
                  </c:pt>
                  <c:pt idx="1153">
                    <c:v>Rolling Mean (30 Minute)</c:v>
                  </c:pt>
                  <c:pt idx="1154">
                    <c:v>Rolling Mean (30 Minute)</c:v>
                  </c:pt>
                  <c:pt idx="1155">
                    <c:v>Rolling Mean (30 Minute)</c:v>
                  </c:pt>
                  <c:pt idx="1156">
                    <c:v>Rolling Mean (30 Minute)</c:v>
                  </c:pt>
                  <c:pt idx="1157">
                    <c:v>Rolling Mean (30 Minute)</c:v>
                  </c:pt>
                  <c:pt idx="1158">
                    <c:v>Rolling Mean (30 Minute)</c:v>
                  </c:pt>
                  <c:pt idx="1159">
                    <c:v>Rolling Mean (30 Minute)</c:v>
                  </c:pt>
                  <c:pt idx="1160">
                    <c:v>Rolling Mean (30 Minute)</c:v>
                  </c:pt>
                  <c:pt idx="1161">
                    <c:v>Rolling Mean (30 Minute)</c:v>
                  </c:pt>
                  <c:pt idx="1162">
                    <c:v>Rolling Mean (30 Minute)</c:v>
                  </c:pt>
                  <c:pt idx="1163">
                    <c:v>Rolling Mean (30 Minute)</c:v>
                  </c:pt>
                  <c:pt idx="1164">
                    <c:v>Rolling Mean (30 Minute)</c:v>
                  </c:pt>
                  <c:pt idx="1165">
                    <c:v>Rolling Mean (30 Minute)</c:v>
                  </c:pt>
                  <c:pt idx="1166">
                    <c:v>Rolling Mean (30 Minute)</c:v>
                  </c:pt>
                  <c:pt idx="1167">
                    <c:v>Rolling Mean (30 Minute)</c:v>
                  </c:pt>
                  <c:pt idx="1168">
                    <c:v>Rolling Mean (30 Minute)</c:v>
                  </c:pt>
                  <c:pt idx="1169">
                    <c:v>Rolling Mean (30 Minute)</c:v>
                  </c:pt>
                  <c:pt idx="1170">
                    <c:v>Rolling Mean (30 Minute)</c:v>
                  </c:pt>
                  <c:pt idx="1171">
                    <c:v>Rolling Mean (30 Minute)</c:v>
                  </c:pt>
                  <c:pt idx="1172">
                    <c:v>Rolling Mean (30 Minute)</c:v>
                  </c:pt>
                  <c:pt idx="1173">
                    <c:v>Rolling Mean (30 Minute)</c:v>
                  </c:pt>
                  <c:pt idx="1174">
                    <c:v>Rolling Mean (30 Minute)</c:v>
                  </c:pt>
                  <c:pt idx="1175">
                    <c:v>Rolling Mean (30 Minute)</c:v>
                  </c:pt>
                  <c:pt idx="1176">
                    <c:v>Rolling Mean (30 Minute)</c:v>
                  </c:pt>
                  <c:pt idx="1177">
                    <c:v>Rolling Mean (30 Minute)</c:v>
                  </c:pt>
                  <c:pt idx="1178">
                    <c:v>Rolling Mean (30 Minute)</c:v>
                  </c:pt>
                  <c:pt idx="1179">
                    <c:v>Rolling Mean (30 Minute)</c:v>
                  </c:pt>
                  <c:pt idx="1180">
                    <c:v>Rolling Mean (30 Minute)</c:v>
                  </c:pt>
                  <c:pt idx="1181">
                    <c:v>Rolling Mean (30 Minute)</c:v>
                  </c:pt>
                  <c:pt idx="1182">
                    <c:v>Rolling Mean (30 Minute)</c:v>
                  </c:pt>
                  <c:pt idx="1183">
                    <c:v>Rolling Mean (30 Minute)</c:v>
                  </c:pt>
                  <c:pt idx="1184">
                    <c:v>Rolling Mean (30 Minute)</c:v>
                  </c:pt>
                  <c:pt idx="1185">
                    <c:v>Rolling Mean (30 Minute)</c:v>
                  </c:pt>
                  <c:pt idx="1186">
                    <c:v>Rolling Mean (30 Minute)</c:v>
                  </c:pt>
                  <c:pt idx="1187">
                    <c:v>Rolling Mean (30 Minute)</c:v>
                  </c:pt>
                  <c:pt idx="1188">
                    <c:v>Rolling Mean (30 Minute)</c:v>
                  </c:pt>
                  <c:pt idx="1189">
                    <c:v>Rolling Mean (30 Minute)</c:v>
                  </c:pt>
                  <c:pt idx="1190">
                    <c:v>Rolling Mean (30 Minute)</c:v>
                  </c:pt>
                  <c:pt idx="1191">
                    <c:v>Rolling Mean (30 Minute)</c:v>
                  </c:pt>
                  <c:pt idx="1192">
                    <c:v>Rolling Mean (30 Minute)</c:v>
                  </c:pt>
                  <c:pt idx="1193">
                    <c:v>Rolling Mean (30 Minute)</c:v>
                  </c:pt>
                  <c:pt idx="1194">
                    <c:v>Rolling Mean (30 Minute)</c:v>
                  </c:pt>
                  <c:pt idx="1195">
                    <c:v>Rolling Mean (30 Minute)</c:v>
                  </c:pt>
                  <c:pt idx="1196">
                    <c:v>Rolling Mean (30 Minute)</c:v>
                  </c:pt>
                  <c:pt idx="1197">
                    <c:v>Rolling Mean (30 Minute)</c:v>
                  </c:pt>
                  <c:pt idx="1198">
                    <c:v>Rolling Mean (30 Minute)</c:v>
                  </c:pt>
                  <c:pt idx="1199">
                    <c:v>Rolling Mean (30 Minute)</c:v>
                  </c:pt>
                  <c:pt idx="1200">
                    <c:v>Rolling Mean (30 Minute)</c:v>
                  </c:pt>
                  <c:pt idx="1201">
                    <c:v>Rolling Mean (30 Minute)</c:v>
                  </c:pt>
                  <c:pt idx="1202">
                    <c:v>Rolling Mean (30 Minute)</c:v>
                  </c:pt>
                  <c:pt idx="1203">
                    <c:v>Rolling Mean (30 Minute)</c:v>
                  </c:pt>
                  <c:pt idx="1204">
                    <c:v>Rolling Mean (30 Minute)</c:v>
                  </c:pt>
                  <c:pt idx="1205">
                    <c:v>Rolling Mean (30 Minute)</c:v>
                  </c:pt>
                  <c:pt idx="1206">
                    <c:v>Rolling Mean (30 Minute)</c:v>
                  </c:pt>
                  <c:pt idx="1207">
                    <c:v>Rolling Mean (30 Minute)</c:v>
                  </c:pt>
                  <c:pt idx="1208">
                    <c:v>Rolling Mean (30 Minute)</c:v>
                  </c:pt>
                  <c:pt idx="1209">
                    <c:v>Rolling Mean (30 Minute)</c:v>
                  </c:pt>
                  <c:pt idx="1210">
                    <c:v>Rolling Mean (30 Minute)</c:v>
                  </c:pt>
                  <c:pt idx="1211">
                    <c:v>Rolling Mean (30 Minute)</c:v>
                  </c:pt>
                  <c:pt idx="1212">
                    <c:v>Rolling Mean (30 Minute)</c:v>
                  </c:pt>
                  <c:pt idx="1213">
                    <c:v>Rolling Mean (30 Minute)</c:v>
                  </c:pt>
                  <c:pt idx="1214">
                    <c:v>Rolling Mean (30 Minute)</c:v>
                  </c:pt>
                  <c:pt idx="1215">
                    <c:v>Rolling Mean (30 Minute)</c:v>
                  </c:pt>
                  <c:pt idx="1216">
                    <c:v>Rolling Mean (30 Minute)</c:v>
                  </c:pt>
                  <c:pt idx="1217">
                    <c:v>Rolling Mean (30 Minute)</c:v>
                  </c:pt>
                  <c:pt idx="1218">
                    <c:v>Rolling Mean (30 Minute)</c:v>
                  </c:pt>
                  <c:pt idx="1219">
                    <c:v>Rolling Mean (30 Minute)</c:v>
                  </c:pt>
                  <c:pt idx="1220">
                    <c:v>Rolling Mean (30 Minute)</c:v>
                  </c:pt>
                  <c:pt idx="1221">
                    <c:v>Rolling Mean (30 Minute)</c:v>
                  </c:pt>
                  <c:pt idx="1222">
                    <c:v>Rolling Mean (30 Minute)</c:v>
                  </c:pt>
                  <c:pt idx="1223">
                    <c:v>Rolling Mean (30 Minute)</c:v>
                  </c:pt>
                  <c:pt idx="1224">
                    <c:v>Rolling Mean (30 Minute)</c:v>
                  </c:pt>
                  <c:pt idx="1225">
                    <c:v>Rolling Mean (30 Minute)</c:v>
                  </c:pt>
                  <c:pt idx="1226">
                    <c:v>Rolling Mean (30 Minute)</c:v>
                  </c:pt>
                  <c:pt idx="1227">
                    <c:v>Rolling Mean (30 Minute)</c:v>
                  </c:pt>
                  <c:pt idx="1228">
                    <c:v>Rolling Mean (30 Minute)</c:v>
                  </c:pt>
                  <c:pt idx="1229">
                    <c:v>Rolling Mean (30 Minute)</c:v>
                  </c:pt>
                  <c:pt idx="1230">
                    <c:v>Rolling Mean (30 Minute)</c:v>
                  </c:pt>
                  <c:pt idx="1231">
                    <c:v>Rolling Mean (30 Minute)</c:v>
                  </c:pt>
                  <c:pt idx="1232">
                    <c:v>Rolling Mean (30 Minute)</c:v>
                  </c:pt>
                  <c:pt idx="1233">
                    <c:v>Rolling Mean (30 Minute)</c:v>
                  </c:pt>
                  <c:pt idx="1234">
                    <c:v>Rolling Mean (30 Minute)</c:v>
                  </c:pt>
                  <c:pt idx="1235">
                    <c:v>Rolling Mean (30 Minute)</c:v>
                  </c:pt>
                  <c:pt idx="1236">
                    <c:v>Rolling Mean (30 Minute)</c:v>
                  </c:pt>
                  <c:pt idx="1237">
                    <c:v>Rolling Mean (30 Minute)</c:v>
                  </c:pt>
                  <c:pt idx="1238">
                    <c:v>Rolling Mean (30 Minute)</c:v>
                  </c:pt>
                  <c:pt idx="1239">
                    <c:v>Rolling Mean (30 Minute)</c:v>
                  </c:pt>
                  <c:pt idx="1240">
                    <c:v>Rolling Mean (30 Minute)</c:v>
                  </c:pt>
                  <c:pt idx="1241">
                    <c:v>Rolling Mean (30 Minute)</c:v>
                  </c:pt>
                  <c:pt idx="1242">
                    <c:v>Rolling Mean (30 Minute)</c:v>
                  </c:pt>
                  <c:pt idx="1243">
                    <c:v>Rolling Mean (30 Minute)</c:v>
                  </c:pt>
                  <c:pt idx="1244">
                    <c:v>Rolling Mean (30 Minute)</c:v>
                  </c:pt>
                  <c:pt idx="1245">
                    <c:v>Rolling Mean (30 Minute)</c:v>
                  </c:pt>
                  <c:pt idx="1246">
                    <c:v>Rolling Mean (30 Minute)</c:v>
                  </c:pt>
                  <c:pt idx="1247">
                    <c:v>Rolling Mean (30 Minute)</c:v>
                  </c:pt>
                  <c:pt idx="1248">
                    <c:v>Rolling Mean (30 Minute)</c:v>
                  </c:pt>
                  <c:pt idx="1249">
                    <c:v>Rolling Mean (30 Minute)</c:v>
                  </c:pt>
                  <c:pt idx="1250">
                    <c:v>Rolling Mean (30 Minute)</c:v>
                  </c:pt>
                  <c:pt idx="1251">
                    <c:v>Rolling Mean (30 Minute)</c:v>
                  </c:pt>
                  <c:pt idx="1252">
                    <c:v>Rolling Mean (30 Minute)</c:v>
                  </c:pt>
                  <c:pt idx="1253">
                    <c:v>Rolling Mean (30 Minute)</c:v>
                  </c:pt>
                  <c:pt idx="1254">
                    <c:v>Rolling Mean (30 Minute)</c:v>
                  </c:pt>
                  <c:pt idx="1255">
                    <c:v>Rolling Mean (30 Minute)</c:v>
                  </c:pt>
                  <c:pt idx="1256">
                    <c:v>Rolling Mean (30 Minute)</c:v>
                  </c:pt>
                  <c:pt idx="1257">
                    <c:v>Rolling Mean (30 Minute)</c:v>
                  </c:pt>
                  <c:pt idx="1258">
                    <c:v>Rolling Mean (30 Minute)</c:v>
                  </c:pt>
                  <c:pt idx="1259">
                    <c:v>Rolling Mean (30 Minute)</c:v>
                  </c:pt>
                  <c:pt idx="1260">
                    <c:v>Rolling Mean (30 Minute)</c:v>
                  </c:pt>
                  <c:pt idx="1261">
                    <c:v>Rolling Mean (30 Minute)</c:v>
                  </c:pt>
                  <c:pt idx="1262">
                    <c:v>Rolling Mean (30 Minute)</c:v>
                  </c:pt>
                  <c:pt idx="1263">
                    <c:v>Rolling Mean (30 Minute)</c:v>
                  </c:pt>
                  <c:pt idx="1264">
                    <c:v>Rolling Mean (30 Minute)</c:v>
                  </c:pt>
                  <c:pt idx="1265">
                    <c:v>Rolling Mean (30 Minute)</c:v>
                  </c:pt>
                  <c:pt idx="1266">
                    <c:v>Rolling Mean (30 Minute)</c:v>
                  </c:pt>
                  <c:pt idx="1267">
                    <c:v>Rolling Mean (30 Minute)</c:v>
                  </c:pt>
                  <c:pt idx="1268">
                    <c:v>Rolling Mean (30 Minute)</c:v>
                  </c:pt>
                  <c:pt idx="1269">
                    <c:v>Rolling Mean (30 Minute)</c:v>
                  </c:pt>
                  <c:pt idx="1270">
                    <c:v>Rolling Mean (30 Minute)</c:v>
                  </c:pt>
                  <c:pt idx="1271">
                    <c:v>Rolling Mean (30 Minute)</c:v>
                  </c:pt>
                  <c:pt idx="1272">
                    <c:v>Rolling Mean (30 Minute)</c:v>
                  </c:pt>
                  <c:pt idx="1273">
                    <c:v>Rolling Mean (30 Minute)</c:v>
                  </c:pt>
                  <c:pt idx="1274">
                    <c:v>Rolling Mean (30 Minute)</c:v>
                  </c:pt>
                  <c:pt idx="1275">
                    <c:v>Rolling Mean (30 Minute)</c:v>
                  </c:pt>
                  <c:pt idx="1276">
                    <c:v>Rolling Mean (30 Minute)</c:v>
                  </c:pt>
                  <c:pt idx="1277">
                    <c:v>Rolling Mean (30 Minute)</c:v>
                  </c:pt>
                  <c:pt idx="1278">
                    <c:v>Rolling Mean (30 Minute)</c:v>
                  </c:pt>
                  <c:pt idx="1279">
                    <c:v>Rolling Mean (30 Minute)</c:v>
                  </c:pt>
                  <c:pt idx="1280">
                    <c:v>Rolling Mean (30 Minute)</c:v>
                  </c:pt>
                  <c:pt idx="1281">
                    <c:v>Rolling Mean (30 Minute)</c:v>
                  </c:pt>
                  <c:pt idx="1282">
                    <c:v>Rolling Mean (30 Minute)</c:v>
                  </c:pt>
                  <c:pt idx="1283">
                    <c:v>Rolling Mean (30 Minute)</c:v>
                  </c:pt>
                  <c:pt idx="1284">
                    <c:v>Rolling Mean (30 Minute)</c:v>
                  </c:pt>
                  <c:pt idx="1285">
                    <c:v>Rolling Mean (30 Minute)</c:v>
                  </c:pt>
                  <c:pt idx="1286">
                    <c:v>Rolling Mean (30 Minute)</c:v>
                  </c:pt>
                  <c:pt idx="1287">
                    <c:v>Rolling Mean (30 Minute)</c:v>
                  </c:pt>
                  <c:pt idx="1288">
                    <c:v>Rolling Mean (30 Minute)</c:v>
                  </c:pt>
                  <c:pt idx="1289">
                    <c:v>Rolling Mean (30 Minute)</c:v>
                  </c:pt>
                  <c:pt idx="1290">
                    <c:v>Rolling Mean (30 Minute)</c:v>
                  </c:pt>
                  <c:pt idx="1291">
                    <c:v>Rolling Mean (30 Minute)</c:v>
                  </c:pt>
                  <c:pt idx="1292">
                    <c:v>Rolling Mean (30 Minute)</c:v>
                  </c:pt>
                  <c:pt idx="1293">
                    <c:v>Rolling Mean (30 Minute)</c:v>
                  </c:pt>
                  <c:pt idx="1294">
                    <c:v>Rolling Mean (30 Minute)</c:v>
                  </c:pt>
                  <c:pt idx="1295">
                    <c:v>Rolling Mean (30 Minute)</c:v>
                  </c:pt>
                  <c:pt idx="1296">
                    <c:v>Rolling Mean (30 Minute)</c:v>
                  </c:pt>
                  <c:pt idx="1297">
                    <c:v>Rolling Mean (30 Minute)</c:v>
                  </c:pt>
                  <c:pt idx="1298">
                    <c:v>Rolling Mean (30 Minute)</c:v>
                  </c:pt>
                  <c:pt idx="1299">
                    <c:v>Rolling Mean (30 Minute)</c:v>
                  </c:pt>
                  <c:pt idx="1300">
                    <c:v>Rolling Mean (30 Minute)</c:v>
                  </c:pt>
                  <c:pt idx="1301">
                    <c:v>Rolling Mean (30 Minute)</c:v>
                  </c:pt>
                  <c:pt idx="1302">
                    <c:v>Rolling Mean (30 Minute)</c:v>
                  </c:pt>
                  <c:pt idx="1303">
                    <c:v>Rolling Mean (30 Minute)</c:v>
                  </c:pt>
                  <c:pt idx="1304">
                    <c:v>Rolling Mean (30 Minute)</c:v>
                  </c:pt>
                  <c:pt idx="1305">
                    <c:v>Rolling Mean (30 Minute)</c:v>
                  </c:pt>
                  <c:pt idx="1306">
                    <c:v>Rolling Mean (30 Minute)</c:v>
                  </c:pt>
                  <c:pt idx="1307">
                    <c:v>Rolling Mean (30 Minute)</c:v>
                  </c:pt>
                  <c:pt idx="1308">
                    <c:v>Rolling Mean (30 Minute)</c:v>
                  </c:pt>
                  <c:pt idx="1309">
                    <c:v>Rolling Mean (30 Minute)</c:v>
                  </c:pt>
                  <c:pt idx="1310">
                    <c:v>Rolling Mean (30 Minute)</c:v>
                  </c:pt>
                  <c:pt idx="1311">
                    <c:v>Rolling Mean (30 Minute)</c:v>
                  </c:pt>
                  <c:pt idx="1312">
                    <c:v>Rolling Mean (30 Minute)</c:v>
                  </c:pt>
                  <c:pt idx="1313">
                    <c:v>Rolling Mean (30 Minute)</c:v>
                  </c:pt>
                  <c:pt idx="1314">
                    <c:v>Rolling Mean (30 Minute)</c:v>
                  </c:pt>
                  <c:pt idx="1315">
                    <c:v>Rolling Mean (30 Minute)</c:v>
                  </c:pt>
                  <c:pt idx="1316">
                    <c:v>Rolling Mean (30 Minute)</c:v>
                  </c:pt>
                  <c:pt idx="1317">
                    <c:v>Rolling Mean (30 Minute)</c:v>
                  </c:pt>
                  <c:pt idx="1318">
                    <c:v>Rolling Mean (30 Minute)</c:v>
                  </c:pt>
                  <c:pt idx="1319">
                    <c:v>Rolling Mean (30 Minute)</c:v>
                  </c:pt>
                  <c:pt idx="1320">
                    <c:v>Rolling Mean (30 Minute)</c:v>
                  </c:pt>
                  <c:pt idx="1321">
                    <c:v>Rolling Mean (30 Minute)</c:v>
                  </c:pt>
                  <c:pt idx="1322">
                    <c:v>Rolling Mean (30 Minute)</c:v>
                  </c:pt>
                  <c:pt idx="1323">
                    <c:v>Rolling Mean (30 Minute)</c:v>
                  </c:pt>
                  <c:pt idx="1324">
                    <c:v>Rolling Mean (30 Minute)</c:v>
                  </c:pt>
                  <c:pt idx="1325">
                    <c:v>Rolling Mean (30 Minute)</c:v>
                  </c:pt>
                  <c:pt idx="1326">
                    <c:v>Rolling Mean (30 Minute)</c:v>
                  </c:pt>
                  <c:pt idx="1327">
                    <c:v>Rolling Mean (30 Minute)</c:v>
                  </c:pt>
                  <c:pt idx="1328">
                    <c:v>Rolling Mean (30 Minute)</c:v>
                  </c:pt>
                  <c:pt idx="1329">
                    <c:v>Rolling Mean (30 Minute)</c:v>
                  </c:pt>
                  <c:pt idx="1330">
                    <c:v>Rolling Mean (30 Minute)</c:v>
                  </c:pt>
                  <c:pt idx="1331">
                    <c:v>Rolling Mean (30 Minute)</c:v>
                  </c:pt>
                  <c:pt idx="1332">
                    <c:v>Rolling Mean (30 Minute)</c:v>
                  </c:pt>
                  <c:pt idx="1333">
                    <c:v>Rolling Mean (30 Minute)</c:v>
                  </c:pt>
                  <c:pt idx="1334">
                    <c:v>Rolling Mean (30 Minute)</c:v>
                  </c:pt>
                  <c:pt idx="1335">
                    <c:v>Rolling Mean (30 Minute)</c:v>
                  </c:pt>
                  <c:pt idx="1336">
                    <c:v>Rolling Mean (30 Minute)</c:v>
                  </c:pt>
                  <c:pt idx="1337">
                    <c:v>Rolling Mean (30 Minute)</c:v>
                  </c:pt>
                  <c:pt idx="1338">
                    <c:v>Rolling Mean (30 Minute)</c:v>
                  </c:pt>
                  <c:pt idx="1339">
                    <c:v>Rolling Mean (30 Minute)</c:v>
                  </c:pt>
                  <c:pt idx="1340">
                    <c:v>Rolling Mean (30 Minute)</c:v>
                  </c:pt>
                  <c:pt idx="1341">
                    <c:v>Rolling Mean (30 Minute)</c:v>
                  </c:pt>
                  <c:pt idx="1342">
                    <c:v>Rolling Mean (30 Minute)</c:v>
                  </c:pt>
                  <c:pt idx="1343">
                    <c:v>Rolling Mean (30 Minute)</c:v>
                  </c:pt>
                  <c:pt idx="1344">
                    <c:v>Rolling Mean (30 Minute)</c:v>
                  </c:pt>
                  <c:pt idx="1345">
                    <c:v>Rolling Mean (30 Minute)</c:v>
                  </c:pt>
                  <c:pt idx="1346">
                    <c:v>Rolling Mean (30 Minute)</c:v>
                  </c:pt>
                  <c:pt idx="1347">
                    <c:v>Rolling Mean (30 Minute)</c:v>
                  </c:pt>
                  <c:pt idx="1348">
                    <c:v>Rolling Mean (30 Minute)</c:v>
                  </c:pt>
                  <c:pt idx="1349">
                    <c:v>Rolling Mean (30 Minute)</c:v>
                  </c:pt>
                  <c:pt idx="1350">
                    <c:v>Rolling Mean (30 Minute)</c:v>
                  </c:pt>
                  <c:pt idx="1351">
                    <c:v>Rolling Mean (30 Minute)</c:v>
                  </c:pt>
                  <c:pt idx="1352">
                    <c:v>Rolling Mean (30 Minute)</c:v>
                  </c:pt>
                  <c:pt idx="1353">
                    <c:v>Rolling Mean (30 Minute)</c:v>
                  </c:pt>
                  <c:pt idx="1354">
                    <c:v>Rolling Mean (30 Minute)</c:v>
                  </c:pt>
                  <c:pt idx="1355">
                    <c:v>Rolling Mean (30 Minute)</c:v>
                  </c:pt>
                  <c:pt idx="1356">
                    <c:v>Rolling Mean (30 Minute)</c:v>
                  </c:pt>
                  <c:pt idx="1357">
                    <c:v>Rolling Mean (30 Minute)</c:v>
                  </c:pt>
                  <c:pt idx="1358">
                    <c:v>Rolling Mean (30 Minute)</c:v>
                  </c:pt>
                  <c:pt idx="1359">
                    <c:v>Rolling Mean (30 Minute)</c:v>
                  </c:pt>
                  <c:pt idx="1360">
                    <c:v>Rolling Mean (30 Minute)</c:v>
                  </c:pt>
                  <c:pt idx="1361">
                    <c:v>Rolling Mean (30 Minute)</c:v>
                  </c:pt>
                  <c:pt idx="1362">
                    <c:v>Rolling Mean (30 Minute)</c:v>
                  </c:pt>
                  <c:pt idx="1363">
                    <c:v>Rolling Mean (30 Minute)</c:v>
                  </c:pt>
                  <c:pt idx="1364">
                    <c:v>Rolling Mean (30 Minute)</c:v>
                  </c:pt>
                  <c:pt idx="1365">
                    <c:v>Rolling Mean (30 Minute)</c:v>
                  </c:pt>
                  <c:pt idx="1366">
                    <c:v>Rolling Mean (30 Minute)</c:v>
                  </c:pt>
                  <c:pt idx="1367">
                    <c:v>Rolling Mean (30 Minute)</c:v>
                  </c:pt>
                  <c:pt idx="1368">
                    <c:v>Rolling Mean (30 Minute)</c:v>
                  </c:pt>
                  <c:pt idx="1369">
                    <c:v>Rolling Mean (30 Minute)</c:v>
                  </c:pt>
                  <c:pt idx="1370">
                    <c:v>Rolling Mean (30 Minute)</c:v>
                  </c:pt>
                  <c:pt idx="1371">
                    <c:v>Rolling Mean (30 Minute)</c:v>
                  </c:pt>
                  <c:pt idx="1372">
                    <c:v>Rolling Mean (30 Minute)</c:v>
                  </c:pt>
                  <c:pt idx="1373">
                    <c:v>Rolling Mean (30 Minute)</c:v>
                  </c:pt>
                  <c:pt idx="1374">
                    <c:v>Rolling Mean (30 Minute)</c:v>
                  </c:pt>
                  <c:pt idx="1375">
                    <c:v>Rolling Mean (30 Minute)</c:v>
                  </c:pt>
                  <c:pt idx="1376">
                    <c:v>Rolling Mean (30 Minute)</c:v>
                  </c:pt>
                  <c:pt idx="1377">
                    <c:v>Rolling Mean (30 Minute)</c:v>
                  </c:pt>
                  <c:pt idx="1378">
                    <c:v>Rolling Mean (30 Minute)</c:v>
                  </c:pt>
                  <c:pt idx="1379">
                    <c:v>Rolling Mean (30 Minute)</c:v>
                  </c:pt>
                  <c:pt idx="1380">
                    <c:v>Rolling Mean (30 Minute)</c:v>
                  </c:pt>
                  <c:pt idx="1381">
                    <c:v>Rolling Mean (30 Minute)</c:v>
                  </c:pt>
                  <c:pt idx="1382">
                    <c:v>Rolling Mean (30 Minute)</c:v>
                  </c:pt>
                  <c:pt idx="1383">
                    <c:v>Rolling Mean (30 Minute)</c:v>
                  </c:pt>
                  <c:pt idx="1384">
                    <c:v>Rolling Mean (30 Minute)</c:v>
                  </c:pt>
                  <c:pt idx="1385">
                    <c:v>Rolling Mean (30 Minute)</c:v>
                  </c:pt>
                  <c:pt idx="1386">
                    <c:v>Rolling Mean (30 Minute)</c:v>
                  </c:pt>
                  <c:pt idx="1387">
                    <c:v>Rolling Mean (30 Minute)</c:v>
                  </c:pt>
                  <c:pt idx="1388">
                    <c:v>Rolling Mean (30 Minute)</c:v>
                  </c:pt>
                  <c:pt idx="1389">
                    <c:v>Rolling Mean (30 Minute)</c:v>
                  </c:pt>
                  <c:pt idx="1390">
                    <c:v>Rolling Mean (30 Minute)</c:v>
                  </c:pt>
                  <c:pt idx="1391">
                    <c:v>Rolling Mean (30 Minute)</c:v>
                  </c:pt>
                  <c:pt idx="1392">
                    <c:v>Rolling Mean (30 Minute)</c:v>
                  </c:pt>
                  <c:pt idx="1393">
                    <c:v>Rolling Mean (30 Minute)</c:v>
                  </c:pt>
                  <c:pt idx="1394">
                    <c:v>Rolling Mean (30 Minute)</c:v>
                  </c:pt>
                  <c:pt idx="1395">
                    <c:v>Rolling Mean (30 Minute)</c:v>
                  </c:pt>
                  <c:pt idx="1396">
                    <c:v>Rolling Mean (30 Minute)</c:v>
                  </c:pt>
                  <c:pt idx="1397">
                    <c:v>Rolling Mean (30 Minute)</c:v>
                  </c:pt>
                  <c:pt idx="1398">
                    <c:v>Rolling Mean (30 Minute)</c:v>
                  </c:pt>
                  <c:pt idx="1399">
                    <c:v>Rolling Mean (30 Minute)</c:v>
                  </c:pt>
                  <c:pt idx="1400">
                    <c:v>Rolling Mean (30 Minute)</c:v>
                  </c:pt>
                  <c:pt idx="1401">
                    <c:v>Rolling Mean (30 Minute)</c:v>
                  </c:pt>
                  <c:pt idx="1402">
                    <c:v>Rolling Mean (30 Minute)</c:v>
                  </c:pt>
                  <c:pt idx="1403">
                    <c:v>Rolling Mean (30 Minute)</c:v>
                  </c:pt>
                  <c:pt idx="1404">
                    <c:v>Rolling Mean (30 Minute)</c:v>
                  </c:pt>
                  <c:pt idx="1405">
                    <c:v>Rolling Mean (30 Minute)</c:v>
                  </c:pt>
                  <c:pt idx="1406">
                    <c:v>Rolling Mean (30 Minute)</c:v>
                  </c:pt>
                  <c:pt idx="1407">
                    <c:v>Rolling Mean (30 Minute)</c:v>
                  </c:pt>
                  <c:pt idx="1408">
                    <c:v>Rolling Mean (30 Minute)</c:v>
                  </c:pt>
                  <c:pt idx="1409">
                    <c:v>Rolling Mean (30 Minute)</c:v>
                  </c:pt>
                  <c:pt idx="1410">
                    <c:v>Rolling Mean (30 Minute)</c:v>
                  </c:pt>
                  <c:pt idx="1411">
                    <c:v>Rolling Mean (30 Minute)</c:v>
                  </c:pt>
                  <c:pt idx="1412">
                    <c:v>Rolling Mean (30 Minute)</c:v>
                  </c:pt>
                  <c:pt idx="1413">
                    <c:v>Rolling Mean (30 Minute)</c:v>
                  </c:pt>
                  <c:pt idx="1414">
                    <c:v>Rolling Mean (30 Minute)</c:v>
                  </c:pt>
                  <c:pt idx="1415">
                    <c:v>Rolling Mean (30 Minute)</c:v>
                  </c:pt>
                  <c:pt idx="1416">
                    <c:v>Rolling Mean (30 Minute)</c:v>
                  </c:pt>
                  <c:pt idx="1417">
                    <c:v>Rolling Mean (30 Minute)</c:v>
                  </c:pt>
                  <c:pt idx="1418">
                    <c:v>Rolling Mean (30 Minute)</c:v>
                  </c:pt>
                  <c:pt idx="1419">
                    <c:v>Rolling Mean (30 Minute)</c:v>
                  </c:pt>
                  <c:pt idx="1420">
                    <c:v>Rolling Mean (30 Minute)</c:v>
                  </c:pt>
                  <c:pt idx="1421">
                    <c:v>Rolling Mean (30 Minute)</c:v>
                  </c:pt>
                  <c:pt idx="1422">
                    <c:v>Rolling Mean (30 Minute)</c:v>
                  </c:pt>
                  <c:pt idx="1423">
                    <c:v>Rolling Mean (30 Minute)</c:v>
                  </c:pt>
                  <c:pt idx="1424">
                    <c:v>Rolling Mean (30 Minute)</c:v>
                  </c:pt>
                  <c:pt idx="1425">
                    <c:v>Rolling Mean (30 Minute)</c:v>
                  </c:pt>
                  <c:pt idx="1426">
                    <c:v>Rolling Mean (30 Minute)</c:v>
                  </c:pt>
                  <c:pt idx="1427">
                    <c:v>Rolling Mean (30 Minute)</c:v>
                  </c:pt>
                  <c:pt idx="1428">
                    <c:v>Rolling Mean (30 Minute)</c:v>
                  </c:pt>
                  <c:pt idx="1429">
                    <c:v>Rolling Mean (30 Minute)</c:v>
                  </c:pt>
                  <c:pt idx="1430">
                    <c:v>Rolling Mean (30 Minute)</c:v>
                  </c:pt>
                  <c:pt idx="1431">
                    <c:v>Rolling Mean (30 Minute)</c:v>
                  </c:pt>
                  <c:pt idx="1432">
                    <c:v>Rolling Mean (30 Minute)</c:v>
                  </c:pt>
                  <c:pt idx="1433">
                    <c:v>Rolling Mean (30 Minute)</c:v>
                  </c:pt>
                  <c:pt idx="1434">
                    <c:v>Rolling Mean (30 Minute)</c:v>
                  </c:pt>
                  <c:pt idx="1435">
                    <c:v>Rolling Mean (30 Minute)</c:v>
                  </c:pt>
                  <c:pt idx="1436">
                    <c:v>Rolling Mean (30 Minute)</c:v>
                  </c:pt>
                  <c:pt idx="1437">
                    <c:v>Rolling Mean (30 Minute)</c:v>
                  </c:pt>
                  <c:pt idx="1438">
                    <c:v>Rolling Mean (30 Minute)</c:v>
                  </c:pt>
                  <c:pt idx="1439">
                    <c:v>Rolling Mean (30 Minute)</c:v>
                  </c:pt>
                  <c:pt idx="1440">
                    <c:v>Rolling Mean (30 Minute)</c:v>
                  </c:pt>
                  <c:pt idx="1441">
                    <c:v>Rolling Mean (30 Minute)</c:v>
                  </c:pt>
                  <c:pt idx="1442">
                    <c:v>Rolling Mean (30 Minute)</c:v>
                  </c:pt>
                  <c:pt idx="1443">
                    <c:v>Rolling Mean (30 Minute)</c:v>
                  </c:pt>
                  <c:pt idx="1444">
                    <c:v>Rolling Mean (30 Minute)</c:v>
                  </c:pt>
                  <c:pt idx="1445">
                    <c:v>Rolling Mean (30 Minute)</c:v>
                  </c:pt>
                  <c:pt idx="1446">
                    <c:v>Rolling Mean (30 Minute)</c:v>
                  </c:pt>
                  <c:pt idx="1447">
                    <c:v>Rolling Mean (30 Minute)</c:v>
                  </c:pt>
                  <c:pt idx="1448">
                    <c:v>Rolling Mean (30 Minute)</c:v>
                  </c:pt>
                  <c:pt idx="1449">
                    <c:v>Rolling Mean (30 Minute)</c:v>
                  </c:pt>
                  <c:pt idx="1450">
                    <c:v>Rolling Mean (30 Minute)</c:v>
                  </c:pt>
                  <c:pt idx="1451">
                    <c:v>Rolling Mean (30 Minute)</c:v>
                  </c:pt>
                  <c:pt idx="1452">
                    <c:v>Rolling Mean (30 Minute)</c:v>
                  </c:pt>
                  <c:pt idx="1453">
                    <c:v>Rolling Mean (30 Minute)</c:v>
                  </c:pt>
                  <c:pt idx="1454">
                    <c:v>Rolling Mean (30 Minute)</c:v>
                  </c:pt>
                  <c:pt idx="1455">
                    <c:v>Rolling Mean (30 Minute)</c:v>
                  </c:pt>
                  <c:pt idx="1456">
                    <c:v>Rolling Mean (30 Minute)</c:v>
                  </c:pt>
                  <c:pt idx="1457">
                    <c:v>Rolling Mean (30 Minute)</c:v>
                  </c:pt>
                  <c:pt idx="1458">
                    <c:v>Rolling Mean (30 Minute)</c:v>
                  </c:pt>
                  <c:pt idx="1459">
                    <c:v>Rolling Mean (30 Minute)</c:v>
                  </c:pt>
                  <c:pt idx="1460">
                    <c:v>Rolling Mean (30 Minute)</c:v>
                  </c:pt>
                  <c:pt idx="1461">
                    <c:v>Rolling Mean (30 Minute)</c:v>
                  </c:pt>
                  <c:pt idx="1462">
                    <c:v>Rolling Mean (30 Minute)</c:v>
                  </c:pt>
                  <c:pt idx="1463">
                    <c:v>Rolling Mean (30 Minute)</c:v>
                  </c:pt>
                  <c:pt idx="1464">
                    <c:v>Rolling Mean (30 Minute)</c:v>
                  </c:pt>
                  <c:pt idx="1465">
                    <c:v>Rolling Mean (30 Minute)</c:v>
                  </c:pt>
                  <c:pt idx="1466">
                    <c:v>Rolling Mean (30 Minute)</c:v>
                  </c:pt>
                  <c:pt idx="1467">
                    <c:v>Rolling Mean (30 Minute)</c:v>
                  </c:pt>
                  <c:pt idx="1468">
                    <c:v>Rolling Mean (30 Minute)</c:v>
                  </c:pt>
                  <c:pt idx="1469">
                    <c:v>Rolling Mean (30 Minute)</c:v>
                  </c:pt>
                  <c:pt idx="1470">
                    <c:v>Rolling Mean (30 Minute)</c:v>
                  </c:pt>
                  <c:pt idx="1471">
                    <c:v>Rolling Mean (30 Minute)</c:v>
                  </c:pt>
                  <c:pt idx="1472">
                    <c:v>Rolling Mean (30 Minute)</c:v>
                  </c:pt>
                  <c:pt idx="1473">
                    <c:v>Rolling Mean (30 Minute)</c:v>
                  </c:pt>
                  <c:pt idx="1474">
                    <c:v>Rolling Mean (30 Minute)</c:v>
                  </c:pt>
                  <c:pt idx="1475">
                    <c:v>Rolling Mean (30 Minute)</c:v>
                  </c:pt>
                  <c:pt idx="1476">
                    <c:v>Rolling Mean (30 Minute)</c:v>
                  </c:pt>
                  <c:pt idx="1477">
                    <c:v>Rolling Mean (30 Minute)</c:v>
                  </c:pt>
                  <c:pt idx="1478">
                    <c:v>Rolling Mean (30 Minute)</c:v>
                  </c:pt>
                  <c:pt idx="1479">
                    <c:v>Rolling Mean (30 Minute)</c:v>
                  </c:pt>
                  <c:pt idx="1480">
                    <c:v>Rolling Mean (30 Minute)</c:v>
                  </c:pt>
                  <c:pt idx="1481">
                    <c:v>Rolling Mean (30 Minute)</c:v>
                  </c:pt>
                  <c:pt idx="1482">
                    <c:v>Rolling Mean (30 Minute)</c:v>
                  </c:pt>
                  <c:pt idx="1483">
                    <c:v>Rolling Mean (30 Minute)</c:v>
                  </c:pt>
                  <c:pt idx="1484">
                    <c:v>Rolling Mean (30 Minute)</c:v>
                  </c:pt>
                  <c:pt idx="1485">
                    <c:v>Rolling Mean (30 Minute)</c:v>
                  </c:pt>
                  <c:pt idx="1486">
                    <c:v>Rolling Mean (30 Minute)</c:v>
                  </c:pt>
                  <c:pt idx="1487">
                    <c:v>Rolling Mean (30 Minute)</c:v>
                  </c:pt>
                  <c:pt idx="1488">
                    <c:v>Rolling Mean (30 Minute)</c:v>
                  </c:pt>
                  <c:pt idx="1489">
                    <c:v>Rolling Mean (30 Minute)</c:v>
                  </c:pt>
                  <c:pt idx="1490">
                    <c:v>Rolling Mean (30 Minute)</c:v>
                  </c:pt>
                  <c:pt idx="1491">
                    <c:v>Rolling Mean (30 Minute)</c:v>
                  </c:pt>
                  <c:pt idx="1492">
                    <c:v>Rolling Mean (30 Minute)</c:v>
                  </c:pt>
                  <c:pt idx="1493">
                    <c:v>Rolling Mean (30 Minute)</c:v>
                  </c:pt>
                  <c:pt idx="1494">
                    <c:v>Rolling Mean (30 Minute)</c:v>
                  </c:pt>
                  <c:pt idx="1495">
                    <c:v>Rolling Mean (30 Minute)</c:v>
                  </c:pt>
                  <c:pt idx="1496">
                    <c:v>Rolling Mean (30 Minute)</c:v>
                  </c:pt>
                  <c:pt idx="1497">
                    <c:v>Rolling Mean (30 Minute)</c:v>
                  </c:pt>
                  <c:pt idx="1498">
                    <c:v>Rolling Mean (30 Minute)</c:v>
                  </c:pt>
                  <c:pt idx="1499">
                    <c:v>Rolling Mean (30 Minute)</c:v>
                  </c:pt>
                  <c:pt idx="1500">
                    <c:v>Rolling Mean (30 Minute)</c:v>
                  </c:pt>
                  <c:pt idx="1501">
                    <c:v>Rolling Mean (30 Minute)</c:v>
                  </c:pt>
                  <c:pt idx="1502">
                    <c:v>Rolling Mean (30 Minute)</c:v>
                  </c:pt>
                  <c:pt idx="1503">
                    <c:v>Rolling Mean (30 Minute)</c:v>
                  </c:pt>
                  <c:pt idx="1504">
                    <c:v>Rolling Mean (30 Minute)</c:v>
                  </c:pt>
                  <c:pt idx="1505">
                    <c:v>Rolling Mean (30 Minute)</c:v>
                  </c:pt>
                  <c:pt idx="1506">
                    <c:v>Rolling Mean (30 Minute)</c:v>
                  </c:pt>
                  <c:pt idx="1507">
                    <c:v>Rolling Mean (30 Minute)</c:v>
                  </c:pt>
                  <c:pt idx="1508">
                    <c:v>Rolling Mean (30 Minute)</c:v>
                  </c:pt>
                  <c:pt idx="1509">
                    <c:v>Rolling Mean (30 Minute)</c:v>
                  </c:pt>
                  <c:pt idx="1510">
                    <c:v>Rolling Mean (30 Minute)</c:v>
                  </c:pt>
                  <c:pt idx="1511">
                    <c:v>Rolling Mean (30 Minute)</c:v>
                  </c:pt>
                  <c:pt idx="1512">
                    <c:v>Rolling Mean (30 Minute)</c:v>
                  </c:pt>
                  <c:pt idx="1513">
                    <c:v>Rolling Mean (30 Minute)</c:v>
                  </c:pt>
                  <c:pt idx="1514">
                    <c:v>Rolling Mean (30 Minute)</c:v>
                  </c:pt>
                  <c:pt idx="1515">
                    <c:v>Rolling Mean (30 Minute)</c:v>
                  </c:pt>
                  <c:pt idx="1516">
                    <c:v>Rolling Mean (30 Minute)</c:v>
                  </c:pt>
                  <c:pt idx="1517">
                    <c:v>Rolling Mean (30 Minute)</c:v>
                  </c:pt>
                  <c:pt idx="1518">
                    <c:v>Rolling Mean (30 Minute)</c:v>
                  </c:pt>
                  <c:pt idx="1519">
                    <c:v>Rolling Mean (30 Minute)</c:v>
                  </c:pt>
                  <c:pt idx="1520">
                    <c:v>Rolling Mean (30 Minute)</c:v>
                  </c:pt>
                  <c:pt idx="1521">
                    <c:v>Rolling Mean (30 Minute)</c:v>
                  </c:pt>
                  <c:pt idx="1522">
                    <c:v>Rolling Mean (30 Minute)</c:v>
                  </c:pt>
                  <c:pt idx="1523">
                    <c:v>Rolling Mean (30 Minute)</c:v>
                  </c:pt>
                  <c:pt idx="1524">
                    <c:v>Rolling Mean (30 Minute)</c:v>
                  </c:pt>
                  <c:pt idx="1525">
                    <c:v>Rolling Mean (30 Minute)</c:v>
                  </c:pt>
                  <c:pt idx="1526">
                    <c:v>Rolling Mean (30 Minute)</c:v>
                  </c:pt>
                  <c:pt idx="1527">
                    <c:v>Rolling Mean (30 Minute)</c:v>
                  </c:pt>
                  <c:pt idx="1528">
                    <c:v>Rolling Mean (30 Minute)</c:v>
                  </c:pt>
                  <c:pt idx="1529">
                    <c:v>Rolling Mean (30 Minute)</c:v>
                  </c:pt>
                  <c:pt idx="1530">
                    <c:v>Rolling Mean (30 Minute)</c:v>
                  </c:pt>
                  <c:pt idx="1531">
                    <c:v>Rolling Mean (30 Minute)</c:v>
                  </c:pt>
                  <c:pt idx="1532">
                    <c:v>Rolling Mean (30 Minute)</c:v>
                  </c:pt>
                  <c:pt idx="1533">
                    <c:v>Rolling Mean (30 Minute)</c:v>
                  </c:pt>
                  <c:pt idx="1534">
                    <c:v>Rolling Mean (30 Minute)</c:v>
                  </c:pt>
                  <c:pt idx="1535">
                    <c:v>Rolling Mean (30 Minute)</c:v>
                  </c:pt>
                  <c:pt idx="1536">
                    <c:v>Rolling Mean (30 Minute)</c:v>
                  </c:pt>
                  <c:pt idx="1537">
                    <c:v>Rolling Mean (30 Minute)</c:v>
                  </c:pt>
                  <c:pt idx="1538">
                    <c:v>Rolling Mean (30 Minute)</c:v>
                  </c:pt>
                  <c:pt idx="1539">
                    <c:v>Rolling Mean (30 Minute)</c:v>
                  </c:pt>
                  <c:pt idx="1540">
                    <c:v>Rolling Mean (30 Minute)</c:v>
                  </c:pt>
                  <c:pt idx="1541">
                    <c:v>Rolling Mean (30 Minute)</c:v>
                  </c:pt>
                  <c:pt idx="1542">
                    <c:v>Rolling Mean (30 Minute)</c:v>
                  </c:pt>
                  <c:pt idx="1543">
                    <c:v>Rolling Mean (30 Minute)</c:v>
                  </c:pt>
                  <c:pt idx="1544">
                    <c:v>Rolling Mean (30 Minute)</c:v>
                  </c:pt>
                  <c:pt idx="1545">
                    <c:v>Rolling Mean (30 Minute)</c:v>
                  </c:pt>
                  <c:pt idx="1546">
                    <c:v>Rolling Mean (30 Minute)</c:v>
                  </c:pt>
                  <c:pt idx="1547">
                    <c:v>Rolling Mean (30 Minute)</c:v>
                  </c:pt>
                  <c:pt idx="1548">
                    <c:v>Rolling Mean (30 Minute)</c:v>
                  </c:pt>
                  <c:pt idx="1549">
                    <c:v>Rolling Mean (30 Minute)</c:v>
                  </c:pt>
                  <c:pt idx="1550">
                    <c:v>Rolling Mean (30 Minute)</c:v>
                  </c:pt>
                  <c:pt idx="1551">
                    <c:v>Rolling Mean (30 Minute)</c:v>
                  </c:pt>
                  <c:pt idx="1552">
                    <c:v>Rolling Mean (30 Minute)</c:v>
                  </c:pt>
                  <c:pt idx="1553">
                    <c:v>Rolling Mean (30 Minute)</c:v>
                  </c:pt>
                  <c:pt idx="1554">
                    <c:v>Rolling Mean (30 Minute)</c:v>
                  </c:pt>
                  <c:pt idx="1555">
                    <c:v>Rolling Mean (30 Minute)</c:v>
                  </c:pt>
                  <c:pt idx="1556">
                    <c:v>Rolling Mean (30 Minute)</c:v>
                  </c:pt>
                  <c:pt idx="1557">
                    <c:v>Rolling Mean (30 Minute)</c:v>
                  </c:pt>
                  <c:pt idx="1558">
                    <c:v>Rolling Mean (30 Minute)</c:v>
                  </c:pt>
                  <c:pt idx="1559">
                    <c:v>Rolling Mean (30 Minute)</c:v>
                  </c:pt>
                  <c:pt idx="1560">
                    <c:v>Rolling Mean (30 Minute)</c:v>
                  </c:pt>
                  <c:pt idx="1561">
                    <c:v>Rolling Mean (30 Minute)</c:v>
                  </c:pt>
                  <c:pt idx="1562">
                    <c:v>Rolling Mean (30 Minute)</c:v>
                  </c:pt>
                  <c:pt idx="1563">
                    <c:v>Rolling Mean (30 Minute)</c:v>
                  </c:pt>
                  <c:pt idx="1564">
                    <c:v>Rolling Mean (30 Minute)</c:v>
                  </c:pt>
                  <c:pt idx="1565">
                    <c:v>Rolling Mean (30 Minute)</c:v>
                  </c:pt>
                  <c:pt idx="1566">
                    <c:v>Rolling Mean (30 Minute)</c:v>
                  </c:pt>
                  <c:pt idx="1567">
                    <c:v>Rolling Mean (30 Minute)</c:v>
                  </c:pt>
                  <c:pt idx="1568">
                    <c:v>Rolling Mean (30 Minute)</c:v>
                  </c:pt>
                  <c:pt idx="1569">
                    <c:v>Rolling Mean (30 Minute)</c:v>
                  </c:pt>
                  <c:pt idx="1570">
                    <c:v>Rolling Mean (30 Minute)</c:v>
                  </c:pt>
                  <c:pt idx="1571">
                    <c:v>Rolling Mean (30 Minute)</c:v>
                  </c:pt>
                  <c:pt idx="1572">
                    <c:v>Rolling Mean (30 Minute)</c:v>
                  </c:pt>
                  <c:pt idx="1573">
                    <c:v>Rolling Mean (30 Minute)</c:v>
                  </c:pt>
                  <c:pt idx="1574">
                    <c:v>Rolling Mean (30 Minute)</c:v>
                  </c:pt>
                  <c:pt idx="1575">
                    <c:v>Rolling Mean (30 Minute)</c:v>
                  </c:pt>
                  <c:pt idx="1576">
                    <c:v>Rolling Mean (30 Minute)</c:v>
                  </c:pt>
                  <c:pt idx="1577">
                    <c:v>Rolling Mean (30 Minute)</c:v>
                  </c:pt>
                  <c:pt idx="1578">
                    <c:v>Rolling Mean (30 Minute)</c:v>
                  </c:pt>
                  <c:pt idx="1579">
                    <c:v>Rolling Mean (30 Minute)</c:v>
                  </c:pt>
                  <c:pt idx="1580">
                    <c:v>Rolling Mean (30 Minute)</c:v>
                  </c:pt>
                  <c:pt idx="1581">
                    <c:v>Rolling Mean (30 Minute)</c:v>
                  </c:pt>
                  <c:pt idx="1582">
                    <c:v>Rolling Mean (30 Minute)</c:v>
                  </c:pt>
                  <c:pt idx="1583">
                    <c:v>Rolling Mean (30 Minute)</c:v>
                  </c:pt>
                  <c:pt idx="1584">
                    <c:v>Rolling Mean (30 Minute)</c:v>
                  </c:pt>
                  <c:pt idx="1585">
                    <c:v>Rolling Mean (30 Minute)</c:v>
                  </c:pt>
                  <c:pt idx="1586">
                    <c:v>Rolling Mean (30 Minute)</c:v>
                  </c:pt>
                  <c:pt idx="1587">
                    <c:v>Rolling Mean (30 Minute)</c:v>
                  </c:pt>
                  <c:pt idx="1588">
                    <c:v>Rolling Mean (30 Minute)</c:v>
                  </c:pt>
                  <c:pt idx="1589">
                    <c:v>Rolling Mean (30 Minute)</c:v>
                  </c:pt>
                  <c:pt idx="1590">
                    <c:v>Rolling Mean (30 Minute)</c:v>
                  </c:pt>
                  <c:pt idx="1591">
                    <c:v>Rolling Mean (30 Minute)</c:v>
                  </c:pt>
                  <c:pt idx="1592">
                    <c:v>Rolling Mean (30 Minute)</c:v>
                  </c:pt>
                  <c:pt idx="1593">
                    <c:v>Rolling Mean (30 Minute)</c:v>
                  </c:pt>
                  <c:pt idx="1594">
                    <c:v>Rolling Mean (30 Minute)</c:v>
                  </c:pt>
                  <c:pt idx="1595">
                    <c:v>Rolling Mean (30 Minute)</c:v>
                  </c:pt>
                  <c:pt idx="1596">
                    <c:v>Rolling Mean (30 Minute)</c:v>
                  </c:pt>
                  <c:pt idx="1597">
                    <c:v>Rolling Mean (30 Minute)</c:v>
                  </c:pt>
                  <c:pt idx="1598">
                    <c:v>Rolling Mean (30 Minute)</c:v>
                  </c:pt>
                  <c:pt idx="1599">
                    <c:v>Rolling Mean (30 Minute)</c:v>
                  </c:pt>
                  <c:pt idx="1600">
                    <c:v>Rolling Mean (30 Minute)</c:v>
                  </c:pt>
                  <c:pt idx="1601">
                    <c:v>Rolling Mean (30 Minute)</c:v>
                  </c:pt>
                  <c:pt idx="1602">
                    <c:v>Rolling Mean (30 Minute)</c:v>
                  </c:pt>
                  <c:pt idx="1603">
                    <c:v>Rolling Mean (30 Minute)</c:v>
                  </c:pt>
                  <c:pt idx="1604">
                    <c:v>Rolling Mean (30 Minute)</c:v>
                  </c:pt>
                  <c:pt idx="1605">
                    <c:v>Rolling Mean (30 Minute)</c:v>
                  </c:pt>
                  <c:pt idx="1606">
                    <c:v>Rolling Mean (30 Minute)</c:v>
                  </c:pt>
                  <c:pt idx="1607">
                    <c:v>Rolling Mean (30 Minute)</c:v>
                  </c:pt>
                  <c:pt idx="1608">
                    <c:v>Rolling Mean (30 Minute)</c:v>
                  </c:pt>
                  <c:pt idx="1609">
                    <c:v>Rolling Mean (30 Minute)</c:v>
                  </c:pt>
                  <c:pt idx="1610">
                    <c:v>Rolling Mean (30 Minute)</c:v>
                  </c:pt>
                  <c:pt idx="1611">
                    <c:v>Rolling Mean (30 Minute)</c:v>
                  </c:pt>
                  <c:pt idx="1612">
                    <c:v>Rolling Mean (30 Minute)</c:v>
                  </c:pt>
                  <c:pt idx="1613">
                    <c:v>Rolling Mean (30 Minute)</c:v>
                  </c:pt>
                  <c:pt idx="1614">
                    <c:v>Rolling Mean (30 Minute)</c:v>
                  </c:pt>
                  <c:pt idx="1615">
                    <c:v>Rolling Mean (30 Minute)</c:v>
                  </c:pt>
                  <c:pt idx="1616">
                    <c:v>Rolling Mean (30 Minute)</c:v>
                  </c:pt>
                  <c:pt idx="1617">
                    <c:v>Rolling Mean (30 Minute)</c:v>
                  </c:pt>
                  <c:pt idx="1618">
                    <c:v>Rolling Mean (30 Minute)</c:v>
                  </c:pt>
                  <c:pt idx="1619">
                    <c:v>Rolling Mean (30 Minute)</c:v>
                  </c:pt>
                  <c:pt idx="1620">
                    <c:v>Rolling Mean (30 Minute)</c:v>
                  </c:pt>
                  <c:pt idx="1621">
                    <c:v>Rolling Mean (30 Minute)</c:v>
                  </c:pt>
                  <c:pt idx="1622">
                    <c:v>Rolling Mean (30 Minute)</c:v>
                  </c:pt>
                  <c:pt idx="1623">
                    <c:v>Rolling Mean (30 Minute)</c:v>
                  </c:pt>
                  <c:pt idx="1624">
                    <c:v>Rolling Mean (30 Minute)</c:v>
                  </c:pt>
                  <c:pt idx="1625">
                    <c:v>Rolling Mean (30 Minute)</c:v>
                  </c:pt>
                  <c:pt idx="1626">
                    <c:v>Rolling Mean (30 Minute)</c:v>
                  </c:pt>
                  <c:pt idx="1627">
                    <c:v>Rolling Mean (30 Minute)</c:v>
                  </c:pt>
                  <c:pt idx="1628">
                    <c:v>Rolling Mean (30 Minute)</c:v>
                  </c:pt>
                  <c:pt idx="1629">
                    <c:v>Rolling Mean (30 Minute)</c:v>
                  </c:pt>
                  <c:pt idx="1630">
                    <c:v>Rolling Mean (30 Minute)</c:v>
                  </c:pt>
                  <c:pt idx="1631">
                    <c:v>Rolling Mean (30 Minute)</c:v>
                  </c:pt>
                  <c:pt idx="1632">
                    <c:v>Rolling Mean (30 Minute)</c:v>
                  </c:pt>
                  <c:pt idx="1633">
                    <c:v>Rolling Mean (30 Minute)</c:v>
                  </c:pt>
                  <c:pt idx="1634">
                    <c:v>Rolling Mean (30 Minute)</c:v>
                  </c:pt>
                  <c:pt idx="1635">
                    <c:v>Rolling Mean (30 Minute)</c:v>
                  </c:pt>
                  <c:pt idx="1636">
                    <c:v>Rolling Mean (30 Minute)</c:v>
                  </c:pt>
                  <c:pt idx="1637">
                    <c:v>Rolling Mean (30 Minute)</c:v>
                  </c:pt>
                  <c:pt idx="1638">
                    <c:v>Rolling Mean (30 Minute)</c:v>
                  </c:pt>
                  <c:pt idx="1639">
                    <c:v>Rolling Mean (30 Minute)</c:v>
                  </c:pt>
                  <c:pt idx="1640">
                    <c:v>Rolling Mean (30 Minute)</c:v>
                  </c:pt>
                  <c:pt idx="1641">
                    <c:v>Rolling Mean (30 Minute)</c:v>
                  </c:pt>
                  <c:pt idx="1642">
                    <c:v>Rolling Mean (30 Minute)</c:v>
                  </c:pt>
                  <c:pt idx="1643">
                    <c:v>Rolling Mean (30 Minute)</c:v>
                  </c:pt>
                  <c:pt idx="1644">
                    <c:v>Rolling Mean (30 Minute)</c:v>
                  </c:pt>
                  <c:pt idx="1645">
                    <c:v>Rolling Mean (30 Minute)</c:v>
                  </c:pt>
                  <c:pt idx="1646">
                    <c:v>Rolling Mean (30 Minute)</c:v>
                  </c:pt>
                  <c:pt idx="1647">
                    <c:v>Rolling Mean (30 Minute)</c:v>
                  </c:pt>
                  <c:pt idx="1648">
                    <c:v>Rolling Mean (30 Minute)</c:v>
                  </c:pt>
                  <c:pt idx="1649">
                    <c:v>Rolling Mean (30 Minute)</c:v>
                  </c:pt>
                  <c:pt idx="1650">
                    <c:v>Rolling Mean (30 Minute)</c:v>
                  </c:pt>
                  <c:pt idx="1651">
                    <c:v>Rolling Mean (30 Minute)</c:v>
                  </c:pt>
                  <c:pt idx="1652">
                    <c:v>Rolling Mean (30 Minute)</c:v>
                  </c:pt>
                  <c:pt idx="1653">
                    <c:v>Rolling Mean (30 Minute)</c:v>
                  </c:pt>
                  <c:pt idx="1654">
                    <c:v>Rolling Mean (30 Minute)</c:v>
                  </c:pt>
                  <c:pt idx="1655">
                    <c:v>Rolling Mean (30 Minute)</c:v>
                  </c:pt>
                  <c:pt idx="1656">
                    <c:v>Rolling Mean (30 Minute)</c:v>
                  </c:pt>
                  <c:pt idx="1657">
                    <c:v>Rolling Mean (30 Minute)</c:v>
                  </c:pt>
                  <c:pt idx="1658">
                    <c:v>Rolling Mean (30 Minute)</c:v>
                  </c:pt>
                  <c:pt idx="1659">
                    <c:v>Rolling Mean (30 Minute)</c:v>
                  </c:pt>
                  <c:pt idx="1660">
                    <c:v>Rolling Mean (30 Minute)</c:v>
                  </c:pt>
                  <c:pt idx="1661">
                    <c:v>Rolling Mean (30 Minute)</c:v>
                  </c:pt>
                  <c:pt idx="1662">
                    <c:v>Rolling Mean (30 Minute)</c:v>
                  </c:pt>
                  <c:pt idx="1663">
                    <c:v>Rolling Mean (30 Minute)</c:v>
                  </c:pt>
                  <c:pt idx="1664">
                    <c:v>Rolling Mean (30 Minute)</c:v>
                  </c:pt>
                  <c:pt idx="1665">
                    <c:v>Rolling Mean (30 Minute)</c:v>
                  </c:pt>
                  <c:pt idx="1666">
                    <c:v>Rolling Mean (30 Minute)</c:v>
                  </c:pt>
                  <c:pt idx="1667">
                    <c:v>Rolling Mean (30 Minute)</c:v>
                  </c:pt>
                  <c:pt idx="1668">
                    <c:v>Rolling Mean (30 Minute)</c:v>
                  </c:pt>
                  <c:pt idx="1669">
                    <c:v>Rolling Mean (30 Minute)</c:v>
                  </c:pt>
                  <c:pt idx="1670">
                    <c:v>Rolling Mean (30 Minute)</c:v>
                  </c:pt>
                  <c:pt idx="1671">
                    <c:v>Rolling Mean (30 Minute)</c:v>
                  </c:pt>
                  <c:pt idx="1672">
                    <c:v>Rolling Mean (30 Minute)</c:v>
                  </c:pt>
                  <c:pt idx="1673">
                    <c:v>Rolling Mean (30 Minute)</c:v>
                  </c:pt>
                  <c:pt idx="1674">
                    <c:v>Rolling Mean (30 Minute)</c:v>
                  </c:pt>
                  <c:pt idx="1675">
                    <c:v>Rolling Mean (30 Minute)</c:v>
                  </c:pt>
                  <c:pt idx="1676">
                    <c:v>Rolling Mean (30 Minute)</c:v>
                  </c:pt>
                  <c:pt idx="1677">
                    <c:v>Rolling Mean (30 Minute)</c:v>
                  </c:pt>
                  <c:pt idx="1678">
                    <c:v>Rolling Mean (30 Minute)</c:v>
                  </c:pt>
                  <c:pt idx="1679">
                    <c:v>Rolling Mean (30 Minute)</c:v>
                  </c:pt>
                  <c:pt idx="1680">
                    <c:v>Rolling Mean (30 Minute)</c:v>
                  </c:pt>
                  <c:pt idx="1681">
                    <c:v>Rolling Mean (30 Minute)</c:v>
                  </c:pt>
                  <c:pt idx="1682">
                    <c:v>Rolling Mean (30 Minute)</c:v>
                  </c:pt>
                  <c:pt idx="1683">
                    <c:v>Rolling Mean (30 Minute)</c:v>
                  </c:pt>
                  <c:pt idx="1684">
                    <c:v>Rolling Mean (30 Minute)</c:v>
                  </c:pt>
                  <c:pt idx="1685">
                    <c:v>Rolling Mean (30 Minute)</c:v>
                  </c:pt>
                  <c:pt idx="1686">
                    <c:v>Rolling Mean (30 Minute)</c:v>
                  </c:pt>
                  <c:pt idx="1687">
                    <c:v>Rolling Mean (30 Minute)</c:v>
                  </c:pt>
                  <c:pt idx="1688">
                    <c:v>Rolling Mean (30 Minute)</c:v>
                  </c:pt>
                  <c:pt idx="1689">
                    <c:v>Rolling Mean (30 Minute)</c:v>
                  </c:pt>
                  <c:pt idx="1690">
                    <c:v>Rolling Mean (30 Minute)</c:v>
                  </c:pt>
                  <c:pt idx="1691">
                    <c:v>Rolling Mean (30 Minute)</c:v>
                  </c:pt>
                  <c:pt idx="1692">
                    <c:v>Rolling Mean (30 Minute)</c:v>
                  </c:pt>
                  <c:pt idx="1693">
                    <c:v>Rolling Mean (30 Minute)</c:v>
                  </c:pt>
                  <c:pt idx="1694">
                    <c:v>Rolling Mean (30 Minute)</c:v>
                  </c:pt>
                  <c:pt idx="1695">
                    <c:v>Rolling Mean (30 Minute)</c:v>
                  </c:pt>
                  <c:pt idx="1696">
                    <c:v>Rolling Mean (30 Minute)</c:v>
                  </c:pt>
                  <c:pt idx="1697">
                    <c:v>Rolling Mean (30 Minute)</c:v>
                  </c:pt>
                  <c:pt idx="1698">
                    <c:v>Rolling Mean (30 Minute)</c:v>
                  </c:pt>
                  <c:pt idx="1699">
                    <c:v>Rolling Mean (30 Minute)</c:v>
                  </c:pt>
                  <c:pt idx="1700">
                    <c:v>Rolling Mean (30 Minute)</c:v>
                  </c:pt>
                  <c:pt idx="1701">
                    <c:v>Rolling Mean (30 Minute)</c:v>
                  </c:pt>
                  <c:pt idx="1702">
                    <c:v>Rolling Mean (30 Minute)</c:v>
                  </c:pt>
                  <c:pt idx="1703">
                    <c:v>Rolling Mean (30 Minute)</c:v>
                  </c:pt>
                  <c:pt idx="1704">
                    <c:v>Rolling Mean (30 Minute)</c:v>
                  </c:pt>
                  <c:pt idx="1705">
                    <c:v>Rolling Mean (30 Minute)</c:v>
                  </c:pt>
                  <c:pt idx="1706">
                    <c:v>Rolling Mean (30 Minute)</c:v>
                  </c:pt>
                  <c:pt idx="1707">
                    <c:v>Rolling Mean (30 Minute)</c:v>
                  </c:pt>
                  <c:pt idx="1708">
                    <c:v>Rolling Mean (30 Minute)</c:v>
                  </c:pt>
                  <c:pt idx="1709">
                    <c:v>Rolling Mean (30 Minute)</c:v>
                  </c:pt>
                  <c:pt idx="1710">
                    <c:v>Rolling Mean (30 Minute)</c:v>
                  </c:pt>
                  <c:pt idx="1711">
                    <c:v>Rolling Mean (30 Minute)</c:v>
                  </c:pt>
                  <c:pt idx="1712">
                    <c:v>Rolling Mean (30 Minute)</c:v>
                  </c:pt>
                  <c:pt idx="1713">
                    <c:v>Rolling Mean (30 Minute)</c:v>
                  </c:pt>
                  <c:pt idx="1714">
                    <c:v>Rolling Mean (30 Minute)</c:v>
                  </c:pt>
                  <c:pt idx="1715">
                    <c:v>Rolling Mean (30 Minute)</c:v>
                  </c:pt>
                  <c:pt idx="1716">
                    <c:v>Rolling Mean (30 Minute)</c:v>
                  </c:pt>
                  <c:pt idx="1717">
                    <c:v>Rolling Mean (30 Minute)</c:v>
                  </c:pt>
                  <c:pt idx="1718">
                    <c:v>Rolling Mean (30 Minute)</c:v>
                  </c:pt>
                  <c:pt idx="1719">
                    <c:v>Rolling Mean (30 Minute)</c:v>
                  </c:pt>
                  <c:pt idx="1720">
                    <c:v>Rolling Mean (30 Minute)</c:v>
                  </c:pt>
                  <c:pt idx="1721">
                    <c:v>Rolling Mean (30 Minute)</c:v>
                  </c:pt>
                  <c:pt idx="1722">
                    <c:v>Rolling Mean (30 Minute)</c:v>
                  </c:pt>
                  <c:pt idx="1723">
                    <c:v>Rolling Mean (30 Minute)</c:v>
                  </c:pt>
                  <c:pt idx="1724">
                    <c:v>Rolling Mean (30 Minute)</c:v>
                  </c:pt>
                  <c:pt idx="1725">
                    <c:v>Rolling Mean (30 Minute)</c:v>
                  </c:pt>
                  <c:pt idx="1726">
                    <c:v>Rolling Mean (30 Minute)</c:v>
                  </c:pt>
                  <c:pt idx="1727">
                    <c:v>Rolling Mean (30 Minute)</c:v>
                  </c:pt>
                  <c:pt idx="1728">
                    <c:v>Rolling Mean (30 Minute)</c:v>
                  </c:pt>
                  <c:pt idx="1729">
                    <c:v>Rolling Mean (30 Minute)</c:v>
                  </c:pt>
                  <c:pt idx="1730">
                    <c:v>Rolling Mean (30 Minute)</c:v>
                  </c:pt>
                  <c:pt idx="1731">
                    <c:v>Rolling Mean (30 Minute)</c:v>
                  </c:pt>
                  <c:pt idx="1732">
                    <c:v>Rolling Mean (30 Minute)</c:v>
                  </c:pt>
                  <c:pt idx="1733">
                    <c:v>Rolling Mean (30 Minute)</c:v>
                  </c:pt>
                  <c:pt idx="1734">
                    <c:v>Rolling Mean (30 Minute)</c:v>
                  </c:pt>
                  <c:pt idx="1735">
                    <c:v>Rolling Mean (30 Minute)</c:v>
                  </c:pt>
                  <c:pt idx="1736">
                    <c:v>Rolling Mean (30 Minute)</c:v>
                  </c:pt>
                  <c:pt idx="1737">
                    <c:v>Rolling Mean (30 Minute)</c:v>
                  </c:pt>
                  <c:pt idx="1738">
                    <c:v>Rolling Mean (30 Minute)</c:v>
                  </c:pt>
                  <c:pt idx="1739">
                    <c:v>Rolling Mean (30 Minute)</c:v>
                  </c:pt>
                  <c:pt idx="1740">
                    <c:v>Rolling Mean (30 Minute)</c:v>
                  </c:pt>
                  <c:pt idx="1741">
                    <c:v>Rolling Mean (30 Minute)</c:v>
                  </c:pt>
                  <c:pt idx="1742">
                    <c:v>Rolling Mean (30 Minute)</c:v>
                  </c:pt>
                  <c:pt idx="1743">
                    <c:v>Rolling Mean (30 Minute)</c:v>
                  </c:pt>
                  <c:pt idx="1744">
                    <c:v>Rolling Mean (30 Minute)</c:v>
                  </c:pt>
                  <c:pt idx="1745">
                    <c:v>Rolling Mean (30 Minute)</c:v>
                  </c:pt>
                  <c:pt idx="1746">
                    <c:v>Rolling Mean (30 Minute)</c:v>
                  </c:pt>
                  <c:pt idx="1747">
                    <c:v>Rolling Mean (30 Minute)</c:v>
                  </c:pt>
                  <c:pt idx="1748">
                    <c:v>Rolling Mean (30 Minute)</c:v>
                  </c:pt>
                  <c:pt idx="1749">
                    <c:v>Rolling Mean (30 Minute)</c:v>
                  </c:pt>
                  <c:pt idx="1750">
                    <c:v>Rolling Mean (30 Minute)</c:v>
                  </c:pt>
                  <c:pt idx="1751">
                    <c:v>Rolling Mean (30 Minute)</c:v>
                  </c:pt>
                  <c:pt idx="1752">
                    <c:v>Rolling Mean (30 Minute)</c:v>
                  </c:pt>
                  <c:pt idx="1753">
                    <c:v>Rolling Mean (30 Minute)</c:v>
                  </c:pt>
                  <c:pt idx="1754">
                    <c:v>Rolling Mean (30 Minute)</c:v>
                  </c:pt>
                  <c:pt idx="1755">
                    <c:v>Rolling Mean (30 Minute)</c:v>
                  </c:pt>
                  <c:pt idx="1756">
                    <c:v>Rolling Mean (30 Minute)</c:v>
                  </c:pt>
                  <c:pt idx="1757">
                    <c:v>Rolling Mean (30 Minute)</c:v>
                  </c:pt>
                  <c:pt idx="1758">
                    <c:v>Rolling Mean (30 Minute)</c:v>
                  </c:pt>
                  <c:pt idx="1759">
                    <c:v>Rolling Mean (30 Minute)</c:v>
                  </c:pt>
                  <c:pt idx="1760">
                    <c:v>Rolling Mean (30 Minute)</c:v>
                  </c:pt>
                  <c:pt idx="1761">
                    <c:v>Rolling Mean (30 Minute)</c:v>
                  </c:pt>
                  <c:pt idx="1762">
                    <c:v>Rolling Mean (30 Minute)</c:v>
                  </c:pt>
                  <c:pt idx="1763">
                    <c:v>Rolling Mean (30 Minute)</c:v>
                  </c:pt>
                  <c:pt idx="1764">
                    <c:v>Rolling Mean (30 Minute)</c:v>
                  </c:pt>
                  <c:pt idx="1765">
                    <c:v>Rolling Mean (30 Minute)</c:v>
                  </c:pt>
                  <c:pt idx="1766">
                    <c:v>Rolling Mean (30 Minute)</c:v>
                  </c:pt>
                  <c:pt idx="1767">
                    <c:v>Rolling Mean (30 Minute)</c:v>
                  </c:pt>
                  <c:pt idx="1768">
                    <c:v>Rolling Mean (30 Minute)</c:v>
                  </c:pt>
                  <c:pt idx="1769">
                    <c:v>Rolling Mean (30 Minute)</c:v>
                  </c:pt>
                  <c:pt idx="1770">
                    <c:v>Rolling Mean (30 Minute)</c:v>
                  </c:pt>
                  <c:pt idx="1771">
                    <c:v>Rolling Mean (30 Minute)</c:v>
                  </c:pt>
                  <c:pt idx="1772">
                    <c:v>Rolling Mean (30 Minute)</c:v>
                  </c:pt>
                  <c:pt idx="1773">
                    <c:v>Rolling Mean (30 Minute)</c:v>
                  </c:pt>
                  <c:pt idx="1774">
                    <c:v>Rolling Mean (30 Minute)</c:v>
                  </c:pt>
                  <c:pt idx="1775">
                    <c:v>Rolling Mean (30 Minute)</c:v>
                  </c:pt>
                  <c:pt idx="1776">
                    <c:v>Rolling Mean (30 Minute)</c:v>
                  </c:pt>
                  <c:pt idx="1777">
                    <c:v>Rolling Mean (30 Minute)</c:v>
                  </c:pt>
                  <c:pt idx="1778">
                    <c:v>Rolling Mean (30 Minute)</c:v>
                  </c:pt>
                  <c:pt idx="1779">
                    <c:v>Rolling Mean (30 Minute)</c:v>
                  </c:pt>
                  <c:pt idx="1780">
                    <c:v>Rolling Mean (30 Minute)</c:v>
                  </c:pt>
                  <c:pt idx="1781">
                    <c:v>Rolling Mean (30 Minute)</c:v>
                  </c:pt>
                  <c:pt idx="1782">
                    <c:v>Rolling Mean (30 Minute)</c:v>
                  </c:pt>
                  <c:pt idx="1783">
                    <c:v>Rolling Mean (30 Minute)</c:v>
                  </c:pt>
                  <c:pt idx="1784">
                    <c:v>Rolling Mean (30 Minute)</c:v>
                  </c:pt>
                  <c:pt idx="1785">
                    <c:v>Rolling Mean (30 Minute)</c:v>
                  </c:pt>
                  <c:pt idx="1786">
                    <c:v>Rolling Mean (30 Minute)</c:v>
                  </c:pt>
                  <c:pt idx="1787">
                    <c:v>Rolling Mean (30 Minute)</c:v>
                  </c:pt>
                  <c:pt idx="1788">
                    <c:v>Rolling Mean (30 Minute)</c:v>
                  </c:pt>
                  <c:pt idx="1789">
                    <c:v>Rolling Mean (30 Minute)</c:v>
                  </c:pt>
                  <c:pt idx="1790">
                    <c:v>Rolling Mean (30 Minute)</c:v>
                  </c:pt>
                  <c:pt idx="1791">
                    <c:v>Rolling Mean (30 Minute)</c:v>
                  </c:pt>
                  <c:pt idx="1792">
                    <c:v>Rolling Mean (30 Minute)</c:v>
                  </c:pt>
                  <c:pt idx="1793">
                    <c:v>Rolling Mean (30 Minute)</c:v>
                  </c:pt>
                  <c:pt idx="1794">
                    <c:v>Rolling Mean (30 Minute)</c:v>
                  </c:pt>
                  <c:pt idx="1795">
                    <c:v>Rolling Mean (30 Minute)</c:v>
                  </c:pt>
                  <c:pt idx="1796">
                    <c:v>Rolling Mean (30 Minute)</c:v>
                  </c:pt>
                  <c:pt idx="1797">
                    <c:v>Rolling Mean (30 Minute)</c:v>
                  </c:pt>
                  <c:pt idx="1798">
                    <c:v>Rolling Mean (30 Minute)</c:v>
                  </c:pt>
                  <c:pt idx="1799">
                    <c:v>Rolling Mean (30 Minute)</c:v>
                  </c:pt>
                  <c:pt idx="1800">
                    <c:v>Rolling Mean (30 Minute)</c:v>
                  </c:pt>
                  <c:pt idx="1801">
                    <c:v>Rolling Mean (30 Minute)</c:v>
                  </c:pt>
                  <c:pt idx="1802">
                    <c:v>Rolling Mean (30 Minute)</c:v>
                  </c:pt>
                  <c:pt idx="1803">
                    <c:v>Rolling Mean (30 Minute)</c:v>
                  </c:pt>
                  <c:pt idx="1804">
                    <c:v>Rolling Mean (30 Minute)</c:v>
                  </c:pt>
                  <c:pt idx="1805">
                    <c:v>Rolling Mean (30 Minute)</c:v>
                  </c:pt>
                  <c:pt idx="1806">
                    <c:v>Rolling Mean (30 Minute)</c:v>
                  </c:pt>
                  <c:pt idx="1807">
                    <c:v>Rolling Mean (30 Minute)</c:v>
                  </c:pt>
                  <c:pt idx="1808">
                    <c:v>Rolling Mean (30 Minute)</c:v>
                  </c:pt>
                  <c:pt idx="1809">
                    <c:v>Rolling Mean (30 Minute)</c:v>
                  </c:pt>
                  <c:pt idx="1810">
                    <c:v>Rolling Mean (30 Minute)</c:v>
                  </c:pt>
                  <c:pt idx="1811">
                    <c:v>Rolling Mean (30 Minute)</c:v>
                  </c:pt>
                  <c:pt idx="1812">
                    <c:v>Rolling Mean (30 Minute)</c:v>
                  </c:pt>
                  <c:pt idx="1813">
                    <c:v>Rolling Mean (30 Minute)</c:v>
                  </c:pt>
                  <c:pt idx="1814">
                    <c:v>Rolling Mean (30 Minute)</c:v>
                  </c:pt>
                  <c:pt idx="1815">
                    <c:v>Rolling Mean (30 Minute)</c:v>
                  </c:pt>
                  <c:pt idx="1816">
                    <c:v>Rolling Mean (30 Minute)</c:v>
                  </c:pt>
                  <c:pt idx="1817">
                    <c:v>Rolling Mean (30 Minute)</c:v>
                  </c:pt>
                  <c:pt idx="1818">
                    <c:v>Rolling Mean (30 Minute)</c:v>
                  </c:pt>
                  <c:pt idx="1819">
                    <c:v>Rolling Mean (30 Minute)</c:v>
                  </c:pt>
                  <c:pt idx="1820">
                    <c:v>Rolling Mean (30 Minute)</c:v>
                  </c:pt>
                  <c:pt idx="1821">
                    <c:v>Rolling Mean (30 Minute)</c:v>
                  </c:pt>
                  <c:pt idx="1822">
                    <c:v>Rolling Mean (30 Minute)</c:v>
                  </c:pt>
                  <c:pt idx="1823">
                    <c:v>Rolling Mean (30 Minute)</c:v>
                  </c:pt>
                  <c:pt idx="1824">
                    <c:v>Rolling Mean (30 Minute)</c:v>
                  </c:pt>
                  <c:pt idx="1825">
                    <c:v>Rolling Mean (30 Minute)</c:v>
                  </c:pt>
                  <c:pt idx="1826">
                    <c:v>Rolling Mean (30 Minute)</c:v>
                  </c:pt>
                  <c:pt idx="1827">
                    <c:v>Rolling Mean (30 Minute)</c:v>
                  </c:pt>
                  <c:pt idx="1828">
                    <c:v>Rolling Mean (30 Minute)</c:v>
                  </c:pt>
                  <c:pt idx="1829">
                    <c:v>Rolling Mean (30 Minute)</c:v>
                  </c:pt>
                  <c:pt idx="1830">
                    <c:v>Rolling Mean (30 Minute)</c:v>
                  </c:pt>
                  <c:pt idx="1831">
                    <c:v>Rolling Mean (30 Minute)</c:v>
                  </c:pt>
                  <c:pt idx="1832">
                    <c:v>Rolling Mean (30 Minute)</c:v>
                  </c:pt>
                  <c:pt idx="1833">
                    <c:v>Rolling Mean (30 Minute)</c:v>
                  </c:pt>
                  <c:pt idx="1834">
                    <c:v>Rolling Mean (30 Minute)</c:v>
                  </c:pt>
                  <c:pt idx="1835">
                    <c:v>Rolling Mean (30 Minute)</c:v>
                  </c:pt>
                  <c:pt idx="1836">
                    <c:v>Rolling Mean (30 Minute)</c:v>
                  </c:pt>
                  <c:pt idx="1837">
                    <c:v>Rolling Mean (30 Minute)</c:v>
                  </c:pt>
                  <c:pt idx="1838">
                    <c:v>Rolling Mean (30 Minute)</c:v>
                  </c:pt>
                  <c:pt idx="1839">
                    <c:v>Rolling Mean (30 Minute)</c:v>
                  </c:pt>
                  <c:pt idx="1840">
                    <c:v>Rolling Mean (30 Minute)</c:v>
                  </c:pt>
                  <c:pt idx="1841">
                    <c:v>Rolling Mean (30 Minute)</c:v>
                  </c:pt>
                  <c:pt idx="1842">
                    <c:v>Rolling Mean (30 Minute)</c:v>
                  </c:pt>
                  <c:pt idx="1843">
                    <c:v>Rolling Mean (30 Minute)</c:v>
                  </c:pt>
                  <c:pt idx="1844">
                    <c:v>Rolling Mean (30 Minute)</c:v>
                  </c:pt>
                  <c:pt idx="1845">
                    <c:v>Rolling Mean (30 Minute)</c:v>
                  </c:pt>
                  <c:pt idx="1846">
                    <c:v>Rolling Mean (30 Minute)</c:v>
                  </c:pt>
                  <c:pt idx="1847">
                    <c:v>Rolling Mean (30 Minute)</c:v>
                  </c:pt>
                  <c:pt idx="1848">
                    <c:v>Rolling Mean (30 Minute)</c:v>
                  </c:pt>
                  <c:pt idx="1849">
                    <c:v>Rolling Mean (30 Minute)</c:v>
                  </c:pt>
                  <c:pt idx="1850">
                    <c:v>Rolling Mean (30 Minute)</c:v>
                  </c:pt>
                  <c:pt idx="1851">
                    <c:v>Rolling Mean (30 Minute)</c:v>
                  </c:pt>
                  <c:pt idx="1852">
                    <c:v>Rolling Mean (30 Minute)</c:v>
                  </c:pt>
                  <c:pt idx="1853">
                    <c:v>Rolling Mean (30 Minute)</c:v>
                  </c:pt>
                  <c:pt idx="1854">
                    <c:v>Rolling Mean (30 Minute)</c:v>
                  </c:pt>
                  <c:pt idx="1855">
                    <c:v>Rolling Mean (30 Minute)</c:v>
                  </c:pt>
                  <c:pt idx="1856">
                    <c:v>Rolling Mean (30 Minute)</c:v>
                  </c:pt>
                  <c:pt idx="1857">
                    <c:v>Rolling Mean (30 Minute)</c:v>
                  </c:pt>
                  <c:pt idx="1858">
                    <c:v>Rolling Mean (30 Minute)</c:v>
                  </c:pt>
                  <c:pt idx="1859">
                    <c:v>Rolling Mean (30 Minute)</c:v>
                  </c:pt>
                  <c:pt idx="1860">
                    <c:v>Rolling Mean (30 Minute)</c:v>
                  </c:pt>
                  <c:pt idx="1861">
                    <c:v>Rolling Mean (30 Minute)</c:v>
                  </c:pt>
                  <c:pt idx="1862">
                    <c:v>Rolling Mean (30 Minute)</c:v>
                  </c:pt>
                  <c:pt idx="1863">
                    <c:v>Rolling Mean (30 Minute)</c:v>
                  </c:pt>
                  <c:pt idx="1864">
                    <c:v>Rolling Mean (30 Minute)</c:v>
                  </c:pt>
                  <c:pt idx="1865">
                    <c:v>Rolling Mean (30 Minute)</c:v>
                  </c:pt>
                  <c:pt idx="1866">
                    <c:v>Rolling Mean (30 Minute)</c:v>
                  </c:pt>
                  <c:pt idx="1867">
                    <c:v>Rolling Mean (30 Minute)</c:v>
                  </c:pt>
                  <c:pt idx="1868">
                    <c:v>Rolling Mean (30 Minute)</c:v>
                  </c:pt>
                  <c:pt idx="1869">
                    <c:v>Rolling Mean (30 Minute)</c:v>
                  </c:pt>
                  <c:pt idx="1870">
                    <c:v>Rolling Mean (30 Minute)</c:v>
                  </c:pt>
                  <c:pt idx="1871">
                    <c:v>Rolling Mean (30 Minute)</c:v>
                  </c:pt>
                  <c:pt idx="1872">
                    <c:v>Rolling Mean (30 Minute)</c:v>
                  </c:pt>
                  <c:pt idx="1873">
                    <c:v>Rolling Mean (30 Minute)</c:v>
                  </c:pt>
                  <c:pt idx="1874">
                    <c:v>Rolling Mean (30 Minute)</c:v>
                  </c:pt>
                  <c:pt idx="1875">
                    <c:v>Rolling Mean (30 Minute)</c:v>
                  </c:pt>
                  <c:pt idx="1876">
                    <c:v>Rolling Mean (30 Minute)</c:v>
                  </c:pt>
                  <c:pt idx="1877">
                    <c:v>Rolling Mean (30 Minute)</c:v>
                  </c:pt>
                  <c:pt idx="1878">
                    <c:v>Rolling Mean (30 Minute)</c:v>
                  </c:pt>
                  <c:pt idx="1879">
                    <c:v>Rolling Mean (30 Minute)</c:v>
                  </c:pt>
                  <c:pt idx="1880">
                    <c:v>Rolling Mean (30 Minute)</c:v>
                  </c:pt>
                  <c:pt idx="1881">
                    <c:v>Rolling Mean (30 Minute)</c:v>
                  </c:pt>
                  <c:pt idx="1882">
                    <c:v>Rolling Mean (30 Minute)</c:v>
                  </c:pt>
                  <c:pt idx="1883">
                    <c:v>Rolling Mean (30 Minute)</c:v>
                  </c:pt>
                  <c:pt idx="1884">
                    <c:v>Rolling Mean (30 Minute)</c:v>
                  </c:pt>
                  <c:pt idx="1885">
                    <c:v>Rolling Mean (30 Minute)</c:v>
                  </c:pt>
                  <c:pt idx="1886">
                    <c:v>Rolling Mean (30 Minute)</c:v>
                  </c:pt>
                  <c:pt idx="1887">
                    <c:v>Rolling Mean (30 Minute)</c:v>
                  </c:pt>
                  <c:pt idx="1888">
                    <c:v>Rolling Mean (30 Minute)</c:v>
                  </c:pt>
                  <c:pt idx="1889">
                    <c:v>Rolling Mean (30 Minute)</c:v>
                  </c:pt>
                  <c:pt idx="1890">
                    <c:v>Rolling Mean (30 Minute)</c:v>
                  </c:pt>
                  <c:pt idx="1891">
                    <c:v>Rolling Mean (30 Minute)</c:v>
                  </c:pt>
                  <c:pt idx="1892">
                    <c:v>Rolling Mean (30 Minute)</c:v>
                  </c:pt>
                  <c:pt idx="1893">
                    <c:v>Rolling Mean (30 Minute)</c:v>
                  </c:pt>
                  <c:pt idx="1894">
                    <c:v>Rolling Mean (30 Minute)</c:v>
                  </c:pt>
                  <c:pt idx="1895">
                    <c:v>Rolling Mean (30 Minute)</c:v>
                  </c:pt>
                  <c:pt idx="1896">
                    <c:v>Rolling Mean (30 Minute)</c:v>
                  </c:pt>
                  <c:pt idx="1897">
                    <c:v>Rolling Mean (30 Minute)</c:v>
                  </c:pt>
                  <c:pt idx="1898">
                    <c:v>Rolling Mean (30 Minute)</c:v>
                  </c:pt>
                  <c:pt idx="1899">
                    <c:v>Rolling Mean (30 Minute)</c:v>
                  </c:pt>
                  <c:pt idx="1900">
                    <c:v>Rolling Mean (30 Minute)</c:v>
                  </c:pt>
                  <c:pt idx="1901">
                    <c:v>Rolling Mean (30 Minute)</c:v>
                  </c:pt>
                  <c:pt idx="1902">
                    <c:v>Rolling Mean (30 Minute)</c:v>
                  </c:pt>
                  <c:pt idx="1903">
                    <c:v>Rolling Mean (30 Minute)</c:v>
                  </c:pt>
                  <c:pt idx="1904">
                    <c:v>Rolling Mean (30 Minute)</c:v>
                  </c:pt>
                  <c:pt idx="1905">
                    <c:v>Rolling Mean (30 Minute)</c:v>
                  </c:pt>
                  <c:pt idx="1906">
                    <c:v>Rolling Mean (30 Minute)</c:v>
                  </c:pt>
                  <c:pt idx="1907">
                    <c:v>Rolling Mean (30 Minute)</c:v>
                  </c:pt>
                  <c:pt idx="1908">
                    <c:v>Rolling Mean (30 Minute)</c:v>
                  </c:pt>
                  <c:pt idx="1909">
                    <c:v>Rolling Mean (30 Minute)</c:v>
                  </c:pt>
                  <c:pt idx="1910">
                    <c:v>Rolling Mean (30 Minute)</c:v>
                  </c:pt>
                  <c:pt idx="1911">
                    <c:v>Rolling Mean (30 Minute)</c:v>
                  </c:pt>
                  <c:pt idx="1912">
                    <c:v>Rolling Mean (30 Minute)</c:v>
                  </c:pt>
                  <c:pt idx="1913">
                    <c:v>Rolling Mean (30 Minute)</c:v>
                  </c:pt>
                  <c:pt idx="1914">
                    <c:v>Rolling Mean (30 Minute)</c:v>
                  </c:pt>
                  <c:pt idx="1915">
                    <c:v>Rolling Mean (30 Minute)</c:v>
                  </c:pt>
                  <c:pt idx="1916">
                    <c:v>Rolling Mean (30 Minute)</c:v>
                  </c:pt>
                  <c:pt idx="1917">
                    <c:v>Rolling Mean (30 Minute)</c:v>
                  </c:pt>
                  <c:pt idx="1918">
                    <c:v>Rolling Mean (30 Minute)</c:v>
                  </c:pt>
                  <c:pt idx="1919">
                    <c:v>Rolling Mean (30 Minute)</c:v>
                  </c:pt>
                  <c:pt idx="1920">
                    <c:v>Rolling Mean (30 Minute)</c:v>
                  </c:pt>
                  <c:pt idx="1921">
                    <c:v>Rolling Mean (30 Minute)</c:v>
                  </c:pt>
                  <c:pt idx="1922">
                    <c:v>Rolling Mean (30 Minute)</c:v>
                  </c:pt>
                  <c:pt idx="1923">
                    <c:v>Rolling Mean (30 Minute)</c:v>
                  </c:pt>
                  <c:pt idx="1924">
                    <c:v>Rolling Mean (30 Minute)</c:v>
                  </c:pt>
                  <c:pt idx="1925">
                    <c:v>Rolling Mean (30 Minute)</c:v>
                  </c:pt>
                  <c:pt idx="1926">
                    <c:v>Rolling Mean (30 Minute)</c:v>
                  </c:pt>
                  <c:pt idx="1927">
                    <c:v>Rolling Mean (30 Minute)</c:v>
                  </c:pt>
                  <c:pt idx="1928">
                    <c:v>Rolling Mean (30 Minute)</c:v>
                  </c:pt>
                  <c:pt idx="1929">
                    <c:v>Rolling Mean (30 Minute)</c:v>
                  </c:pt>
                  <c:pt idx="1930">
                    <c:v>Rolling Mean (30 Minute)</c:v>
                  </c:pt>
                  <c:pt idx="1931">
                    <c:v>Rolling Mean (30 Minute)</c:v>
                  </c:pt>
                  <c:pt idx="1932">
                    <c:v>Rolling Mean (30 Minute)</c:v>
                  </c:pt>
                  <c:pt idx="1933">
                    <c:v>Rolling Mean (30 Minute)</c:v>
                  </c:pt>
                  <c:pt idx="1934">
                    <c:v>Rolling Mean (30 Minute)</c:v>
                  </c:pt>
                  <c:pt idx="1935">
                    <c:v>Rolling Mean (30 Minute)</c:v>
                  </c:pt>
                  <c:pt idx="1936">
                    <c:v>Rolling Mean (30 Minute)</c:v>
                  </c:pt>
                  <c:pt idx="1937">
                    <c:v>Rolling Mean (30 Minute)</c:v>
                  </c:pt>
                  <c:pt idx="1938">
                    <c:v>Rolling Mean (30 Minute)</c:v>
                  </c:pt>
                  <c:pt idx="1939">
                    <c:v>Rolling Mean (30 Minute)</c:v>
                  </c:pt>
                  <c:pt idx="1940">
                    <c:v>Rolling Mean (30 Minute)</c:v>
                  </c:pt>
                  <c:pt idx="1941">
                    <c:v>Rolling Mean (30 Minute)</c:v>
                  </c:pt>
                  <c:pt idx="1942">
                    <c:v>Rolling Mean (30 Minute)</c:v>
                  </c:pt>
                  <c:pt idx="1943">
                    <c:v>Rolling Mean (30 Minute)</c:v>
                  </c:pt>
                  <c:pt idx="1944">
                    <c:v>Rolling Mean (30 Minute)</c:v>
                  </c:pt>
                  <c:pt idx="1945">
                    <c:v>Rolling Mean (30 Minute)</c:v>
                  </c:pt>
                  <c:pt idx="1946">
                    <c:v>Rolling Mean (30 Minute)</c:v>
                  </c:pt>
                  <c:pt idx="1947">
                    <c:v>Rolling Mean (30 Minute)</c:v>
                  </c:pt>
                  <c:pt idx="1948">
                    <c:v>Rolling Mean (30 Minute)</c:v>
                  </c:pt>
                  <c:pt idx="1949">
                    <c:v>Rolling Mean (30 Minute)</c:v>
                  </c:pt>
                  <c:pt idx="1950">
                    <c:v>Rolling Mean (30 Minute)</c:v>
                  </c:pt>
                  <c:pt idx="1951">
                    <c:v>Rolling Mean (30 Minute)</c:v>
                  </c:pt>
                  <c:pt idx="1952">
                    <c:v>Rolling Mean (30 Minute)</c:v>
                  </c:pt>
                  <c:pt idx="1953">
                    <c:v>Rolling Mean (30 Minute)</c:v>
                  </c:pt>
                  <c:pt idx="1954">
                    <c:v>Rolling Mean (30 Minute)</c:v>
                  </c:pt>
                  <c:pt idx="1955">
                    <c:v>Rolling Mean (30 Minute)</c:v>
                  </c:pt>
                  <c:pt idx="1956">
                    <c:v>Rolling Mean (30 Minute)</c:v>
                  </c:pt>
                  <c:pt idx="1957">
                    <c:v>Rolling Mean (30 Minute)</c:v>
                  </c:pt>
                  <c:pt idx="1958">
                    <c:v>Rolling Mean (30 Minute)</c:v>
                  </c:pt>
                  <c:pt idx="1959">
                    <c:v>Rolling Mean (30 Minute)</c:v>
                  </c:pt>
                  <c:pt idx="1960">
                    <c:v>Rolling Mean (30 Minute)</c:v>
                  </c:pt>
                  <c:pt idx="1961">
                    <c:v>Rolling Mean (30 Minute)</c:v>
                  </c:pt>
                  <c:pt idx="1962">
                    <c:v>Rolling Mean (30 Minute)</c:v>
                  </c:pt>
                  <c:pt idx="1963">
                    <c:v>Rolling Mean (30 Minute)</c:v>
                  </c:pt>
                  <c:pt idx="1964">
                    <c:v>Rolling Mean (30 Minute)</c:v>
                  </c:pt>
                  <c:pt idx="1965">
                    <c:v>Rolling Mean (30 Minute)</c:v>
                  </c:pt>
                  <c:pt idx="1966">
                    <c:v>Rolling Mean (30 Minute)</c:v>
                  </c:pt>
                  <c:pt idx="1967">
                    <c:v>Rolling Mean (30 Minute)</c:v>
                  </c:pt>
                  <c:pt idx="1968">
                    <c:v>Rolling Mean (30 Minute)</c:v>
                  </c:pt>
                  <c:pt idx="1969">
                    <c:v>Rolling Mean (30 Minute)</c:v>
                  </c:pt>
                  <c:pt idx="1970">
                    <c:v>Rolling Mean (30 Minute)</c:v>
                  </c:pt>
                  <c:pt idx="1971">
                    <c:v>Rolling Mean (30 Minute)</c:v>
                  </c:pt>
                  <c:pt idx="1972">
                    <c:v>Rolling Mean (30 Minute)</c:v>
                  </c:pt>
                  <c:pt idx="1973">
                    <c:v>Rolling Mean (30 Minute)</c:v>
                  </c:pt>
                  <c:pt idx="1974">
                    <c:v>Rolling Mean (30 Minute)</c:v>
                  </c:pt>
                  <c:pt idx="1975">
                    <c:v>Rolling Mean (30 Minute)</c:v>
                  </c:pt>
                  <c:pt idx="1976">
                    <c:v>Rolling Mean (30 Minute)</c:v>
                  </c:pt>
                  <c:pt idx="1977">
                    <c:v>Rolling Mean (30 Minute)</c:v>
                  </c:pt>
                  <c:pt idx="1978">
                    <c:v>Rolling Mean (30 Minute)</c:v>
                  </c:pt>
                  <c:pt idx="1979">
                    <c:v>Rolling Mean (30 Minute)</c:v>
                  </c:pt>
                  <c:pt idx="1980">
                    <c:v>Rolling Mean (30 Minute)</c:v>
                  </c:pt>
                  <c:pt idx="1981">
                    <c:v>Rolling Mean (30 Minute)</c:v>
                  </c:pt>
                  <c:pt idx="1982">
                    <c:v>Rolling Mean (30 Minute)</c:v>
                  </c:pt>
                  <c:pt idx="1983">
                    <c:v>Rolling Mean (30 Minute)</c:v>
                  </c:pt>
                  <c:pt idx="1984">
                    <c:v>Rolling Mean (30 Minute)</c:v>
                  </c:pt>
                  <c:pt idx="1985">
                    <c:v>Rolling Mean (30 Minute)</c:v>
                  </c:pt>
                  <c:pt idx="1986">
                    <c:v>Rolling Mean (30 Minute)</c:v>
                  </c:pt>
                  <c:pt idx="1987">
                    <c:v>Rolling Mean (30 Minute)</c:v>
                  </c:pt>
                  <c:pt idx="1988">
                    <c:v>Rolling Mean (30 Minute)</c:v>
                  </c:pt>
                  <c:pt idx="1989">
                    <c:v>Rolling Mean (30 Minute)</c:v>
                  </c:pt>
                  <c:pt idx="1990">
                    <c:v>Rolling Mean (30 Minute)</c:v>
                  </c:pt>
                  <c:pt idx="1991">
                    <c:v>Rolling Mean (30 Minute)</c:v>
                  </c:pt>
                  <c:pt idx="1992">
                    <c:v>Rolling Mean (30 Minute)</c:v>
                  </c:pt>
                  <c:pt idx="1993">
                    <c:v>Rolling Mean (30 Minute)</c:v>
                  </c:pt>
                  <c:pt idx="1994">
                    <c:v>Rolling Mean (30 Minute)</c:v>
                  </c:pt>
                  <c:pt idx="1995">
                    <c:v>Rolling Mean (30 Minute)</c:v>
                  </c:pt>
                  <c:pt idx="1996">
                    <c:v>Rolling Mean (30 Minute)</c:v>
                  </c:pt>
                  <c:pt idx="1997">
                    <c:v>Rolling Mean (30 Minute)</c:v>
                  </c:pt>
                  <c:pt idx="1998">
                    <c:v>Rolling Mean (30 Minute)</c:v>
                  </c:pt>
                  <c:pt idx="1999">
                    <c:v>Rolling Mean (30 Minute)</c:v>
                  </c:pt>
                  <c:pt idx="2000">
                    <c:v>Rolling Mean (30 Minute)</c:v>
                  </c:pt>
                  <c:pt idx="2001">
                    <c:v>Rolling Mean (30 Minute)</c:v>
                  </c:pt>
                  <c:pt idx="2002">
                    <c:v>Rolling Mean (30 Minute)</c:v>
                  </c:pt>
                  <c:pt idx="2003">
                    <c:v>Rolling Mean (30 Minute)</c:v>
                  </c:pt>
                  <c:pt idx="2004">
                    <c:v>Rolling Mean (30 Minute)</c:v>
                  </c:pt>
                  <c:pt idx="2005">
                    <c:v>Rolling Mean (30 Minute)</c:v>
                  </c:pt>
                  <c:pt idx="2006">
                    <c:v>Rolling Mean (30 Minute)</c:v>
                  </c:pt>
                  <c:pt idx="2007">
                    <c:v>Rolling Mean (30 Minute)</c:v>
                  </c:pt>
                  <c:pt idx="2008">
                    <c:v>Rolling Mean (30 Minute)</c:v>
                  </c:pt>
                  <c:pt idx="2009">
                    <c:v>Rolling Mean (30 Minute)</c:v>
                  </c:pt>
                  <c:pt idx="2010">
                    <c:v>Rolling Mean (30 Minute)</c:v>
                  </c:pt>
                  <c:pt idx="2011">
                    <c:v>Rolling Mean (30 Minute)</c:v>
                  </c:pt>
                  <c:pt idx="2012">
                    <c:v>Rolling Mean (30 Minute)</c:v>
                  </c:pt>
                  <c:pt idx="2013">
                    <c:v>Rolling Mean (30 Minute)</c:v>
                  </c:pt>
                  <c:pt idx="2014">
                    <c:v>Rolling Mean (30 Minute)</c:v>
                  </c:pt>
                  <c:pt idx="2015">
                    <c:v>Rolling Mean (30 Minute)</c:v>
                  </c:pt>
                  <c:pt idx="2016">
                    <c:v>Rolling Mean (30 Minute)</c:v>
                  </c:pt>
                  <c:pt idx="2017">
                    <c:v>Rolling Mean (30 Minute)</c:v>
                  </c:pt>
                  <c:pt idx="2018">
                    <c:v>Rolling Mean (30 Minute)</c:v>
                  </c:pt>
                  <c:pt idx="2019">
                    <c:v>Rolling Mean (30 Minute)</c:v>
                  </c:pt>
                  <c:pt idx="2020">
                    <c:v>Rolling Mean (30 Minute)</c:v>
                  </c:pt>
                  <c:pt idx="2021">
                    <c:v>Rolling Mean (30 Minute)</c:v>
                  </c:pt>
                  <c:pt idx="2022">
                    <c:v>Rolling Mean (30 Minute)</c:v>
                  </c:pt>
                  <c:pt idx="2023">
                    <c:v>Rolling Mean (30 Minute)</c:v>
                  </c:pt>
                  <c:pt idx="2024">
                    <c:v>Rolling Mean (30 Minute)</c:v>
                  </c:pt>
                  <c:pt idx="2025">
                    <c:v>Rolling Mean (30 Minute)</c:v>
                  </c:pt>
                  <c:pt idx="2026">
                    <c:v>Rolling Mean (30 Minute)</c:v>
                  </c:pt>
                  <c:pt idx="2027">
                    <c:v>Rolling Mean (30 Minute)</c:v>
                  </c:pt>
                  <c:pt idx="2028">
                    <c:v>Rolling Mean (30 Minute)</c:v>
                  </c:pt>
                  <c:pt idx="2029">
                    <c:v>Rolling Mean (30 Minute)</c:v>
                  </c:pt>
                  <c:pt idx="2030">
                    <c:v>Rolling Mean (30 Minute)</c:v>
                  </c:pt>
                  <c:pt idx="2031">
                    <c:v>Rolling Mean (30 Minute)</c:v>
                  </c:pt>
                  <c:pt idx="2032">
                    <c:v>Rolling Mean (30 Minute)</c:v>
                  </c:pt>
                  <c:pt idx="2033">
                    <c:v>Rolling Mean (30 Minute)</c:v>
                  </c:pt>
                  <c:pt idx="2034">
                    <c:v>Rolling Mean (30 Minute)</c:v>
                  </c:pt>
                  <c:pt idx="2035">
                    <c:v>Rolling Mean (30 Minute)</c:v>
                  </c:pt>
                  <c:pt idx="2036">
                    <c:v>Rolling Mean (30 Minute)</c:v>
                  </c:pt>
                  <c:pt idx="2037">
                    <c:v>Rolling Mean (30 Minute)</c:v>
                  </c:pt>
                  <c:pt idx="2038">
                    <c:v>Rolling Mean (30 Minute)</c:v>
                  </c:pt>
                  <c:pt idx="2039">
                    <c:v>Rolling Mean (30 Minute)</c:v>
                  </c:pt>
                  <c:pt idx="2040">
                    <c:v>Rolling Mean (30 Minute)</c:v>
                  </c:pt>
                  <c:pt idx="2041">
                    <c:v>Rolling Mean (30 Minute)</c:v>
                  </c:pt>
                  <c:pt idx="2042">
                    <c:v>Rolling Mean (30 Minute)</c:v>
                  </c:pt>
                  <c:pt idx="2043">
                    <c:v>Rolling Mean (30 Minute)</c:v>
                  </c:pt>
                  <c:pt idx="2044">
                    <c:v>Rolling Mean (30 Minute)</c:v>
                  </c:pt>
                  <c:pt idx="2045">
                    <c:v>Rolling Mean (30 Minute)</c:v>
                  </c:pt>
                  <c:pt idx="2046">
                    <c:v>Rolling Mean (30 Minute)</c:v>
                  </c:pt>
                  <c:pt idx="2047">
                    <c:v>Rolling Mean (30 Minute)</c:v>
                  </c:pt>
                  <c:pt idx="2048">
                    <c:v>Rolling Mean (30 Minute)</c:v>
                  </c:pt>
                  <c:pt idx="2049">
                    <c:v>Rolling Mean (30 Minute)</c:v>
                  </c:pt>
                  <c:pt idx="2050">
                    <c:v>Rolling Mean (30 Minute)</c:v>
                  </c:pt>
                  <c:pt idx="2051">
                    <c:v>Rolling Mean (30 Minute)</c:v>
                  </c:pt>
                  <c:pt idx="2052">
                    <c:v>Rolling Mean (30 Minute)</c:v>
                  </c:pt>
                  <c:pt idx="2053">
                    <c:v>Rolling Mean (30 Minute)</c:v>
                  </c:pt>
                  <c:pt idx="2054">
                    <c:v>Rolling Mean (30 Minute)</c:v>
                  </c:pt>
                  <c:pt idx="2055">
                    <c:v>Rolling Mean (30 Minute)</c:v>
                  </c:pt>
                  <c:pt idx="2056">
                    <c:v>Rolling Mean (30 Minute)</c:v>
                  </c:pt>
                  <c:pt idx="2057">
                    <c:v>Rolling Mean (30 Minute)</c:v>
                  </c:pt>
                  <c:pt idx="2058">
                    <c:v>Rolling Mean (30 Minute)</c:v>
                  </c:pt>
                  <c:pt idx="2059">
                    <c:v>Rolling Mean (30 Minute)</c:v>
                  </c:pt>
                  <c:pt idx="2060">
                    <c:v>Rolling Mean (30 Minute)</c:v>
                  </c:pt>
                  <c:pt idx="2061">
                    <c:v>Rolling Mean (30 Minute)</c:v>
                  </c:pt>
                  <c:pt idx="2062">
                    <c:v>Rolling Mean (30 Minute)</c:v>
                  </c:pt>
                  <c:pt idx="2063">
                    <c:v>Rolling Mean (30 Minute)</c:v>
                  </c:pt>
                  <c:pt idx="2064">
                    <c:v>Rolling Mean (30 Minute)</c:v>
                  </c:pt>
                  <c:pt idx="2065">
                    <c:v>Rolling Mean (30 Minute)</c:v>
                  </c:pt>
                  <c:pt idx="2066">
                    <c:v>Rolling Mean (30 Minute)</c:v>
                  </c:pt>
                  <c:pt idx="2067">
                    <c:v>Rolling Mean (30 Minute)</c:v>
                  </c:pt>
                  <c:pt idx="2068">
                    <c:v>Rolling Mean (30 Minute)</c:v>
                  </c:pt>
                  <c:pt idx="2069">
                    <c:v>Rolling Mean (30 Minute)</c:v>
                  </c:pt>
                  <c:pt idx="2070">
                    <c:v>Rolling Mean (30 Minute)</c:v>
                  </c:pt>
                  <c:pt idx="2071">
                    <c:v>Rolling Mean (30 Minute)</c:v>
                  </c:pt>
                  <c:pt idx="2072">
                    <c:v>Rolling Mean (30 Minute)</c:v>
                  </c:pt>
                  <c:pt idx="2073">
                    <c:v>Rolling Mean (30 Minute)</c:v>
                  </c:pt>
                  <c:pt idx="2074">
                    <c:v>Rolling Mean (30 Minute)</c:v>
                  </c:pt>
                  <c:pt idx="2075">
                    <c:v>Rolling Mean (30 Minute)</c:v>
                  </c:pt>
                  <c:pt idx="2076">
                    <c:v>Rolling Mean (30 Minute)</c:v>
                  </c:pt>
                  <c:pt idx="2077">
                    <c:v>Rolling Mean (30 Minute)</c:v>
                  </c:pt>
                  <c:pt idx="2078">
                    <c:v>Rolling Mean (30 Minute)</c:v>
                  </c:pt>
                  <c:pt idx="2079">
                    <c:v>Rolling Mean (30 Minute)</c:v>
                  </c:pt>
                  <c:pt idx="2080">
                    <c:v>Rolling Mean (30 Minute)</c:v>
                  </c:pt>
                  <c:pt idx="2081">
                    <c:v>Rolling Mean (30 Minute)</c:v>
                  </c:pt>
                  <c:pt idx="2082">
                    <c:v>Rolling Mean (30 Minute)</c:v>
                  </c:pt>
                  <c:pt idx="2083">
                    <c:v>Rolling Mean (30 Minute)</c:v>
                  </c:pt>
                  <c:pt idx="2084">
                    <c:v>Rolling Mean (30 Minute)</c:v>
                  </c:pt>
                  <c:pt idx="2085">
                    <c:v>Rolling Mean (30 Minute)</c:v>
                  </c:pt>
                  <c:pt idx="2086">
                    <c:v>Rolling Mean (30 Minute)</c:v>
                  </c:pt>
                  <c:pt idx="2087">
                    <c:v>Rolling Mean (30 Minute)</c:v>
                  </c:pt>
                  <c:pt idx="2088">
                    <c:v>Rolling Mean (30 Minute)</c:v>
                  </c:pt>
                  <c:pt idx="2089">
                    <c:v>Rolling Mean (30 Minute)</c:v>
                  </c:pt>
                  <c:pt idx="2090">
                    <c:v>Rolling Mean (30 Minute)</c:v>
                  </c:pt>
                  <c:pt idx="2091">
                    <c:v>Rolling Mean (30 Minute)</c:v>
                  </c:pt>
                  <c:pt idx="2092">
                    <c:v>Rolling Mean (30 Minute)</c:v>
                  </c:pt>
                  <c:pt idx="2093">
                    <c:v>Rolling Mean (30 Minute)</c:v>
                  </c:pt>
                  <c:pt idx="2094">
                    <c:v>Rolling Mean (30 Minute)</c:v>
                  </c:pt>
                  <c:pt idx="2095">
                    <c:v>Rolling Mean (30 Minute)</c:v>
                  </c:pt>
                  <c:pt idx="2096">
                    <c:v>Rolling Mean (30 Minute)</c:v>
                  </c:pt>
                  <c:pt idx="2097">
                    <c:v>Rolling Mean (30 Minute)</c:v>
                  </c:pt>
                  <c:pt idx="2098">
                    <c:v>Rolling Mean (30 Minute)</c:v>
                  </c:pt>
                  <c:pt idx="2099">
                    <c:v>Rolling Mean (30 Minute)</c:v>
                  </c:pt>
                  <c:pt idx="2100">
                    <c:v>Rolling Mean (30 Minute)</c:v>
                  </c:pt>
                  <c:pt idx="2101">
                    <c:v>Rolling Mean (30 Minute)</c:v>
                  </c:pt>
                  <c:pt idx="2102">
                    <c:v>Rolling Mean (30 Minute)</c:v>
                  </c:pt>
                  <c:pt idx="2103">
                    <c:v>Rolling Mean (30 Minute)</c:v>
                  </c:pt>
                  <c:pt idx="2104">
                    <c:v>Rolling Mean (30 Minute)</c:v>
                  </c:pt>
                  <c:pt idx="2105">
                    <c:v>Rolling Mean (30 Minute)</c:v>
                  </c:pt>
                  <c:pt idx="2106">
                    <c:v>Rolling Mean (30 Minute)</c:v>
                  </c:pt>
                  <c:pt idx="2107">
                    <c:v>Rolling Mean (30 Minute)</c:v>
                  </c:pt>
                  <c:pt idx="2108">
                    <c:v>Rolling Mean (30 Minute)</c:v>
                  </c:pt>
                  <c:pt idx="2109">
                    <c:v>Rolling Mean (30 Minute)</c:v>
                  </c:pt>
                  <c:pt idx="2110">
                    <c:v>Rolling Mean (30 Minute)</c:v>
                  </c:pt>
                  <c:pt idx="2111">
                    <c:v>Rolling Mean (30 Minute)</c:v>
                  </c:pt>
                  <c:pt idx="2112">
                    <c:v>Rolling Mean (30 Minute)</c:v>
                  </c:pt>
                  <c:pt idx="2113">
                    <c:v>Rolling Mean (30 Minute)</c:v>
                  </c:pt>
                  <c:pt idx="2114">
                    <c:v>Rolling Mean (30 Minute)</c:v>
                  </c:pt>
                  <c:pt idx="2115">
                    <c:v>Rolling Mean (30 Minute)</c:v>
                  </c:pt>
                  <c:pt idx="2116">
                    <c:v>Rolling Mean (30 Minute)</c:v>
                  </c:pt>
                  <c:pt idx="2117">
                    <c:v>Rolling Mean (30 Minute)</c:v>
                  </c:pt>
                  <c:pt idx="2118">
                    <c:v>Rolling Mean (30 Minute)</c:v>
                  </c:pt>
                  <c:pt idx="2119">
                    <c:v>Rolling Mean (30 Minute)</c:v>
                  </c:pt>
                  <c:pt idx="2120">
                    <c:v>Rolling Mean (30 Minute)</c:v>
                  </c:pt>
                  <c:pt idx="2121">
                    <c:v>Rolling Mean (30 Minute)</c:v>
                  </c:pt>
                  <c:pt idx="2122">
                    <c:v>Rolling Mean (30 Minute)</c:v>
                  </c:pt>
                  <c:pt idx="2123">
                    <c:v>Rolling Mean (30 Minute)</c:v>
                  </c:pt>
                  <c:pt idx="2124">
                    <c:v>Rolling Mean (30 Minute)</c:v>
                  </c:pt>
                  <c:pt idx="2125">
                    <c:v>Rolling Mean (30 Minute)</c:v>
                  </c:pt>
                  <c:pt idx="2126">
                    <c:v>Rolling Mean (30 Minute)</c:v>
                  </c:pt>
                  <c:pt idx="2127">
                    <c:v>Rolling Mean (30 Minute)</c:v>
                  </c:pt>
                  <c:pt idx="2128">
                    <c:v>Rolling Mean (30 Minute)</c:v>
                  </c:pt>
                  <c:pt idx="2129">
                    <c:v>Rolling Mean (30 Minute)</c:v>
                  </c:pt>
                  <c:pt idx="2130">
                    <c:v>Rolling Mean (30 Minute)</c:v>
                  </c:pt>
                  <c:pt idx="2131">
                    <c:v>Rolling Mean (30 Minute)</c:v>
                  </c:pt>
                  <c:pt idx="2132">
                    <c:v>Rolling Mean (30 Minute)</c:v>
                  </c:pt>
                  <c:pt idx="2133">
                    <c:v>Rolling Mean (30 Minute)</c:v>
                  </c:pt>
                  <c:pt idx="2134">
                    <c:v>Rolling Mean (30 Minute)</c:v>
                  </c:pt>
                  <c:pt idx="2135">
                    <c:v>Rolling Mean (30 Minute)</c:v>
                  </c:pt>
                  <c:pt idx="2136">
                    <c:v>Rolling Mean (30 Minute)</c:v>
                  </c:pt>
                  <c:pt idx="2137">
                    <c:v>Rolling Mean (30 Minute)</c:v>
                  </c:pt>
                  <c:pt idx="2138">
                    <c:v>Rolling Mean (30 Minute)</c:v>
                  </c:pt>
                  <c:pt idx="2139">
                    <c:v>Rolling Mean (30 Minute)</c:v>
                  </c:pt>
                  <c:pt idx="2140">
                    <c:v>Rolling Mean (30 Minute)</c:v>
                  </c:pt>
                  <c:pt idx="2141">
                    <c:v>Rolling Mean (30 Minute)</c:v>
                  </c:pt>
                  <c:pt idx="2142">
                    <c:v>Rolling Mean (30 Minute)</c:v>
                  </c:pt>
                  <c:pt idx="2143">
                    <c:v>Rolling Mean (30 Minute)</c:v>
                  </c:pt>
                  <c:pt idx="2144">
                    <c:v>Rolling Mean (30 Minute)</c:v>
                  </c:pt>
                  <c:pt idx="2145">
                    <c:v>Rolling Mean (30 Minute)</c:v>
                  </c:pt>
                  <c:pt idx="2146">
                    <c:v>Rolling Mean (30 Minute)</c:v>
                  </c:pt>
                  <c:pt idx="2147">
                    <c:v>Rolling Mean (30 Minute)</c:v>
                  </c:pt>
                  <c:pt idx="2148">
                    <c:v>Rolling Mean (30 Minute)</c:v>
                  </c:pt>
                  <c:pt idx="2149">
                    <c:v>Rolling Mean (30 Minute)</c:v>
                  </c:pt>
                  <c:pt idx="2150">
                    <c:v>Rolling Mean (30 Minute)</c:v>
                  </c:pt>
                  <c:pt idx="2151">
                    <c:v>Rolling Mean (30 Minute)</c:v>
                  </c:pt>
                  <c:pt idx="2152">
                    <c:v>Rolling Mean (30 Minute)</c:v>
                  </c:pt>
                  <c:pt idx="2153">
                    <c:v>Rolling Mean (30 Minute)</c:v>
                  </c:pt>
                  <c:pt idx="2154">
                    <c:v>Rolling Mean (30 Minute)</c:v>
                  </c:pt>
                  <c:pt idx="2155">
                    <c:v>Rolling Mean (30 Minute)</c:v>
                  </c:pt>
                  <c:pt idx="2156">
                    <c:v>Rolling Mean (30 Minute)</c:v>
                  </c:pt>
                  <c:pt idx="2157">
                    <c:v>Rolling Mean (30 Minute)</c:v>
                  </c:pt>
                  <c:pt idx="2158">
                    <c:v>Rolling Mean (30 Minute)</c:v>
                  </c:pt>
                  <c:pt idx="2159">
                    <c:v>Rolling Mean (30 Minute)</c:v>
                  </c:pt>
                  <c:pt idx="2160">
                    <c:v>Rolling Mean (30 Minute)</c:v>
                  </c:pt>
                  <c:pt idx="2161">
                    <c:v>Rolling Mean (30 Minute)</c:v>
                  </c:pt>
                  <c:pt idx="2162">
                    <c:v>Rolling Mean (30 Minute)</c:v>
                  </c:pt>
                  <c:pt idx="2163">
                    <c:v>Rolling Mean (30 Minute)</c:v>
                  </c:pt>
                  <c:pt idx="2164">
                    <c:v>Rolling Mean (30 Minute)</c:v>
                  </c:pt>
                  <c:pt idx="2165">
                    <c:v>Rolling Mean (30 Minute)</c:v>
                  </c:pt>
                  <c:pt idx="2166">
                    <c:v>Rolling Mean (30 Minute)</c:v>
                  </c:pt>
                  <c:pt idx="2167">
                    <c:v>Rolling Mean (30 Minute)</c:v>
                  </c:pt>
                  <c:pt idx="2168">
                    <c:v>Rolling Mean (30 Minute)</c:v>
                  </c:pt>
                  <c:pt idx="2169">
                    <c:v>Rolling Mean (30 Minute)</c:v>
                  </c:pt>
                  <c:pt idx="2170">
                    <c:v>Rolling Mean (30 Minute)</c:v>
                  </c:pt>
                  <c:pt idx="2171">
                    <c:v>Rolling Mean (30 Minute)</c:v>
                  </c:pt>
                  <c:pt idx="2172">
                    <c:v>Rolling Mean (30 Minute)</c:v>
                  </c:pt>
                  <c:pt idx="2173">
                    <c:v>Rolling Mean (30 Minute)</c:v>
                  </c:pt>
                  <c:pt idx="2174">
                    <c:v>Rolling Mean (30 Minute)</c:v>
                  </c:pt>
                  <c:pt idx="2175">
                    <c:v>Rolling Mean (30 Minute)</c:v>
                  </c:pt>
                  <c:pt idx="2176">
                    <c:v>Rolling Mean (30 Minute)</c:v>
                  </c:pt>
                  <c:pt idx="2177">
                    <c:v>Rolling Mean (30 Minute)</c:v>
                  </c:pt>
                  <c:pt idx="2178">
                    <c:v>Rolling Mean (30 Minute)</c:v>
                  </c:pt>
                  <c:pt idx="2179">
                    <c:v>Rolling Mean (30 Minute)</c:v>
                  </c:pt>
                  <c:pt idx="2180">
                    <c:v>Rolling Mean (30 Minute)</c:v>
                  </c:pt>
                  <c:pt idx="2181">
                    <c:v>Rolling Mean (30 Minute)</c:v>
                  </c:pt>
                  <c:pt idx="2182">
                    <c:v>Rolling Mean (30 Minute)</c:v>
                  </c:pt>
                  <c:pt idx="2183">
                    <c:v>Rolling Mean (30 Minute)</c:v>
                  </c:pt>
                  <c:pt idx="2184">
                    <c:v>Rolling Mean (30 Minute)</c:v>
                  </c:pt>
                  <c:pt idx="2185">
                    <c:v>Rolling Mean (30 Minute)</c:v>
                  </c:pt>
                  <c:pt idx="2186">
                    <c:v>Rolling Mean (30 Minute)</c:v>
                  </c:pt>
                  <c:pt idx="2187">
                    <c:v>Rolling Mean (30 Minute)</c:v>
                  </c:pt>
                  <c:pt idx="2188">
                    <c:v>Rolling Mean (30 Minute)</c:v>
                  </c:pt>
                  <c:pt idx="2189">
                    <c:v>Rolling Mean (30 Minute)</c:v>
                  </c:pt>
                  <c:pt idx="2190">
                    <c:v>Rolling Mean (30 Minute)</c:v>
                  </c:pt>
                  <c:pt idx="2191">
                    <c:v>Rolling Mean (30 Minute)</c:v>
                  </c:pt>
                  <c:pt idx="2192">
                    <c:v>Rolling Mean (30 Minute)</c:v>
                  </c:pt>
                  <c:pt idx="2193">
                    <c:v>Rolling Mean (30 Minute)</c:v>
                  </c:pt>
                  <c:pt idx="2194">
                    <c:v>Rolling Mean (30 Minute)</c:v>
                  </c:pt>
                  <c:pt idx="2195">
                    <c:v>Rolling Mean (30 Minute)</c:v>
                  </c:pt>
                  <c:pt idx="2196">
                    <c:v>Rolling Mean (30 Minute)</c:v>
                  </c:pt>
                  <c:pt idx="2197">
                    <c:v>Rolling Mean (30 Minute)</c:v>
                  </c:pt>
                  <c:pt idx="2198">
                    <c:v>Rolling Mean (30 Minute)</c:v>
                  </c:pt>
                  <c:pt idx="2199">
                    <c:v>Rolling Mean (30 Minute)</c:v>
                  </c:pt>
                  <c:pt idx="2200">
                    <c:v>Rolling Mean (30 Minute)</c:v>
                  </c:pt>
                  <c:pt idx="2201">
                    <c:v>Rolling Mean (30 Minute)</c:v>
                  </c:pt>
                  <c:pt idx="2202">
                    <c:v>Rolling Mean (30 Minute)</c:v>
                  </c:pt>
                  <c:pt idx="2203">
                    <c:v>Rolling Mean (30 Minute)</c:v>
                  </c:pt>
                  <c:pt idx="2204">
                    <c:v>Rolling Mean (30 Minute)</c:v>
                  </c:pt>
                  <c:pt idx="2205">
                    <c:v>Rolling Mean (30 Minute)</c:v>
                  </c:pt>
                  <c:pt idx="2206">
                    <c:v>Rolling Mean (30 Minute)</c:v>
                  </c:pt>
                  <c:pt idx="2207">
                    <c:v>Rolling Mean (30 Minute)</c:v>
                  </c:pt>
                  <c:pt idx="2208">
                    <c:v>Rolling Mean (30 Minute)</c:v>
                  </c:pt>
                  <c:pt idx="2209">
                    <c:v>Rolling Mean (30 Minute)</c:v>
                  </c:pt>
                  <c:pt idx="2210">
                    <c:v>Rolling Mean (30 Minute)</c:v>
                  </c:pt>
                  <c:pt idx="2211">
                    <c:v>Rolling Mean (30 Minute)</c:v>
                  </c:pt>
                  <c:pt idx="2212">
                    <c:v>Rolling Mean (30 Minute)</c:v>
                  </c:pt>
                  <c:pt idx="2213">
                    <c:v>Rolling Mean (30 Minute)</c:v>
                  </c:pt>
                  <c:pt idx="2214">
                    <c:v>Rolling Mean (30 Minute)</c:v>
                  </c:pt>
                  <c:pt idx="2215">
                    <c:v>Rolling Mean (30 Minute)</c:v>
                  </c:pt>
                  <c:pt idx="2216">
                    <c:v>Rolling Mean (30 Minute)</c:v>
                  </c:pt>
                  <c:pt idx="2217">
                    <c:v>Rolling Mean (30 Minute)</c:v>
                  </c:pt>
                  <c:pt idx="2218">
                    <c:v>Rolling Mean (30 Minute)</c:v>
                  </c:pt>
                  <c:pt idx="2219">
                    <c:v>Rolling Mean (30 Minute)</c:v>
                  </c:pt>
                  <c:pt idx="2220">
                    <c:v>Rolling Mean (30 Minute)</c:v>
                  </c:pt>
                  <c:pt idx="2221">
                    <c:v>Rolling Mean (30 Minute)</c:v>
                  </c:pt>
                  <c:pt idx="2222">
                    <c:v>Rolling Mean (30 Minute)</c:v>
                  </c:pt>
                  <c:pt idx="2223">
                    <c:v>Rolling Mean (30 Minute)</c:v>
                  </c:pt>
                  <c:pt idx="2224">
                    <c:v>Rolling Mean (30 Minute)</c:v>
                  </c:pt>
                  <c:pt idx="2225">
                    <c:v>Rolling Mean (30 Minute)</c:v>
                  </c:pt>
                  <c:pt idx="2226">
                    <c:v>Rolling Mean (30 Minute)</c:v>
                  </c:pt>
                  <c:pt idx="2227">
                    <c:v>Rolling Mean (30 Minute)</c:v>
                  </c:pt>
                  <c:pt idx="2228">
                    <c:v>Rolling Mean (30 Minute)</c:v>
                  </c:pt>
                  <c:pt idx="2229">
                    <c:v>Rolling Mean (30 Minute)</c:v>
                  </c:pt>
                  <c:pt idx="2230">
                    <c:v>Rolling Mean (30 Minute)</c:v>
                  </c:pt>
                  <c:pt idx="2231">
                    <c:v>Rolling Mean (30 Minute)</c:v>
                  </c:pt>
                  <c:pt idx="2232">
                    <c:v>Rolling Mean (30 Minute)</c:v>
                  </c:pt>
                  <c:pt idx="2233">
                    <c:v>Rolling Mean (30 Minute)</c:v>
                  </c:pt>
                  <c:pt idx="2234">
                    <c:v>Rolling Mean (30 Minute)</c:v>
                  </c:pt>
                  <c:pt idx="2235">
                    <c:v>Rolling Mean (30 Minute)</c:v>
                  </c:pt>
                  <c:pt idx="2236">
                    <c:v>Rolling Mean (30 Minute)</c:v>
                  </c:pt>
                  <c:pt idx="2237">
                    <c:v>Rolling Mean (30 Minute)</c:v>
                  </c:pt>
                  <c:pt idx="2238">
                    <c:v>Rolling Mean (30 Minute)</c:v>
                  </c:pt>
                  <c:pt idx="2239">
                    <c:v>Rolling Mean (30 Minute)</c:v>
                  </c:pt>
                  <c:pt idx="2240">
                    <c:v>Rolling Mean (30 Minute)</c:v>
                  </c:pt>
                  <c:pt idx="2241">
                    <c:v>Rolling Mean (30 Minute)</c:v>
                  </c:pt>
                  <c:pt idx="2242">
                    <c:v>Rolling Mean (30 Minute)</c:v>
                  </c:pt>
                  <c:pt idx="2243">
                    <c:v>Rolling Mean (30 Minute)</c:v>
                  </c:pt>
                  <c:pt idx="2244">
                    <c:v>Rolling Mean (30 Minute)</c:v>
                  </c:pt>
                  <c:pt idx="2245">
                    <c:v>Rolling Mean (30 Minute)</c:v>
                  </c:pt>
                  <c:pt idx="2246">
                    <c:v>Rolling Mean (30 Minute)</c:v>
                  </c:pt>
                  <c:pt idx="2247">
                    <c:v>Rolling Mean (30 Minute)</c:v>
                  </c:pt>
                  <c:pt idx="2248">
                    <c:v>Rolling Mean (30 Minute)</c:v>
                  </c:pt>
                  <c:pt idx="2249">
                    <c:v>Rolling Mean (30 Minute)</c:v>
                  </c:pt>
                  <c:pt idx="2250">
                    <c:v>Rolling Mean (30 Minute)</c:v>
                  </c:pt>
                  <c:pt idx="2251">
                    <c:v>Rolling Mean (30 Minute)</c:v>
                  </c:pt>
                  <c:pt idx="2252">
                    <c:v>Rolling Mean (30 Minute)</c:v>
                  </c:pt>
                  <c:pt idx="2253">
                    <c:v>Rolling Mean (30 Minute)</c:v>
                  </c:pt>
                  <c:pt idx="2254">
                    <c:v>Rolling Mean (30 Minute)</c:v>
                  </c:pt>
                  <c:pt idx="2255">
                    <c:v>Rolling Mean (30 Minute)</c:v>
                  </c:pt>
                  <c:pt idx="2256">
                    <c:v>Rolling Mean (30 Minute)</c:v>
                  </c:pt>
                  <c:pt idx="2257">
                    <c:v>Rolling Mean (30 Minute)</c:v>
                  </c:pt>
                  <c:pt idx="2258">
                    <c:v>Rolling Mean (30 Minute)</c:v>
                  </c:pt>
                  <c:pt idx="2259">
                    <c:v>Rolling Mean (30 Minute)</c:v>
                  </c:pt>
                  <c:pt idx="2260">
                    <c:v>Rolling Mean (30 Minute)</c:v>
                  </c:pt>
                  <c:pt idx="2261">
                    <c:v>Rolling Mean (30 Minute)</c:v>
                  </c:pt>
                  <c:pt idx="2262">
                    <c:v>Rolling Mean (30 Minute)</c:v>
                  </c:pt>
                  <c:pt idx="2263">
                    <c:v>Rolling Mean (30 Minute)</c:v>
                  </c:pt>
                  <c:pt idx="2264">
                    <c:v>Rolling Mean (30 Minute)</c:v>
                  </c:pt>
                  <c:pt idx="2265">
                    <c:v>Rolling Mean (30 Minute)</c:v>
                  </c:pt>
                  <c:pt idx="2266">
                    <c:v>Rolling Mean (30 Minute)</c:v>
                  </c:pt>
                  <c:pt idx="2267">
                    <c:v>Rolling Mean (30 Minute)</c:v>
                  </c:pt>
                  <c:pt idx="2268">
                    <c:v>Rolling Mean (30 Minute)</c:v>
                  </c:pt>
                  <c:pt idx="2269">
                    <c:v>Rolling Mean (30 Minute)</c:v>
                  </c:pt>
                  <c:pt idx="2270">
                    <c:v>Rolling Mean (30 Minute)</c:v>
                  </c:pt>
                  <c:pt idx="2271">
                    <c:v>Rolling Mean (30 Minute)</c:v>
                  </c:pt>
                  <c:pt idx="2272">
                    <c:v>Rolling Mean (30 Minute)</c:v>
                  </c:pt>
                  <c:pt idx="2273">
                    <c:v>Rolling Mean (30 Minute)</c:v>
                  </c:pt>
                  <c:pt idx="2274">
                    <c:v>Rolling Mean (30 Minute)</c:v>
                  </c:pt>
                  <c:pt idx="2275">
                    <c:v>Rolling Mean (30 Minute)</c:v>
                  </c:pt>
                  <c:pt idx="2276">
                    <c:v>Rolling Mean (30 Minute)</c:v>
                  </c:pt>
                  <c:pt idx="2277">
                    <c:v>Rolling Mean (30 Minute)</c:v>
                  </c:pt>
                  <c:pt idx="2278">
                    <c:v>Rolling Mean (30 Minute)</c:v>
                  </c:pt>
                  <c:pt idx="2279">
                    <c:v>Rolling Mean (30 Minute)</c:v>
                  </c:pt>
                  <c:pt idx="2280">
                    <c:v>Rolling Mean (30 Minute)</c:v>
                  </c:pt>
                  <c:pt idx="2281">
                    <c:v>Rolling Mean (30 Minute)</c:v>
                  </c:pt>
                  <c:pt idx="2282">
                    <c:v>Rolling Mean (30 Minute)</c:v>
                  </c:pt>
                  <c:pt idx="2283">
                    <c:v>Rolling Mean (30 Minute)</c:v>
                  </c:pt>
                  <c:pt idx="2284">
                    <c:v>Rolling Mean (30 Minute)</c:v>
                  </c:pt>
                  <c:pt idx="2285">
                    <c:v>Rolling Mean (30 Minute)</c:v>
                  </c:pt>
                  <c:pt idx="2286">
                    <c:v>Rolling Mean (30 Minute)</c:v>
                  </c:pt>
                  <c:pt idx="2287">
                    <c:v>Rolling Mean (30 Minute)</c:v>
                  </c:pt>
                  <c:pt idx="2288">
                    <c:v>Rolling Mean (30 Minute)</c:v>
                  </c:pt>
                  <c:pt idx="2289">
                    <c:v>Rolling Mean (30 Minute)</c:v>
                  </c:pt>
                  <c:pt idx="2290">
                    <c:v>Rolling Mean (30 Minute)</c:v>
                  </c:pt>
                  <c:pt idx="2291">
                    <c:v>Rolling Mean (30 Minute)</c:v>
                  </c:pt>
                  <c:pt idx="2292">
                    <c:v>Rolling Mean (30 Minute)</c:v>
                  </c:pt>
                  <c:pt idx="2293">
                    <c:v>Rolling Mean (30 Minute)</c:v>
                  </c:pt>
                  <c:pt idx="2294">
                    <c:v>Rolling Mean (30 Minute)</c:v>
                  </c:pt>
                  <c:pt idx="2295">
                    <c:v>Rolling Mean (30 Minute)</c:v>
                  </c:pt>
                  <c:pt idx="2296">
                    <c:v>Rolling Mean (30 Minute)</c:v>
                  </c:pt>
                  <c:pt idx="2297">
                    <c:v>Rolling Mean (30 Minute)</c:v>
                  </c:pt>
                  <c:pt idx="2298">
                    <c:v>Rolling Mean (30 Minute)</c:v>
                  </c:pt>
                  <c:pt idx="2299">
                    <c:v>Rolling Mean (30 Minute)</c:v>
                  </c:pt>
                  <c:pt idx="2300">
                    <c:v>Rolling Mean (30 Minute)</c:v>
                  </c:pt>
                  <c:pt idx="2301">
                    <c:v>Rolling Mean (30 Minute)</c:v>
                  </c:pt>
                  <c:pt idx="2302">
                    <c:v>Rolling Mean (30 Minute)</c:v>
                  </c:pt>
                  <c:pt idx="2303">
                    <c:v>Rolling Mean (30 Minute)</c:v>
                  </c:pt>
                  <c:pt idx="2304">
                    <c:v>Rolling Mean (30 Minute)</c:v>
                  </c:pt>
                  <c:pt idx="2305">
                    <c:v>Rolling Mean (30 Minute)</c:v>
                  </c:pt>
                  <c:pt idx="2306">
                    <c:v>Rolling Mean (30 Minute)</c:v>
                  </c:pt>
                  <c:pt idx="2307">
                    <c:v>Rolling Mean (30 Minute)</c:v>
                  </c:pt>
                  <c:pt idx="2308">
                    <c:v>Rolling Mean (30 Minute)</c:v>
                  </c:pt>
                  <c:pt idx="2309">
                    <c:v>Rolling Mean (30 Minute)</c:v>
                  </c:pt>
                  <c:pt idx="2310">
                    <c:v>Rolling Mean (30 Minute)</c:v>
                  </c:pt>
                  <c:pt idx="2311">
                    <c:v>Rolling Mean (30 Minute)</c:v>
                  </c:pt>
                  <c:pt idx="2312">
                    <c:v>Rolling Mean (30 Minute)</c:v>
                  </c:pt>
                  <c:pt idx="2313">
                    <c:v>Rolling Mean (30 Minute)</c:v>
                  </c:pt>
                  <c:pt idx="2314">
                    <c:v>Rolling Mean (30 Minute)</c:v>
                  </c:pt>
                  <c:pt idx="2315">
                    <c:v>Rolling Mean (30 Minute)</c:v>
                  </c:pt>
                  <c:pt idx="2316">
                    <c:v>Rolling Mean (30 Minute)</c:v>
                  </c:pt>
                  <c:pt idx="2317">
                    <c:v>Rolling Mean (30 Minute)</c:v>
                  </c:pt>
                  <c:pt idx="2318">
                    <c:v>Rolling Mean (30 Minute)</c:v>
                  </c:pt>
                  <c:pt idx="2319">
                    <c:v>Rolling Mean (30 Minute)</c:v>
                  </c:pt>
                  <c:pt idx="2320">
                    <c:v>Rolling Mean (30 Minute)</c:v>
                  </c:pt>
                  <c:pt idx="2321">
                    <c:v>Rolling Mean (30 Minute)</c:v>
                  </c:pt>
                  <c:pt idx="2322">
                    <c:v>Rolling Mean (30 Minute)</c:v>
                  </c:pt>
                  <c:pt idx="2323">
                    <c:v>Rolling Mean (30 Minute)</c:v>
                  </c:pt>
                  <c:pt idx="2324">
                    <c:v>Rolling Mean (30 Minute)</c:v>
                  </c:pt>
                  <c:pt idx="2325">
                    <c:v>Rolling Mean (30 Minute)</c:v>
                  </c:pt>
                  <c:pt idx="2326">
                    <c:v>Rolling Mean (30 Minute)</c:v>
                  </c:pt>
                  <c:pt idx="2327">
                    <c:v>Rolling Mean (30 Minute)</c:v>
                  </c:pt>
                  <c:pt idx="2328">
                    <c:v>Rolling Mean (30 Minute)</c:v>
                  </c:pt>
                  <c:pt idx="2329">
                    <c:v>Rolling Mean (30 Minute)</c:v>
                  </c:pt>
                  <c:pt idx="2330">
                    <c:v>Rolling Mean (30 Minute)</c:v>
                  </c:pt>
                  <c:pt idx="2331">
                    <c:v>Rolling Mean (30 Minute)</c:v>
                  </c:pt>
                  <c:pt idx="2332">
                    <c:v>Rolling Mean (30 Minute)</c:v>
                  </c:pt>
                  <c:pt idx="2333">
                    <c:v>Rolling Mean (30 Minute)</c:v>
                  </c:pt>
                  <c:pt idx="2334">
                    <c:v>Rolling Mean (30 Minute)</c:v>
                  </c:pt>
                  <c:pt idx="2335">
                    <c:v>Rolling Mean (30 Minute)</c:v>
                  </c:pt>
                  <c:pt idx="2336">
                    <c:v>Rolling Mean (30 Minute)</c:v>
                  </c:pt>
                  <c:pt idx="2337">
                    <c:v>Rolling Mean (30 Minute)</c:v>
                  </c:pt>
                  <c:pt idx="2338">
                    <c:v>Rolling Mean (30 Minute)</c:v>
                  </c:pt>
                  <c:pt idx="2339">
                    <c:v>Rolling Mean (30 Minute)</c:v>
                  </c:pt>
                  <c:pt idx="2340">
                    <c:v>Rolling Mean (30 Minute)</c:v>
                  </c:pt>
                  <c:pt idx="2341">
                    <c:v>Rolling Mean (30 Minute)</c:v>
                  </c:pt>
                  <c:pt idx="2342">
                    <c:v>Rolling Mean (30 Minute)</c:v>
                  </c:pt>
                  <c:pt idx="2343">
                    <c:v>Rolling Mean (30 Minute)</c:v>
                  </c:pt>
                  <c:pt idx="2344">
                    <c:v>Rolling Mean (30 Minute)</c:v>
                  </c:pt>
                  <c:pt idx="2345">
                    <c:v>Rolling Mean (30 Minute)</c:v>
                  </c:pt>
                  <c:pt idx="2346">
                    <c:v>Rolling Mean (30 Minute)</c:v>
                  </c:pt>
                  <c:pt idx="2347">
                    <c:v>Rolling Mean (30 Minute)</c:v>
                  </c:pt>
                  <c:pt idx="2348">
                    <c:v>Rolling Mean (30 Minute)</c:v>
                  </c:pt>
                  <c:pt idx="2349">
                    <c:v>Rolling Mean (30 Minute)</c:v>
                  </c:pt>
                  <c:pt idx="2350">
                    <c:v>Rolling Mean (30 Minute)</c:v>
                  </c:pt>
                  <c:pt idx="2351">
                    <c:v>Rolling Mean (30 Minute)</c:v>
                  </c:pt>
                  <c:pt idx="2352">
                    <c:v>Rolling Mean (30 Minute)</c:v>
                  </c:pt>
                  <c:pt idx="2353">
                    <c:v>Rolling Mean (30 Minute)</c:v>
                  </c:pt>
                  <c:pt idx="2354">
                    <c:v>Rolling Mean (30 Minute)</c:v>
                  </c:pt>
                  <c:pt idx="2355">
                    <c:v>Rolling Mean (30 Minute)</c:v>
                  </c:pt>
                  <c:pt idx="2356">
                    <c:v>Rolling Mean (30 Minute)</c:v>
                  </c:pt>
                  <c:pt idx="2357">
                    <c:v>Rolling Mean (30 Minute)</c:v>
                  </c:pt>
                  <c:pt idx="2358">
                    <c:v>Rolling Mean (30 Minute)</c:v>
                  </c:pt>
                  <c:pt idx="2359">
                    <c:v>Rolling Mean (30 Minute)</c:v>
                  </c:pt>
                  <c:pt idx="2360">
                    <c:v>Rolling Mean (30 Minute)</c:v>
                  </c:pt>
                  <c:pt idx="2361">
                    <c:v>Rolling Mean (30 Minute)</c:v>
                  </c:pt>
                  <c:pt idx="2362">
                    <c:v>Rolling Mean (30 Minute)</c:v>
                  </c:pt>
                  <c:pt idx="2363">
                    <c:v>Rolling Mean (30 Minute)</c:v>
                  </c:pt>
                  <c:pt idx="2364">
                    <c:v>Rolling Mean (30 Minute)</c:v>
                  </c:pt>
                  <c:pt idx="2365">
                    <c:v>Rolling Mean (30 Minute)</c:v>
                  </c:pt>
                  <c:pt idx="2366">
                    <c:v>Rolling Mean (30 Minute)</c:v>
                  </c:pt>
                  <c:pt idx="2367">
                    <c:v>Rolling Mean (30 Minute)</c:v>
                  </c:pt>
                  <c:pt idx="2368">
                    <c:v>Rolling Mean (30 Minute)</c:v>
                  </c:pt>
                  <c:pt idx="2369">
                    <c:v>Rolling Mean (30 Minute)</c:v>
                  </c:pt>
                  <c:pt idx="2370">
                    <c:v>Rolling Mean (30 Minute)</c:v>
                  </c:pt>
                  <c:pt idx="2371">
                    <c:v>Rolling Mean (30 Minute)</c:v>
                  </c:pt>
                  <c:pt idx="2372">
                    <c:v>Rolling Mean (30 Minute)</c:v>
                  </c:pt>
                  <c:pt idx="2373">
                    <c:v>Rolling Mean (30 Minute)</c:v>
                  </c:pt>
                  <c:pt idx="2374">
                    <c:v>Rolling Mean (30 Minute)</c:v>
                  </c:pt>
                  <c:pt idx="2375">
                    <c:v>Rolling Mean (30 Minute)</c:v>
                  </c:pt>
                  <c:pt idx="2376">
                    <c:v>Rolling Mean (30 Minute)</c:v>
                  </c:pt>
                  <c:pt idx="2377">
                    <c:v>Rolling Mean (30 Minute)</c:v>
                  </c:pt>
                  <c:pt idx="2378">
                    <c:v>Rolling Mean (30 Minute)</c:v>
                  </c:pt>
                  <c:pt idx="2379">
                    <c:v>Rolling Mean (30 Minute)</c:v>
                  </c:pt>
                  <c:pt idx="2380">
                    <c:v>Rolling Mean (30 Minute)</c:v>
                  </c:pt>
                  <c:pt idx="2381">
                    <c:v>Rolling Mean (30 Minute)</c:v>
                  </c:pt>
                  <c:pt idx="2382">
                    <c:v>Rolling Mean (30 Minute)</c:v>
                  </c:pt>
                  <c:pt idx="2383">
                    <c:v>Rolling Mean (30 Minute)</c:v>
                  </c:pt>
                  <c:pt idx="2384">
                    <c:v>Rolling Mean (30 Minute)</c:v>
                  </c:pt>
                  <c:pt idx="2385">
                    <c:v>Rolling Mean (30 Minute)</c:v>
                  </c:pt>
                  <c:pt idx="2386">
                    <c:v>Rolling Mean (30 Minute)</c:v>
                  </c:pt>
                  <c:pt idx="2387">
                    <c:v>Rolling Mean (30 Minute)</c:v>
                  </c:pt>
                  <c:pt idx="2388">
                    <c:v>Rolling Mean (30 Minute)</c:v>
                  </c:pt>
                  <c:pt idx="2389">
                    <c:v>Rolling Mean (30 Minute)</c:v>
                  </c:pt>
                  <c:pt idx="2390">
                    <c:v>Rolling Mean (30 Minute)</c:v>
                  </c:pt>
                  <c:pt idx="2391">
                    <c:v>Rolling Mean (30 Minute)</c:v>
                  </c:pt>
                  <c:pt idx="2392">
                    <c:v>Rolling Mean (30 Minute)</c:v>
                  </c:pt>
                  <c:pt idx="2393">
                    <c:v>Rolling Mean (30 Minute)</c:v>
                  </c:pt>
                  <c:pt idx="2394">
                    <c:v>Rolling Mean (30 Minute)</c:v>
                  </c:pt>
                  <c:pt idx="2395">
                    <c:v>Rolling Mean (30 Minute)</c:v>
                  </c:pt>
                  <c:pt idx="2396">
                    <c:v>Rolling Mean (30 Minute)</c:v>
                  </c:pt>
                  <c:pt idx="2397">
                    <c:v>Rolling Mean (30 Minute)</c:v>
                  </c:pt>
                  <c:pt idx="2398">
                    <c:v>Rolling Mean (30 Minute)</c:v>
                  </c:pt>
                  <c:pt idx="2399">
                    <c:v>Rolling Mean (30 Minute)</c:v>
                  </c:pt>
                  <c:pt idx="2400">
                    <c:v>Rolling Mean (30 Minute)</c:v>
                  </c:pt>
                  <c:pt idx="2401">
                    <c:v>Rolling Mean (30 Minute)</c:v>
                  </c:pt>
                  <c:pt idx="2402">
                    <c:v>Rolling Mean (30 Minute)</c:v>
                  </c:pt>
                  <c:pt idx="2403">
                    <c:v>Rolling Mean (30 Minute)</c:v>
                  </c:pt>
                  <c:pt idx="2404">
                    <c:v>Rolling Mean (30 Minute)</c:v>
                  </c:pt>
                  <c:pt idx="2405">
                    <c:v>Rolling Mean (30 Minute)</c:v>
                  </c:pt>
                  <c:pt idx="2406">
                    <c:v>Rolling Mean (30 Minute)</c:v>
                  </c:pt>
                  <c:pt idx="2407">
                    <c:v>Rolling Mean (30 Minute)</c:v>
                  </c:pt>
                  <c:pt idx="2408">
                    <c:v>Rolling Mean (30 Minute)</c:v>
                  </c:pt>
                  <c:pt idx="2409">
                    <c:v>Rolling Mean (30 Minute)</c:v>
                  </c:pt>
                  <c:pt idx="2410">
                    <c:v>Rolling Mean (30 Minute)</c:v>
                  </c:pt>
                  <c:pt idx="2411">
                    <c:v>Rolling Mean (30 Minute)</c:v>
                  </c:pt>
                  <c:pt idx="2412">
                    <c:v>Rolling Mean (30 Minute)</c:v>
                  </c:pt>
                  <c:pt idx="2413">
                    <c:v>Rolling Mean (30 Minute)</c:v>
                  </c:pt>
                  <c:pt idx="2414">
                    <c:v>Rolling Mean (30 Minute)</c:v>
                  </c:pt>
                  <c:pt idx="2415">
                    <c:v>Rolling Mean (30 Minute)</c:v>
                  </c:pt>
                  <c:pt idx="2416">
                    <c:v>Rolling Mean (30 Minute)</c:v>
                  </c:pt>
                  <c:pt idx="2417">
                    <c:v>Rolling Mean (30 Minute)</c:v>
                  </c:pt>
                  <c:pt idx="2418">
                    <c:v>Rolling Mean (30 Minute)</c:v>
                  </c:pt>
                  <c:pt idx="2419">
                    <c:v>Rolling Mean (30 Minute)</c:v>
                  </c:pt>
                  <c:pt idx="2420">
                    <c:v>Rolling Mean (30 Minute)</c:v>
                  </c:pt>
                  <c:pt idx="2421">
                    <c:v>Rolling Mean (30 Minute)</c:v>
                  </c:pt>
                  <c:pt idx="2422">
                    <c:v>Rolling Mean (30 Minute)</c:v>
                  </c:pt>
                  <c:pt idx="2423">
                    <c:v>Rolling Mean (30 Minute)</c:v>
                  </c:pt>
                  <c:pt idx="2424">
                    <c:v>Rolling Mean (30 Minute)</c:v>
                  </c:pt>
                  <c:pt idx="2425">
                    <c:v>Rolling Mean (30 Minute)</c:v>
                  </c:pt>
                  <c:pt idx="2426">
                    <c:v>Rolling Mean (30 Minute)</c:v>
                  </c:pt>
                  <c:pt idx="2427">
                    <c:v>Rolling Mean (30 Minute)</c:v>
                  </c:pt>
                  <c:pt idx="2428">
                    <c:v>Rolling Mean (30 Minute)</c:v>
                  </c:pt>
                  <c:pt idx="2429">
                    <c:v>Rolling Mean (30 Minute)</c:v>
                  </c:pt>
                  <c:pt idx="2430">
                    <c:v>Rolling Mean (30 Minute)</c:v>
                  </c:pt>
                  <c:pt idx="2431">
                    <c:v>Rolling Mean (30 Minute)</c:v>
                  </c:pt>
                  <c:pt idx="2432">
                    <c:v>Rolling Mean (30 Minute)</c:v>
                  </c:pt>
                  <c:pt idx="2433">
                    <c:v>Rolling Mean (30 Minute)</c:v>
                  </c:pt>
                  <c:pt idx="2434">
                    <c:v>Rolling Mean (30 Minute)</c:v>
                  </c:pt>
                  <c:pt idx="2435">
                    <c:v>Rolling Mean (30 Minute)</c:v>
                  </c:pt>
                  <c:pt idx="2436">
                    <c:v>Rolling Mean (30 Minute)</c:v>
                  </c:pt>
                  <c:pt idx="2437">
                    <c:v>Rolling Mean (30 Minute)</c:v>
                  </c:pt>
                  <c:pt idx="2438">
                    <c:v>Rolling Mean (30 Minute)</c:v>
                  </c:pt>
                  <c:pt idx="2439">
                    <c:v>Rolling Mean (30 Minute)</c:v>
                  </c:pt>
                  <c:pt idx="2440">
                    <c:v>Rolling Mean (30 Minute)</c:v>
                  </c:pt>
                  <c:pt idx="2441">
                    <c:v>Rolling Mean (30 Minute)</c:v>
                  </c:pt>
                  <c:pt idx="2442">
                    <c:v>Rolling Mean (30 Minute)</c:v>
                  </c:pt>
                  <c:pt idx="2443">
                    <c:v>Rolling Mean (30 Minute)</c:v>
                  </c:pt>
                  <c:pt idx="2444">
                    <c:v>Rolling Mean (30 Minute)</c:v>
                  </c:pt>
                  <c:pt idx="2445">
                    <c:v>Rolling Mean (30 Minute)</c:v>
                  </c:pt>
                  <c:pt idx="2446">
                    <c:v>Rolling Mean (30 Minute)</c:v>
                  </c:pt>
                  <c:pt idx="2447">
                    <c:v>Rolling Mean (30 Minute)</c:v>
                  </c:pt>
                  <c:pt idx="2448">
                    <c:v>Rolling Mean (30 Minute)</c:v>
                  </c:pt>
                  <c:pt idx="2449">
                    <c:v>Rolling Mean (30 Minute)</c:v>
                  </c:pt>
                  <c:pt idx="2450">
                    <c:v>Rolling Mean (30 Minute)</c:v>
                  </c:pt>
                  <c:pt idx="2451">
                    <c:v>Rolling Mean (30 Minute)</c:v>
                  </c:pt>
                </c:lvl>
              </c:multiLvlStrCache>
            </c:multiLvlStrRef>
          </c:cat>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2-EEAA-4648-9585-8881DB12715D}"/>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multiLvlStrRef>
              <c:f>'DRT Rolling Mean'!$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Mean (30 Minute)</c:v>
                  </c:pt>
                  <c:pt idx="1">
                    <c:v>Rolling Mean (30 Minute)</c:v>
                  </c:pt>
                  <c:pt idx="2">
                    <c:v>Rolling Mean (30 Minute)</c:v>
                  </c:pt>
                  <c:pt idx="3">
                    <c:v>Rolling Mean (30 Minute)</c:v>
                  </c:pt>
                  <c:pt idx="4">
                    <c:v>Rolling Mean (30 Minute)</c:v>
                  </c:pt>
                  <c:pt idx="5">
                    <c:v>Rolling Mean (30 Minute)</c:v>
                  </c:pt>
                  <c:pt idx="6">
                    <c:v>Rolling Mean (30 Minute)</c:v>
                  </c:pt>
                  <c:pt idx="7">
                    <c:v>Rolling Mean (30 Minute)</c:v>
                  </c:pt>
                  <c:pt idx="8">
                    <c:v>Rolling Mean (30 Minute)</c:v>
                  </c:pt>
                  <c:pt idx="9">
                    <c:v>Rolling Mean (30 Minute)</c:v>
                  </c:pt>
                  <c:pt idx="10">
                    <c:v>Rolling Mean (30 Minute)</c:v>
                  </c:pt>
                  <c:pt idx="11">
                    <c:v>Rolling Mean (30 Minute)</c:v>
                  </c:pt>
                  <c:pt idx="12">
                    <c:v>Rolling Mean (30 Minute)</c:v>
                  </c:pt>
                  <c:pt idx="13">
                    <c:v>Rolling Mean (30 Minute)</c:v>
                  </c:pt>
                  <c:pt idx="14">
                    <c:v>Rolling Mean (30 Minute)</c:v>
                  </c:pt>
                  <c:pt idx="15">
                    <c:v>Rolling Mean (30 Minute)</c:v>
                  </c:pt>
                  <c:pt idx="16">
                    <c:v>Rolling Mean (30 Minute)</c:v>
                  </c:pt>
                  <c:pt idx="17">
                    <c:v>Rolling Mean (30 Minute)</c:v>
                  </c:pt>
                  <c:pt idx="18">
                    <c:v>Rolling Mean (30 Minute)</c:v>
                  </c:pt>
                  <c:pt idx="19">
                    <c:v>Rolling Mean (30 Minute)</c:v>
                  </c:pt>
                  <c:pt idx="20">
                    <c:v>Rolling Mean (30 Minute)</c:v>
                  </c:pt>
                  <c:pt idx="21">
                    <c:v>Rolling Mean (30 Minute)</c:v>
                  </c:pt>
                  <c:pt idx="22">
                    <c:v>Rolling Mean (30 Minute)</c:v>
                  </c:pt>
                  <c:pt idx="23">
                    <c:v>Rolling Mean (30 Minute)</c:v>
                  </c:pt>
                  <c:pt idx="24">
                    <c:v>Rolling Mean (30 Minute)</c:v>
                  </c:pt>
                  <c:pt idx="25">
                    <c:v>Rolling Mean (30 Minute)</c:v>
                  </c:pt>
                  <c:pt idx="26">
                    <c:v>Rolling Mean (30 Minute)</c:v>
                  </c:pt>
                  <c:pt idx="27">
                    <c:v>Rolling Mean (30 Minute)</c:v>
                  </c:pt>
                  <c:pt idx="28">
                    <c:v>Rolling Mean (30 Minute)</c:v>
                  </c:pt>
                  <c:pt idx="29">
                    <c:v>Rolling Mean (30 Minute)</c:v>
                  </c:pt>
                  <c:pt idx="30">
                    <c:v>Rolling Mean (30 Minute)</c:v>
                  </c:pt>
                  <c:pt idx="31">
                    <c:v>Rolling Mean (30 Minute)</c:v>
                  </c:pt>
                  <c:pt idx="32">
                    <c:v>Rolling Mean (30 Minute)</c:v>
                  </c:pt>
                  <c:pt idx="33">
                    <c:v>Rolling Mean (30 Minute)</c:v>
                  </c:pt>
                  <c:pt idx="34">
                    <c:v>Rolling Mean (30 Minute)</c:v>
                  </c:pt>
                  <c:pt idx="35">
                    <c:v>Rolling Mean (30 Minute)</c:v>
                  </c:pt>
                  <c:pt idx="36">
                    <c:v>Rolling Mean (30 Minute)</c:v>
                  </c:pt>
                  <c:pt idx="37">
                    <c:v>Rolling Mean (30 Minute)</c:v>
                  </c:pt>
                  <c:pt idx="38">
                    <c:v>Rolling Mean (30 Minute)</c:v>
                  </c:pt>
                  <c:pt idx="39">
                    <c:v>Rolling Mean (30 Minute)</c:v>
                  </c:pt>
                  <c:pt idx="40">
                    <c:v>Rolling Mean (30 Minute)</c:v>
                  </c:pt>
                  <c:pt idx="41">
                    <c:v>Rolling Mean (30 Minute)</c:v>
                  </c:pt>
                  <c:pt idx="42">
                    <c:v>Rolling Mean (30 Minute)</c:v>
                  </c:pt>
                  <c:pt idx="43">
                    <c:v>Rolling Mean (30 Minute)</c:v>
                  </c:pt>
                  <c:pt idx="44">
                    <c:v>Rolling Mean (30 Minute)</c:v>
                  </c:pt>
                  <c:pt idx="45">
                    <c:v>Rolling Mean (30 Minute)</c:v>
                  </c:pt>
                  <c:pt idx="46">
                    <c:v>Rolling Mean (30 Minute)</c:v>
                  </c:pt>
                  <c:pt idx="47">
                    <c:v>Rolling Mean (30 Minute)</c:v>
                  </c:pt>
                  <c:pt idx="48">
                    <c:v>Rolling Mean (30 Minute)</c:v>
                  </c:pt>
                  <c:pt idx="49">
                    <c:v>Rolling Mean (30 Minute)</c:v>
                  </c:pt>
                  <c:pt idx="50">
                    <c:v>Rolling Mean (30 Minute)</c:v>
                  </c:pt>
                  <c:pt idx="51">
                    <c:v>Rolling Mean (30 Minute)</c:v>
                  </c:pt>
                  <c:pt idx="52">
                    <c:v>Rolling Mean (30 Minute)</c:v>
                  </c:pt>
                  <c:pt idx="53">
                    <c:v>Rolling Mean (30 Minute)</c:v>
                  </c:pt>
                  <c:pt idx="54">
                    <c:v>Rolling Mean (30 Minute)</c:v>
                  </c:pt>
                  <c:pt idx="55">
                    <c:v>Rolling Mean (30 Minute)</c:v>
                  </c:pt>
                  <c:pt idx="56">
                    <c:v>Rolling Mean (30 Minute)</c:v>
                  </c:pt>
                  <c:pt idx="57">
                    <c:v>Rolling Mean (30 Minute)</c:v>
                  </c:pt>
                  <c:pt idx="58">
                    <c:v>Rolling Mean (30 Minute)</c:v>
                  </c:pt>
                  <c:pt idx="59">
                    <c:v>Rolling Mean (30 Minute)</c:v>
                  </c:pt>
                  <c:pt idx="60">
                    <c:v>Rolling Mean (30 Minute)</c:v>
                  </c:pt>
                  <c:pt idx="61">
                    <c:v>Rolling Mean (30 Minute)</c:v>
                  </c:pt>
                  <c:pt idx="62">
                    <c:v>Rolling Mean (30 Minute)</c:v>
                  </c:pt>
                  <c:pt idx="63">
                    <c:v>Rolling Mean (30 Minute)</c:v>
                  </c:pt>
                  <c:pt idx="64">
                    <c:v>Rolling Mean (30 Minute)</c:v>
                  </c:pt>
                  <c:pt idx="65">
                    <c:v>Rolling Mean (30 Minute)</c:v>
                  </c:pt>
                  <c:pt idx="66">
                    <c:v>Rolling Mean (30 Minute)</c:v>
                  </c:pt>
                  <c:pt idx="67">
                    <c:v>Rolling Mean (30 Minute)</c:v>
                  </c:pt>
                  <c:pt idx="68">
                    <c:v>Rolling Mean (30 Minute)</c:v>
                  </c:pt>
                  <c:pt idx="69">
                    <c:v>Rolling Mean (30 Minute)</c:v>
                  </c:pt>
                  <c:pt idx="70">
                    <c:v>Rolling Mean (30 Minute)</c:v>
                  </c:pt>
                  <c:pt idx="71">
                    <c:v>Rolling Mean (30 Minute)</c:v>
                  </c:pt>
                  <c:pt idx="72">
                    <c:v>Rolling Mean (30 Minute)</c:v>
                  </c:pt>
                  <c:pt idx="73">
                    <c:v>Rolling Mean (30 Minute)</c:v>
                  </c:pt>
                  <c:pt idx="74">
                    <c:v>Rolling Mean (30 Minute)</c:v>
                  </c:pt>
                  <c:pt idx="75">
                    <c:v>Rolling Mean (30 Minute)</c:v>
                  </c:pt>
                  <c:pt idx="76">
                    <c:v>Rolling Mean (30 Minute)</c:v>
                  </c:pt>
                  <c:pt idx="77">
                    <c:v>Rolling Mean (30 Minute)</c:v>
                  </c:pt>
                  <c:pt idx="78">
                    <c:v>Rolling Mean (30 Minute)</c:v>
                  </c:pt>
                  <c:pt idx="79">
                    <c:v>Rolling Mean (30 Minute)</c:v>
                  </c:pt>
                  <c:pt idx="80">
                    <c:v>Rolling Mean (30 Minute)</c:v>
                  </c:pt>
                  <c:pt idx="81">
                    <c:v>Rolling Mean (30 Minute)</c:v>
                  </c:pt>
                  <c:pt idx="82">
                    <c:v>Rolling Mean (30 Minute)</c:v>
                  </c:pt>
                  <c:pt idx="83">
                    <c:v>Rolling Mean (30 Minute)</c:v>
                  </c:pt>
                  <c:pt idx="84">
                    <c:v>Rolling Mean (30 Minute)</c:v>
                  </c:pt>
                  <c:pt idx="85">
                    <c:v>Rolling Mean (30 Minute)</c:v>
                  </c:pt>
                  <c:pt idx="86">
                    <c:v>Rolling Mean (30 Minute)</c:v>
                  </c:pt>
                  <c:pt idx="87">
                    <c:v>Rolling Mean (30 Minute)</c:v>
                  </c:pt>
                  <c:pt idx="88">
                    <c:v>Rolling Mean (30 Minute)</c:v>
                  </c:pt>
                  <c:pt idx="89">
                    <c:v>Rolling Mean (30 Minute)</c:v>
                  </c:pt>
                  <c:pt idx="90">
                    <c:v>Rolling Mean (30 Minute)</c:v>
                  </c:pt>
                  <c:pt idx="91">
                    <c:v>Rolling Mean (30 Minute)</c:v>
                  </c:pt>
                  <c:pt idx="92">
                    <c:v>Rolling Mean (30 Minute)</c:v>
                  </c:pt>
                  <c:pt idx="93">
                    <c:v>Rolling Mean (30 Minute)</c:v>
                  </c:pt>
                  <c:pt idx="94">
                    <c:v>Rolling Mean (30 Minute)</c:v>
                  </c:pt>
                  <c:pt idx="95">
                    <c:v>Rolling Mean (30 Minute)</c:v>
                  </c:pt>
                  <c:pt idx="96">
                    <c:v>Rolling Mean (30 Minute)</c:v>
                  </c:pt>
                  <c:pt idx="97">
                    <c:v>Rolling Mean (30 Minute)</c:v>
                  </c:pt>
                  <c:pt idx="98">
                    <c:v>Rolling Mean (30 Minute)</c:v>
                  </c:pt>
                  <c:pt idx="99">
                    <c:v>Rolling Mean (30 Minute)</c:v>
                  </c:pt>
                  <c:pt idx="100">
                    <c:v>Rolling Mean (30 Minute)</c:v>
                  </c:pt>
                  <c:pt idx="101">
                    <c:v>Rolling Mean (30 Minute)</c:v>
                  </c:pt>
                  <c:pt idx="102">
                    <c:v>Rolling Mean (30 Minute)</c:v>
                  </c:pt>
                  <c:pt idx="103">
                    <c:v>Rolling Mean (30 Minute)</c:v>
                  </c:pt>
                  <c:pt idx="104">
                    <c:v>Rolling Mean (30 Minute)</c:v>
                  </c:pt>
                  <c:pt idx="105">
                    <c:v>Rolling Mean (30 Minute)</c:v>
                  </c:pt>
                  <c:pt idx="106">
                    <c:v>Rolling Mean (30 Minute)</c:v>
                  </c:pt>
                  <c:pt idx="107">
                    <c:v>Rolling Mean (30 Minute)</c:v>
                  </c:pt>
                  <c:pt idx="108">
                    <c:v>Rolling Mean (30 Minute)</c:v>
                  </c:pt>
                  <c:pt idx="109">
                    <c:v>Rolling Mean (30 Minute)</c:v>
                  </c:pt>
                  <c:pt idx="110">
                    <c:v>Rolling Mean (30 Minute)</c:v>
                  </c:pt>
                  <c:pt idx="111">
                    <c:v>Rolling Mean (30 Minute)</c:v>
                  </c:pt>
                  <c:pt idx="112">
                    <c:v>Rolling Mean (30 Minute)</c:v>
                  </c:pt>
                  <c:pt idx="113">
                    <c:v>Rolling Mean (30 Minute)</c:v>
                  </c:pt>
                  <c:pt idx="114">
                    <c:v>Rolling Mean (30 Minute)</c:v>
                  </c:pt>
                  <c:pt idx="115">
                    <c:v>Rolling Mean (30 Minute)</c:v>
                  </c:pt>
                  <c:pt idx="116">
                    <c:v>Rolling Mean (30 Minute)</c:v>
                  </c:pt>
                  <c:pt idx="117">
                    <c:v>Rolling Mean (30 Minute)</c:v>
                  </c:pt>
                  <c:pt idx="118">
                    <c:v>Rolling Mean (30 Minute)</c:v>
                  </c:pt>
                  <c:pt idx="119">
                    <c:v>Rolling Mean (30 Minute)</c:v>
                  </c:pt>
                  <c:pt idx="120">
                    <c:v>Rolling Mean (30 Minute)</c:v>
                  </c:pt>
                  <c:pt idx="121">
                    <c:v>Rolling Mean (30 Minute)</c:v>
                  </c:pt>
                  <c:pt idx="122">
                    <c:v>Rolling Mean (30 Minute)</c:v>
                  </c:pt>
                  <c:pt idx="123">
                    <c:v>Rolling Mean (30 Minute)</c:v>
                  </c:pt>
                  <c:pt idx="124">
                    <c:v>Rolling Mean (30 Minute)</c:v>
                  </c:pt>
                  <c:pt idx="125">
                    <c:v>Rolling Mean (30 Minute)</c:v>
                  </c:pt>
                  <c:pt idx="126">
                    <c:v>Rolling Mean (30 Minute)</c:v>
                  </c:pt>
                  <c:pt idx="127">
                    <c:v>Rolling Mean (30 Minute)</c:v>
                  </c:pt>
                  <c:pt idx="128">
                    <c:v>Rolling Mean (30 Minute)</c:v>
                  </c:pt>
                  <c:pt idx="129">
                    <c:v>Rolling Mean (30 Minute)</c:v>
                  </c:pt>
                  <c:pt idx="130">
                    <c:v>Rolling Mean (30 Minute)</c:v>
                  </c:pt>
                  <c:pt idx="131">
                    <c:v>Rolling Mean (30 Minute)</c:v>
                  </c:pt>
                  <c:pt idx="132">
                    <c:v>Rolling Mean (30 Minute)</c:v>
                  </c:pt>
                  <c:pt idx="133">
                    <c:v>Rolling Mean (30 Minute)</c:v>
                  </c:pt>
                  <c:pt idx="134">
                    <c:v>Rolling Mean (30 Minute)</c:v>
                  </c:pt>
                  <c:pt idx="135">
                    <c:v>Rolling Mean (30 Minute)</c:v>
                  </c:pt>
                  <c:pt idx="136">
                    <c:v>Rolling Mean (30 Minute)</c:v>
                  </c:pt>
                  <c:pt idx="137">
                    <c:v>Rolling Mean (30 Minute)</c:v>
                  </c:pt>
                  <c:pt idx="138">
                    <c:v>Rolling Mean (30 Minute)</c:v>
                  </c:pt>
                  <c:pt idx="139">
                    <c:v>Rolling Mean (30 Minute)</c:v>
                  </c:pt>
                  <c:pt idx="140">
                    <c:v>Rolling Mean (30 Minute)</c:v>
                  </c:pt>
                  <c:pt idx="141">
                    <c:v>Rolling Mean (30 Minute)</c:v>
                  </c:pt>
                  <c:pt idx="142">
                    <c:v>Rolling Mean (30 Minute)</c:v>
                  </c:pt>
                  <c:pt idx="143">
                    <c:v>Rolling Mean (30 Minute)</c:v>
                  </c:pt>
                  <c:pt idx="144">
                    <c:v>Rolling Mean (30 Minute)</c:v>
                  </c:pt>
                  <c:pt idx="145">
                    <c:v>Rolling Mean (30 Minute)</c:v>
                  </c:pt>
                  <c:pt idx="146">
                    <c:v>Rolling Mean (30 Minute)</c:v>
                  </c:pt>
                  <c:pt idx="147">
                    <c:v>Rolling Mean (30 Minute)</c:v>
                  </c:pt>
                  <c:pt idx="148">
                    <c:v>Rolling Mean (30 Minute)</c:v>
                  </c:pt>
                  <c:pt idx="149">
                    <c:v>Rolling Mean (30 Minute)</c:v>
                  </c:pt>
                  <c:pt idx="150">
                    <c:v>Rolling Mean (30 Minute)</c:v>
                  </c:pt>
                  <c:pt idx="151">
                    <c:v>Rolling Mean (30 Minute)</c:v>
                  </c:pt>
                  <c:pt idx="152">
                    <c:v>Rolling Mean (30 Minute)</c:v>
                  </c:pt>
                  <c:pt idx="153">
                    <c:v>Rolling Mean (30 Minute)</c:v>
                  </c:pt>
                  <c:pt idx="154">
                    <c:v>Rolling Mean (30 Minute)</c:v>
                  </c:pt>
                  <c:pt idx="155">
                    <c:v>Rolling Mean (30 Minute)</c:v>
                  </c:pt>
                  <c:pt idx="156">
                    <c:v>Rolling Mean (30 Minute)</c:v>
                  </c:pt>
                  <c:pt idx="157">
                    <c:v>Rolling Mean (30 Minute)</c:v>
                  </c:pt>
                  <c:pt idx="158">
                    <c:v>Rolling Mean (30 Minute)</c:v>
                  </c:pt>
                  <c:pt idx="159">
                    <c:v>Rolling Mean (30 Minute)</c:v>
                  </c:pt>
                  <c:pt idx="160">
                    <c:v>Rolling Mean (30 Minute)</c:v>
                  </c:pt>
                  <c:pt idx="161">
                    <c:v>Rolling Mean (30 Minute)</c:v>
                  </c:pt>
                  <c:pt idx="162">
                    <c:v>Rolling Mean (30 Minute)</c:v>
                  </c:pt>
                  <c:pt idx="163">
                    <c:v>Rolling Mean (30 Minute)</c:v>
                  </c:pt>
                  <c:pt idx="164">
                    <c:v>Rolling Mean (30 Minute)</c:v>
                  </c:pt>
                  <c:pt idx="165">
                    <c:v>Rolling Mean (30 Minute)</c:v>
                  </c:pt>
                  <c:pt idx="166">
                    <c:v>Rolling Mean (30 Minute)</c:v>
                  </c:pt>
                  <c:pt idx="167">
                    <c:v>Rolling Mean (30 Minute)</c:v>
                  </c:pt>
                  <c:pt idx="168">
                    <c:v>Rolling Mean (30 Minute)</c:v>
                  </c:pt>
                  <c:pt idx="169">
                    <c:v>Rolling Mean (30 Minute)</c:v>
                  </c:pt>
                  <c:pt idx="170">
                    <c:v>Rolling Mean (30 Minute)</c:v>
                  </c:pt>
                  <c:pt idx="171">
                    <c:v>Rolling Mean (30 Minute)</c:v>
                  </c:pt>
                  <c:pt idx="172">
                    <c:v>Rolling Mean (30 Minute)</c:v>
                  </c:pt>
                  <c:pt idx="173">
                    <c:v>Rolling Mean (30 Minute)</c:v>
                  </c:pt>
                  <c:pt idx="174">
                    <c:v>Rolling Mean (30 Minute)</c:v>
                  </c:pt>
                  <c:pt idx="175">
                    <c:v>Rolling Mean (30 Minute)</c:v>
                  </c:pt>
                  <c:pt idx="176">
                    <c:v>Rolling Mean (30 Minute)</c:v>
                  </c:pt>
                  <c:pt idx="177">
                    <c:v>Rolling Mean (30 Minute)</c:v>
                  </c:pt>
                  <c:pt idx="178">
                    <c:v>Rolling Mean (30 Minute)</c:v>
                  </c:pt>
                  <c:pt idx="179">
                    <c:v>Rolling Mean (30 Minute)</c:v>
                  </c:pt>
                  <c:pt idx="180">
                    <c:v>Rolling Mean (30 Minute)</c:v>
                  </c:pt>
                  <c:pt idx="181">
                    <c:v>Rolling Mean (30 Minute)</c:v>
                  </c:pt>
                  <c:pt idx="182">
                    <c:v>Rolling Mean (30 Minute)</c:v>
                  </c:pt>
                  <c:pt idx="183">
                    <c:v>Rolling Mean (30 Minute)</c:v>
                  </c:pt>
                  <c:pt idx="184">
                    <c:v>Rolling Mean (30 Minute)</c:v>
                  </c:pt>
                  <c:pt idx="185">
                    <c:v>Rolling Mean (30 Minute)</c:v>
                  </c:pt>
                  <c:pt idx="186">
                    <c:v>Rolling Mean (30 Minute)</c:v>
                  </c:pt>
                  <c:pt idx="187">
                    <c:v>Rolling Mean (30 Minute)</c:v>
                  </c:pt>
                  <c:pt idx="188">
                    <c:v>Rolling Mean (30 Minute)</c:v>
                  </c:pt>
                  <c:pt idx="189">
                    <c:v>Rolling Mean (30 Minute)</c:v>
                  </c:pt>
                  <c:pt idx="190">
                    <c:v>Rolling Mean (30 Minute)</c:v>
                  </c:pt>
                  <c:pt idx="191">
                    <c:v>Rolling Mean (30 Minute)</c:v>
                  </c:pt>
                  <c:pt idx="192">
                    <c:v>Rolling Mean (30 Minute)</c:v>
                  </c:pt>
                  <c:pt idx="193">
                    <c:v>Rolling Mean (30 Minute)</c:v>
                  </c:pt>
                  <c:pt idx="194">
                    <c:v>Rolling Mean (30 Minute)</c:v>
                  </c:pt>
                  <c:pt idx="195">
                    <c:v>Rolling Mean (30 Minute)</c:v>
                  </c:pt>
                  <c:pt idx="196">
                    <c:v>Rolling Mean (30 Minute)</c:v>
                  </c:pt>
                  <c:pt idx="197">
                    <c:v>Rolling Mean (30 Minute)</c:v>
                  </c:pt>
                  <c:pt idx="198">
                    <c:v>Rolling Mean (30 Minute)</c:v>
                  </c:pt>
                  <c:pt idx="199">
                    <c:v>Rolling Mean (30 Minute)</c:v>
                  </c:pt>
                  <c:pt idx="200">
                    <c:v>Rolling Mean (30 Minute)</c:v>
                  </c:pt>
                  <c:pt idx="201">
                    <c:v>Rolling Mean (30 Minute)</c:v>
                  </c:pt>
                  <c:pt idx="202">
                    <c:v>Rolling Mean (30 Minute)</c:v>
                  </c:pt>
                  <c:pt idx="203">
                    <c:v>Rolling Mean (30 Minute)</c:v>
                  </c:pt>
                  <c:pt idx="204">
                    <c:v>Rolling Mean (30 Minute)</c:v>
                  </c:pt>
                  <c:pt idx="205">
                    <c:v>Rolling Mean (30 Minute)</c:v>
                  </c:pt>
                  <c:pt idx="206">
                    <c:v>Rolling Mean (30 Minute)</c:v>
                  </c:pt>
                  <c:pt idx="207">
                    <c:v>Rolling Mean (30 Minute)</c:v>
                  </c:pt>
                  <c:pt idx="208">
                    <c:v>Rolling Mean (30 Minute)</c:v>
                  </c:pt>
                  <c:pt idx="209">
                    <c:v>Rolling Mean (30 Minute)</c:v>
                  </c:pt>
                  <c:pt idx="210">
                    <c:v>Rolling Mean (30 Minute)</c:v>
                  </c:pt>
                  <c:pt idx="211">
                    <c:v>Rolling Mean (30 Minute)</c:v>
                  </c:pt>
                  <c:pt idx="212">
                    <c:v>Rolling Mean (30 Minute)</c:v>
                  </c:pt>
                  <c:pt idx="213">
                    <c:v>Rolling Mean (30 Minute)</c:v>
                  </c:pt>
                  <c:pt idx="214">
                    <c:v>Rolling Mean (30 Minute)</c:v>
                  </c:pt>
                  <c:pt idx="215">
                    <c:v>Rolling Mean (30 Minute)</c:v>
                  </c:pt>
                  <c:pt idx="216">
                    <c:v>Rolling Mean (30 Minute)</c:v>
                  </c:pt>
                  <c:pt idx="217">
                    <c:v>Rolling Mean (30 Minute)</c:v>
                  </c:pt>
                  <c:pt idx="218">
                    <c:v>Rolling Mean (30 Minute)</c:v>
                  </c:pt>
                  <c:pt idx="219">
                    <c:v>Rolling Mean (30 Minute)</c:v>
                  </c:pt>
                  <c:pt idx="220">
                    <c:v>Rolling Mean (30 Minute)</c:v>
                  </c:pt>
                  <c:pt idx="221">
                    <c:v>Rolling Mean (30 Minute)</c:v>
                  </c:pt>
                  <c:pt idx="222">
                    <c:v>Rolling Mean (30 Minute)</c:v>
                  </c:pt>
                  <c:pt idx="223">
                    <c:v>Rolling Mean (30 Minute)</c:v>
                  </c:pt>
                  <c:pt idx="224">
                    <c:v>Rolling Mean (30 Minute)</c:v>
                  </c:pt>
                  <c:pt idx="225">
                    <c:v>Rolling Mean (30 Minute)</c:v>
                  </c:pt>
                  <c:pt idx="226">
                    <c:v>Rolling Mean (30 Minute)</c:v>
                  </c:pt>
                  <c:pt idx="227">
                    <c:v>Rolling Mean (30 Minute)</c:v>
                  </c:pt>
                  <c:pt idx="228">
                    <c:v>Rolling Mean (30 Minute)</c:v>
                  </c:pt>
                  <c:pt idx="229">
                    <c:v>Rolling Mean (30 Minute)</c:v>
                  </c:pt>
                  <c:pt idx="230">
                    <c:v>Rolling Mean (30 Minute)</c:v>
                  </c:pt>
                  <c:pt idx="231">
                    <c:v>Rolling Mean (30 Minute)</c:v>
                  </c:pt>
                  <c:pt idx="232">
                    <c:v>Rolling Mean (30 Minute)</c:v>
                  </c:pt>
                  <c:pt idx="233">
                    <c:v>Rolling Mean (30 Minute)</c:v>
                  </c:pt>
                  <c:pt idx="234">
                    <c:v>Rolling Mean (30 Minute)</c:v>
                  </c:pt>
                  <c:pt idx="235">
                    <c:v>Rolling Mean (30 Minute)</c:v>
                  </c:pt>
                  <c:pt idx="236">
                    <c:v>Rolling Mean (30 Minute)</c:v>
                  </c:pt>
                  <c:pt idx="237">
                    <c:v>Rolling Mean (30 Minute)</c:v>
                  </c:pt>
                  <c:pt idx="238">
                    <c:v>Rolling Mean (30 Minute)</c:v>
                  </c:pt>
                  <c:pt idx="239">
                    <c:v>Rolling Mean (30 Minute)</c:v>
                  </c:pt>
                  <c:pt idx="240">
                    <c:v>Rolling Mean (30 Minute)</c:v>
                  </c:pt>
                  <c:pt idx="241">
                    <c:v>Rolling Mean (30 Minute)</c:v>
                  </c:pt>
                  <c:pt idx="242">
                    <c:v>Rolling Mean (30 Minute)</c:v>
                  </c:pt>
                  <c:pt idx="243">
                    <c:v>Rolling Mean (30 Minute)</c:v>
                  </c:pt>
                  <c:pt idx="244">
                    <c:v>Rolling Mean (30 Minute)</c:v>
                  </c:pt>
                  <c:pt idx="245">
                    <c:v>Rolling Mean (30 Minute)</c:v>
                  </c:pt>
                  <c:pt idx="246">
                    <c:v>Rolling Mean (30 Minute)</c:v>
                  </c:pt>
                  <c:pt idx="247">
                    <c:v>Rolling Mean (30 Minute)</c:v>
                  </c:pt>
                  <c:pt idx="248">
                    <c:v>Rolling Mean (30 Minute)</c:v>
                  </c:pt>
                  <c:pt idx="249">
                    <c:v>Rolling Mean (30 Minute)</c:v>
                  </c:pt>
                  <c:pt idx="250">
                    <c:v>Rolling Mean (30 Minute)</c:v>
                  </c:pt>
                  <c:pt idx="251">
                    <c:v>Rolling Mean (30 Minute)</c:v>
                  </c:pt>
                  <c:pt idx="252">
                    <c:v>Rolling Mean (30 Minute)</c:v>
                  </c:pt>
                  <c:pt idx="253">
                    <c:v>Rolling Mean (30 Minute)</c:v>
                  </c:pt>
                  <c:pt idx="254">
                    <c:v>Rolling Mean (30 Minute)</c:v>
                  </c:pt>
                  <c:pt idx="255">
                    <c:v>Rolling Mean (30 Minute)</c:v>
                  </c:pt>
                  <c:pt idx="256">
                    <c:v>Rolling Mean (30 Minute)</c:v>
                  </c:pt>
                  <c:pt idx="257">
                    <c:v>Rolling Mean (30 Minute)</c:v>
                  </c:pt>
                  <c:pt idx="258">
                    <c:v>Rolling Mean (30 Minute)</c:v>
                  </c:pt>
                  <c:pt idx="259">
                    <c:v>Rolling Mean (30 Minute)</c:v>
                  </c:pt>
                  <c:pt idx="260">
                    <c:v>Rolling Mean (30 Minute)</c:v>
                  </c:pt>
                  <c:pt idx="261">
                    <c:v>Rolling Mean (30 Minute)</c:v>
                  </c:pt>
                  <c:pt idx="262">
                    <c:v>Rolling Mean (30 Minute)</c:v>
                  </c:pt>
                  <c:pt idx="263">
                    <c:v>Rolling Mean (30 Minute)</c:v>
                  </c:pt>
                  <c:pt idx="264">
                    <c:v>Rolling Mean (30 Minute)</c:v>
                  </c:pt>
                  <c:pt idx="265">
                    <c:v>Rolling Mean (30 Minute)</c:v>
                  </c:pt>
                  <c:pt idx="266">
                    <c:v>Rolling Mean (30 Minute)</c:v>
                  </c:pt>
                  <c:pt idx="267">
                    <c:v>Rolling Mean (30 Minute)</c:v>
                  </c:pt>
                  <c:pt idx="268">
                    <c:v>Rolling Mean (30 Minute)</c:v>
                  </c:pt>
                  <c:pt idx="269">
                    <c:v>Rolling Mean (30 Minute)</c:v>
                  </c:pt>
                  <c:pt idx="270">
                    <c:v>Rolling Mean (30 Minute)</c:v>
                  </c:pt>
                  <c:pt idx="271">
                    <c:v>Rolling Mean (30 Minute)</c:v>
                  </c:pt>
                  <c:pt idx="272">
                    <c:v>Rolling Mean (30 Minute)</c:v>
                  </c:pt>
                  <c:pt idx="273">
                    <c:v>Rolling Mean (30 Minute)</c:v>
                  </c:pt>
                  <c:pt idx="274">
                    <c:v>Rolling Mean (30 Minute)</c:v>
                  </c:pt>
                  <c:pt idx="275">
                    <c:v>Rolling Mean (30 Minute)</c:v>
                  </c:pt>
                  <c:pt idx="276">
                    <c:v>Rolling Mean (30 Minute)</c:v>
                  </c:pt>
                  <c:pt idx="277">
                    <c:v>Rolling Mean (30 Minute)</c:v>
                  </c:pt>
                  <c:pt idx="278">
                    <c:v>Rolling Mean (30 Minute)</c:v>
                  </c:pt>
                  <c:pt idx="279">
                    <c:v>Rolling Mean (30 Minute)</c:v>
                  </c:pt>
                  <c:pt idx="280">
                    <c:v>Rolling Mean (30 Minute)</c:v>
                  </c:pt>
                  <c:pt idx="281">
                    <c:v>Rolling Mean (30 Minute)</c:v>
                  </c:pt>
                  <c:pt idx="282">
                    <c:v>Rolling Mean (30 Minute)</c:v>
                  </c:pt>
                  <c:pt idx="283">
                    <c:v>Rolling Mean (30 Minute)</c:v>
                  </c:pt>
                  <c:pt idx="284">
                    <c:v>Rolling Mean (30 Minute)</c:v>
                  </c:pt>
                  <c:pt idx="285">
                    <c:v>Rolling Mean (30 Minute)</c:v>
                  </c:pt>
                  <c:pt idx="286">
                    <c:v>Rolling Mean (30 Minute)</c:v>
                  </c:pt>
                  <c:pt idx="287">
                    <c:v>Rolling Mean (30 Minute)</c:v>
                  </c:pt>
                  <c:pt idx="288">
                    <c:v>Rolling Mean (30 Minute)</c:v>
                  </c:pt>
                  <c:pt idx="289">
                    <c:v>Rolling Mean (30 Minute)</c:v>
                  </c:pt>
                  <c:pt idx="290">
                    <c:v>Rolling Mean (30 Minute)</c:v>
                  </c:pt>
                  <c:pt idx="291">
                    <c:v>Rolling Mean (30 Minute)</c:v>
                  </c:pt>
                  <c:pt idx="292">
                    <c:v>Rolling Mean (30 Minute)</c:v>
                  </c:pt>
                  <c:pt idx="293">
                    <c:v>Rolling Mean (30 Minute)</c:v>
                  </c:pt>
                  <c:pt idx="294">
                    <c:v>Rolling Mean (30 Minute)</c:v>
                  </c:pt>
                  <c:pt idx="295">
                    <c:v>Rolling Mean (30 Minute)</c:v>
                  </c:pt>
                  <c:pt idx="296">
                    <c:v>Rolling Mean (30 Minute)</c:v>
                  </c:pt>
                  <c:pt idx="297">
                    <c:v>Rolling Mean (30 Minute)</c:v>
                  </c:pt>
                  <c:pt idx="298">
                    <c:v>Rolling Mean (30 Minute)</c:v>
                  </c:pt>
                  <c:pt idx="299">
                    <c:v>Rolling Mean (30 Minute)</c:v>
                  </c:pt>
                  <c:pt idx="300">
                    <c:v>Rolling Mean (30 Minute)</c:v>
                  </c:pt>
                  <c:pt idx="301">
                    <c:v>Rolling Mean (30 Minute)</c:v>
                  </c:pt>
                  <c:pt idx="302">
                    <c:v>Rolling Mean (30 Minute)</c:v>
                  </c:pt>
                  <c:pt idx="303">
                    <c:v>Rolling Mean (30 Minute)</c:v>
                  </c:pt>
                  <c:pt idx="304">
                    <c:v>Rolling Mean (30 Minute)</c:v>
                  </c:pt>
                  <c:pt idx="305">
                    <c:v>Rolling Mean (30 Minute)</c:v>
                  </c:pt>
                  <c:pt idx="306">
                    <c:v>Rolling Mean (30 Minute)</c:v>
                  </c:pt>
                  <c:pt idx="307">
                    <c:v>Rolling Mean (30 Minute)</c:v>
                  </c:pt>
                  <c:pt idx="308">
                    <c:v>Rolling Mean (30 Minute)</c:v>
                  </c:pt>
                  <c:pt idx="309">
                    <c:v>Rolling Mean (30 Minute)</c:v>
                  </c:pt>
                  <c:pt idx="310">
                    <c:v>Rolling Mean (30 Minute)</c:v>
                  </c:pt>
                  <c:pt idx="311">
                    <c:v>Rolling Mean (30 Minute)</c:v>
                  </c:pt>
                  <c:pt idx="312">
                    <c:v>Rolling Mean (30 Minute)</c:v>
                  </c:pt>
                  <c:pt idx="313">
                    <c:v>Rolling Mean (30 Minute)</c:v>
                  </c:pt>
                  <c:pt idx="314">
                    <c:v>Rolling Mean (30 Minute)</c:v>
                  </c:pt>
                  <c:pt idx="315">
                    <c:v>Rolling Mean (30 Minute)</c:v>
                  </c:pt>
                  <c:pt idx="316">
                    <c:v>Rolling Mean (30 Minute)</c:v>
                  </c:pt>
                  <c:pt idx="317">
                    <c:v>Rolling Mean (30 Minute)</c:v>
                  </c:pt>
                  <c:pt idx="318">
                    <c:v>Rolling Mean (30 Minute)</c:v>
                  </c:pt>
                  <c:pt idx="319">
                    <c:v>Rolling Mean (30 Minute)</c:v>
                  </c:pt>
                  <c:pt idx="320">
                    <c:v>Rolling Mean (30 Minute)</c:v>
                  </c:pt>
                  <c:pt idx="321">
                    <c:v>Rolling Mean (30 Minute)</c:v>
                  </c:pt>
                  <c:pt idx="322">
                    <c:v>Rolling Mean (30 Minute)</c:v>
                  </c:pt>
                  <c:pt idx="323">
                    <c:v>Rolling Mean (30 Minute)</c:v>
                  </c:pt>
                  <c:pt idx="324">
                    <c:v>Rolling Mean (30 Minute)</c:v>
                  </c:pt>
                  <c:pt idx="325">
                    <c:v>Rolling Mean (30 Minute)</c:v>
                  </c:pt>
                  <c:pt idx="326">
                    <c:v>Rolling Mean (30 Minute)</c:v>
                  </c:pt>
                  <c:pt idx="327">
                    <c:v>Rolling Mean (30 Minute)</c:v>
                  </c:pt>
                  <c:pt idx="328">
                    <c:v>Rolling Mean (30 Minute)</c:v>
                  </c:pt>
                  <c:pt idx="329">
                    <c:v>Rolling Mean (30 Minute)</c:v>
                  </c:pt>
                  <c:pt idx="330">
                    <c:v>Rolling Mean (30 Minute)</c:v>
                  </c:pt>
                  <c:pt idx="331">
                    <c:v>Rolling Mean (30 Minute)</c:v>
                  </c:pt>
                  <c:pt idx="332">
                    <c:v>Rolling Mean (30 Minute)</c:v>
                  </c:pt>
                  <c:pt idx="333">
                    <c:v>Rolling Mean (30 Minute)</c:v>
                  </c:pt>
                  <c:pt idx="334">
                    <c:v>Rolling Mean (30 Minute)</c:v>
                  </c:pt>
                  <c:pt idx="335">
                    <c:v>Rolling Mean (30 Minute)</c:v>
                  </c:pt>
                  <c:pt idx="336">
                    <c:v>Rolling Mean (30 Minute)</c:v>
                  </c:pt>
                  <c:pt idx="337">
                    <c:v>Rolling Mean (30 Minute)</c:v>
                  </c:pt>
                  <c:pt idx="338">
                    <c:v>Rolling Mean (30 Minute)</c:v>
                  </c:pt>
                  <c:pt idx="339">
                    <c:v>Rolling Mean (30 Minute)</c:v>
                  </c:pt>
                  <c:pt idx="340">
                    <c:v>Rolling Mean (30 Minute)</c:v>
                  </c:pt>
                  <c:pt idx="341">
                    <c:v>Rolling Mean (30 Minute)</c:v>
                  </c:pt>
                  <c:pt idx="342">
                    <c:v>Rolling Mean (30 Minute)</c:v>
                  </c:pt>
                  <c:pt idx="343">
                    <c:v>Rolling Mean (30 Minute)</c:v>
                  </c:pt>
                  <c:pt idx="344">
                    <c:v>Rolling Mean (30 Minute)</c:v>
                  </c:pt>
                  <c:pt idx="345">
                    <c:v>Rolling Mean (30 Minute)</c:v>
                  </c:pt>
                  <c:pt idx="346">
                    <c:v>Rolling Mean (30 Minute)</c:v>
                  </c:pt>
                  <c:pt idx="347">
                    <c:v>Rolling Mean (30 Minute)</c:v>
                  </c:pt>
                  <c:pt idx="348">
                    <c:v>Rolling Mean (30 Minute)</c:v>
                  </c:pt>
                  <c:pt idx="349">
                    <c:v>Rolling Mean (30 Minute)</c:v>
                  </c:pt>
                  <c:pt idx="350">
                    <c:v>Rolling Mean (30 Minute)</c:v>
                  </c:pt>
                  <c:pt idx="351">
                    <c:v>Rolling Mean (30 Minute)</c:v>
                  </c:pt>
                  <c:pt idx="352">
                    <c:v>Rolling Mean (30 Minute)</c:v>
                  </c:pt>
                  <c:pt idx="353">
                    <c:v>Rolling Mean (30 Minute)</c:v>
                  </c:pt>
                  <c:pt idx="354">
                    <c:v>Rolling Mean (30 Minute)</c:v>
                  </c:pt>
                  <c:pt idx="355">
                    <c:v>Rolling Mean (30 Minute)</c:v>
                  </c:pt>
                  <c:pt idx="356">
                    <c:v>Rolling Mean (30 Minute)</c:v>
                  </c:pt>
                  <c:pt idx="357">
                    <c:v>Rolling Mean (30 Minute)</c:v>
                  </c:pt>
                  <c:pt idx="358">
                    <c:v>Rolling Mean (30 Minute)</c:v>
                  </c:pt>
                  <c:pt idx="359">
                    <c:v>Rolling Mean (30 Minute)</c:v>
                  </c:pt>
                  <c:pt idx="360">
                    <c:v>Rolling Mean (30 Minute)</c:v>
                  </c:pt>
                  <c:pt idx="361">
                    <c:v>Rolling Mean (30 Minute)</c:v>
                  </c:pt>
                  <c:pt idx="362">
                    <c:v>Rolling Mean (30 Minute)</c:v>
                  </c:pt>
                  <c:pt idx="363">
                    <c:v>Rolling Mean (30 Minute)</c:v>
                  </c:pt>
                  <c:pt idx="364">
                    <c:v>Rolling Mean (30 Minute)</c:v>
                  </c:pt>
                  <c:pt idx="365">
                    <c:v>Rolling Mean (30 Minute)</c:v>
                  </c:pt>
                  <c:pt idx="366">
                    <c:v>Rolling Mean (30 Minute)</c:v>
                  </c:pt>
                  <c:pt idx="367">
                    <c:v>Rolling Mean (30 Minute)</c:v>
                  </c:pt>
                  <c:pt idx="368">
                    <c:v>Rolling Mean (30 Minute)</c:v>
                  </c:pt>
                  <c:pt idx="369">
                    <c:v>Rolling Mean (30 Minute)</c:v>
                  </c:pt>
                  <c:pt idx="370">
                    <c:v>Rolling Mean (30 Minute)</c:v>
                  </c:pt>
                  <c:pt idx="371">
                    <c:v>Rolling Mean (30 Minute)</c:v>
                  </c:pt>
                  <c:pt idx="372">
                    <c:v>Rolling Mean (30 Minute)</c:v>
                  </c:pt>
                  <c:pt idx="373">
                    <c:v>Rolling Mean (30 Minute)</c:v>
                  </c:pt>
                  <c:pt idx="374">
                    <c:v>Rolling Mean (30 Minute)</c:v>
                  </c:pt>
                  <c:pt idx="375">
                    <c:v>Rolling Mean (30 Minute)</c:v>
                  </c:pt>
                  <c:pt idx="376">
                    <c:v>Rolling Mean (30 Minute)</c:v>
                  </c:pt>
                  <c:pt idx="377">
                    <c:v>Rolling Mean (30 Minute)</c:v>
                  </c:pt>
                  <c:pt idx="378">
                    <c:v>Rolling Mean (30 Minute)</c:v>
                  </c:pt>
                  <c:pt idx="379">
                    <c:v>Rolling Mean (30 Minute)</c:v>
                  </c:pt>
                  <c:pt idx="380">
                    <c:v>Rolling Mean (30 Minute)</c:v>
                  </c:pt>
                  <c:pt idx="381">
                    <c:v>Rolling Mean (30 Minute)</c:v>
                  </c:pt>
                  <c:pt idx="382">
                    <c:v>Rolling Mean (30 Minute)</c:v>
                  </c:pt>
                  <c:pt idx="383">
                    <c:v>Rolling Mean (30 Minute)</c:v>
                  </c:pt>
                  <c:pt idx="384">
                    <c:v>Rolling Mean (30 Minute)</c:v>
                  </c:pt>
                  <c:pt idx="385">
                    <c:v>Rolling Mean (30 Minute)</c:v>
                  </c:pt>
                  <c:pt idx="386">
                    <c:v>Rolling Mean (30 Minute)</c:v>
                  </c:pt>
                  <c:pt idx="387">
                    <c:v>Rolling Mean (30 Minute)</c:v>
                  </c:pt>
                  <c:pt idx="388">
                    <c:v>Rolling Mean (30 Minute)</c:v>
                  </c:pt>
                  <c:pt idx="389">
                    <c:v>Rolling Mean (30 Minute)</c:v>
                  </c:pt>
                  <c:pt idx="390">
                    <c:v>Rolling Mean (30 Minute)</c:v>
                  </c:pt>
                  <c:pt idx="391">
                    <c:v>Rolling Mean (30 Minute)</c:v>
                  </c:pt>
                  <c:pt idx="392">
                    <c:v>Rolling Mean (30 Minute)</c:v>
                  </c:pt>
                  <c:pt idx="393">
                    <c:v>Rolling Mean (30 Minute)</c:v>
                  </c:pt>
                  <c:pt idx="394">
                    <c:v>Rolling Mean (30 Minute)</c:v>
                  </c:pt>
                  <c:pt idx="395">
                    <c:v>Rolling Mean (30 Minute)</c:v>
                  </c:pt>
                  <c:pt idx="396">
                    <c:v>Rolling Mean (30 Minute)</c:v>
                  </c:pt>
                  <c:pt idx="397">
                    <c:v>Rolling Mean (30 Minute)</c:v>
                  </c:pt>
                  <c:pt idx="398">
                    <c:v>Rolling Mean (30 Minute)</c:v>
                  </c:pt>
                  <c:pt idx="399">
                    <c:v>Rolling Mean (30 Minute)</c:v>
                  </c:pt>
                  <c:pt idx="400">
                    <c:v>Rolling Mean (30 Minute)</c:v>
                  </c:pt>
                  <c:pt idx="401">
                    <c:v>Rolling Mean (30 Minute)</c:v>
                  </c:pt>
                  <c:pt idx="402">
                    <c:v>Rolling Mean (30 Minute)</c:v>
                  </c:pt>
                  <c:pt idx="403">
                    <c:v>Rolling Mean (30 Minute)</c:v>
                  </c:pt>
                  <c:pt idx="404">
                    <c:v>Rolling Mean (30 Minute)</c:v>
                  </c:pt>
                  <c:pt idx="405">
                    <c:v>Rolling Mean (30 Minute)</c:v>
                  </c:pt>
                  <c:pt idx="406">
                    <c:v>Rolling Mean (30 Minute)</c:v>
                  </c:pt>
                  <c:pt idx="407">
                    <c:v>Rolling Mean (30 Minute)</c:v>
                  </c:pt>
                  <c:pt idx="408">
                    <c:v>Rolling Mean (30 Minute)</c:v>
                  </c:pt>
                  <c:pt idx="409">
                    <c:v>Rolling Mean (30 Minute)</c:v>
                  </c:pt>
                  <c:pt idx="410">
                    <c:v>Rolling Mean (30 Minute)</c:v>
                  </c:pt>
                  <c:pt idx="411">
                    <c:v>Rolling Mean (30 Minute)</c:v>
                  </c:pt>
                  <c:pt idx="412">
                    <c:v>Rolling Mean (30 Minute)</c:v>
                  </c:pt>
                  <c:pt idx="413">
                    <c:v>Rolling Mean (30 Minute)</c:v>
                  </c:pt>
                  <c:pt idx="414">
                    <c:v>Rolling Mean (30 Minute)</c:v>
                  </c:pt>
                  <c:pt idx="415">
                    <c:v>Rolling Mean (30 Minute)</c:v>
                  </c:pt>
                  <c:pt idx="416">
                    <c:v>Rolling Mean (30 Minute)</c:v>
                  </c:pt>
                  <c:pt idx="417">
                    <c:v>Rolling Mean (30 Minute)</c:v>
                  </c:pt>
                  <c:pt idx="418">
                    <c:v>Rolling Mean (30 Minute)</c:v>
                  </c:pt>
                  <c:pt idx="419">
                    <c:v>Rolling Mean (30 Minute)</c:v>
                  </c:pt>
                  <c:pt idx="420">
                    <c:v>Rolling Mean (30 Minute)</c:v>
                  </c:pt>
                  <c:pt idx="421">
                    <c:v>Rolling Mean (30 Minute)</c:v>
                  </c:pt>
                  <c:pt idx="422">
                    <c:v>Rolling Mean (30 Minute)</c:v>
                  </c:pt>
                  <c:pt idx="423">
                    <c:v>Rolling Mean (30 Minute)</c:v>
                  </c:pt>
                  <c:pt idx="424">
                    <c:v>Rolling Mean (30 Minute)</c:v>
                  </c:pt>
                  <c:pt idx="425">
                    <c:v>Rolling Mean (30 Minute)</c:v>
                  </c:pt>
                  <c:pt idx="426">
                    <c:v>Rolling Mean (30 Minute)</c:v>
                  </c:pt>
                  <c:pt idx="427">
                    <c:v>Rolling Mean (30 Minute)</c:v>
                  </c:pt>
                  <c:pt idx="428">
                    <c:v>Rolling Mean (30 Minute)</c:v>
                  </c:pt>
                  <c:pt idx="429">
                    <c:v>Rolling Mean (30 Minute)</c:v>
                  </c:pt>
                  <c:pt idx="430">
                    <c:v>Rolling Mean (30 Minute)</c:v>
                  </c:pt>
                  <c:pt idx="431">
                    <c:v>Rolling Mean (30 Minute)</c:v>
                  </c:pt>
                  <c:pt idx="432">
                    <c:v>Rolling Mean (30 Minute)</c:v>
                  </c:pt>
                  <c:pt idx="433">
                    <c:v>Rolling Mean (30 Minute)</c:v>
                  </c:pt>
                  <c:pt idx="434">
                    <c:v>Rolling Mean (30 Minute)</c:v>
                  </c:pt>
                  <c:pt idx="435">
                    <c:v>Rolling Mean (30 Minute)</c:v>
                  </c:pt>
                  <c:pt idx="436">
                    <c:v>Rolling Mean (30 Minute)</c:v>
                  </c:pt>
                  <c:pt idx="437">
                    <c:v>Rolling Mean (30 Minute)</c:v>
                  </c:pt>
                  <c:pt idx="438">
                    <c:v>Rolling Mean (30 Minute)</c:v>
                  </c:pt>
                  <c:pt idx="439">
                    <c:v>Rolling Mean (30 Minute)</c:v>
                  </c:pt>
                  <c:pt idx="440">
                    <c:v>Rolling Mean (30 Minute)</c:v>
                  </c:pt>
                  <c:pt idx="441">
                    <c:v>Rolling Mean (30 Minute)</c:v>
                  </c:pt>
                  <c:pt idx="442">
                    <c:v>Rolling Mean (30 Minute)</c:v>
                  </c:pt>
                  <c:pt idx="443">
                    <c:v>Rolling Mean (30 Minute)</c:v>
                  </c:pt>
                  <c:pt idx="444">
                    <c:v>Rolling Mean (30 Minute)</c:v>
                  </c:pt>
                  <c:pt idx="445">
                    <c:v>Rolling Mean (30 Minute)</c:v>
                  </c:pt>
                  <c:pt idx="446">
                    <c:v>Rolling Mean (30 Minute)</c:v>
                  </c:pt>
                  <c:pt idx="447">
                    <c:v>Rolling Mean (30 Minute)</c:v>
                  </c:pt>
                  <c:pt idx="448">
                    <c:v>Rolling Mean (30 Minute)</c:v>
                  </c:pt>
                  <c:pt idx="449">
                    <c:v>Rolling Mean (30 Minute)</c:v>
                  </c:pt>
                  <c:pt idx="450">
                    <c:v>Rolling Mean (30 Minute)</c:v>
                  </c:pt>
                  <c:pt idx="451">
                    <c:v>Rolling Mean (30 Minute)</c:v>
                  </c:pt>
                  <c:pt idx="452">
                    <c:v>Rolling Mean (30 Minute)</c:v>
                  </c:pt>
                  <c:pt idx="453">
                    <c:v>Rolling Mean (30 Minute)</c:v>
                  </c:pt>
                  <c:pt idx="454">
                    <c:v>Rolling Mean (30 Minute)</c:v>
                  </c:pt>
                  <c:pt idx="455">
                    <c:v>Rolling Mean (30 Minute)</c:v>
                  </c:pt>
                  <c:pt idx="456">
                    <c:v>Rolling Mean (30 Minute)</c:v>
                  </c:pt>
                  <c:pt idx="457">
                    <c:v>Rolling Mean (30 Minute)</c:v>
                  </c:pt>
                  <c:pt idx="458">
                    <c:v>Rolling Mean (30 Minute)</c:v>
                  </c:pt>
                  <c:pt idx="459">
                    <c:v>Rolling Mean (30 Minute)</c:v>
                  </c:pt>
                  <c:pt idx="460">
                    <c:v>Rolling Mean (30 Minute)</c:v>
                  </c:pt>
                  <c:pt idx="461">
                    <c:v>Rolling Mean (30 Minute)</c:v>
                  </c:pt>
                  <c:pt idx="462">
                    <c:v>Rolling Mean (30 Minute)</c:v>
                  </c:pt>
                  <c:pt idx="463">
                    <c:v>Rolling Mean (30 Minute)</c:v>
                  </c:pt>
                  <c:pt idx="464">
                    <c:v>Rolling Mean (30 Minute)</c:v>
                  </c:pt>
                  <c:pt idx="465">
                    <c:v>Rolling Mean (30 Minute)</c:v>
                  </c:pt>
                  <c:pt idx="466">
                    <c:v>Rolling Mean (30 Minute)</c:v>
                  </c:pt>
                  <c:pt idx="467">
                    <c:v>Rolling Mean (30 Minute)</c:v>
                  </c:pt>
                  <c:pt idx="468">
                    <c:v>Rolling Mean (30 Minute)</c:v>
                  </c:pt>
                  <c:pt idx="469">
                    <c:v>Rolling Mean (30 Minute)</c:v>
                  </c:pt>
                  <c:pt idx="470">
                    <c:v>Rolling Mean (30 Minute)</c:v>
                  </c:pt>
                  <c:pt idx="471">
                    <c:v>Rolling Mean (30 Minute)</c:v>
                  </c:pt>
                  <c:pt idx="472">
                    <c:v>Rolling Mean (30 Minute)</c:v>
                  </c:pt>
                  <c:pt idx="473">
                    <c:v>Rolling Mean (30 Minute)</c:v>
                  </c:pt>
                  <c:pt idx="474">
                    <c:v>Rolling Mean (30 Minute)</c:v>
                  </c:pt>
                  <c:pt idx="475">
                    <c:v>Rolling Mean (30 Minute)</c:v>
                  </c:pt>
                  <c:pt idx="476">
                    <c:v>Rolling Mean (30 Minute)</c:v>
                  </c:pt>
                  <c:pt idx="477">
                    <c:v>Rolling Mean (30 Minute)</c:v>
                  </c:pt>
                  <c:pt idx="478">
                    <c:v>Rolling Mean (30 Minute)</c:v>
                  </c:pt>
                  <c:pt idx="479">
                    <c:v>Rolling Mean (30 Minute)</c:v>
                  </c:pt>
                  <c:pt idx="480">
                    <c:v>Rolling Mean (30 Minute)</c:v>
                  </c:pt>
                  <c:pt idx="481">
                    <c:v>Rolling Mean (30 Minute)</c:v>
                  </c:pt>
                  <c:pt idx="482">
                    <c:v>Rolling Mean (30 Minute)</c:v>
                  </c:pt>
                  <c:pt idx="483">
                    <c:v>Rolling Mean (30 Minute)</c:v>
                  </c:pt>
                  <c:pt idx="484">
                    <c:v>Rolling Mean (30 Minute)</c:v>
                  </c:pt>
                  <c:pt idx="485">
                    <c:v>Rolling Mean (30 Minute)</c:v>
                  </c:pt>
                  <c:pt idx="486">
                    <c:v>Rolling Mean (30 Minute)</c:v>
                  </c:pt>
                  <c:pt idx="487">
                    <c:v>Rolling Mean (30 Minute)</c:v>
                  </c:pt>
                  <c:pt idx="488">
                    <c:v>Rolling Mean (30 Minute)</c:v>
                  </c:pt>
                  <c:pt idx="489">
                    <c:v>Rolling Mean (30 Minute)</c:v>
                  </c:pt>
                  <c:pt idx="490">
                    <c:v>Rolling Mean (30 Minute)</c:v>
                  </c:pt>
                  <c:pt idx="491">
                    <c:v>Rolling Mean (30 Minute)</c:v>
                  </c:pt>
                  <c:pt idx="492">
                    <c:v>Rolling Mean (30 Minute)</c:v>
                  </c:pt>
                  <c:pt idx="493">
                    <c:v>Rolling Mean (30 Minute)</c:v>
                  </c:pt>
                  <c:pt idx="494">
                    <c:v>Rolling Mean (30 Minute)</c:v>
                  </c:pt>
                  <c:pt idx="495">
                    <c:v>Rolling Mean (30 Minute)</c:v>
                  </c:pt>
                  <c:pt idx="496">
                    <c:v>Rolling Mean (30 Minute)</c:v>
                  </c:pt>
                  <c:pt idx="497">
                    <c:v>Rolling Mean (30 Minute)</c:v>
                  </c:pt>
                  <c:pt idx="498">
                    <c:v>Rolling Mean (30 Minute)</c:v>
                  </c:pt>
                  <c:pt idx="499">
                    <c:v>Rolling Mean (30 Minute)</c:v>
                  </c:pt>
                  <c:pt idx="500">
                    <c:v>Rolling Mean (30 Minute)</c:v>
                  </c:pt>
                  <c:pt idx="501">
                    <c:v>Rolling Mean (30 Minute)</c:v>
                  </c:pt>
                  <c:pt idx="502">
                    <c:v>Rolling Mean (30 Minute)</c:v>
                  </c:pt>
                  <c:pt idx="503">
                    <c:v>Rolling Mean (30 Minute)</c:v>
                  </c:pt>
                  <c:pt idx="504">
                    <c:v>Rolling Mean (30 Minute)</c:v>
                  </c:pt>
                  <c:pt idx="505">
                    <c:v>Rolling Mean (30 Minute)</c:v>
                  </c:pt>
                  <c:pt idx="506">
                    <c:v>Rolling Mean (30 Minute)</c:v>
                  </c:pt>
                  <c:pt idx="507">
                    <c:v>Rolling Mean (30 Minute)</c:v>
                  </c:pt>
                  <c:pt idx="508">
                    <c:v>Rolling Mean (30 Minute)</c:v>
                  </c:pt>
                  <c:pt idx="509">
                    <c:v>Rolling Mean (30 Minute)</c:v>
                  </c:pt>
                  <c:pt idx="510">
                    <c:v>Rolling Mean (30 Minute)</c:v>
                  </c:pt>
                  <c:pt idx="511">
                    <c:v>Rolling Mean (30 Minute)</c:v>
                  </c:pt>
                  <c:pt idx="512">
                    <c:v>Rolling Mean (30 Minute)</c:v>
                  </c:pt>
                  <c:pt idx="513">
                    <c:v>Rolling Mean (30 Minute)</c:v>
                  </c:pt>
                  <c:pt idx="514">
                    <c:v>Rolling Mean (30 Minute)</c:v>
                  </c:pt>
                  <c:pt idx="515">
                    <c:v>Rolling Mean (30 Minute)</c:v>
                  </c:pt>
                  <c:pt idx="516">
                    <c:v>Rolling Mean (30 Minute)</c:v>
                  </c:pt>
                  <c:pt idx="517">
                    <c:v>Rolling Mean (30 Minute)</c:v>
                  </c:pt>
                  <c:pt idx="518">
                    <c:v>Rolling Mean (30 Minute)</c:v>
                  </c:pt>
                  <c:pt idx="519">
                    <c:v>Rolling Mean (30 Minute)</c:v>
                  </c:pt>
                  <c:pt idx="520">
                    <c:v>Rolling Mean (30 Minute)</c:v>
                  </c:pt>
                  <c:pt idx="521">
                    <c:v>Rolling Mean (30 Minute)</c:v>
                  </c:pt>
                  <c:pt idx="522">
                    <c:v>Rolling Mean (30 Minute)</c:v>
                  </c:pt>
                  <c:pt idx="523">
                    <c:v>Rolling Mean (30 Minute)</c:v>
                  </c:pt>
                  <c:pt idx="524">
                    <c:v>Rolling Mean (30 Minute)</c:v>
                  </c:pt>
                  <c:pt idx="525">
                    <c:v>Rolling Mean (30 Minute)</c:v>
                  </c:pt>
                  <c:pt idx="526">
                    <c:v>Rolling Mean (30 Minute)</c:v>
                  </c:pt>
                  <c:pt idx="527">
                    <c:v>Rolling Mean (30 Minute)</c:v>
                  </c:pt>
                  <c:pt idx="528">
                    <c:v>Rolling Mean (30 Minute)</c:v>
                  </c:pt>
                  <c:pt idx="529">
                    <c:v>Rolling Mean (30 Minute)</c:v>
                  </c:pt>
                  <c:pt idx="530">
                    <c:v>Rolling Mean (30 Minute)</c:v>
                  </c:pt>
                  <c:pt idx="531">
                    <c:v>Rolling Mean (30 Minute)</c:v>
                  </c:pt>
                  <c:pt idx="532">
                    <c:v>Rolling Mean (30 Minute)</c:v>
                  </c:pt>
                  <c:pt idx="533">
                    <c:v>Rolling Mean (30 Minute)</c:v>
                  </c:pt>
                  <c:pt idx="534">
                    <c:v>Rolling Mean (30 Minute)</c:v>
                  </c:pt>
                  <c:pt idx="535">
                    <c:v>Rolling Mean (30 Minute)</c:v>
                  </c:pt>
                  <c:pt idx="536">
                    <c:v>Rolling Mean (30 Minute)</c:v>
                  </c:pt>
                  <c:pt idx="537">
                    <c:v>Rolling Mean (30 Minute)</c:v>
                  </c:pt>
                  <c:pt idx="538">
                    <c:v>Rolling Mean (30 Minute)</c:v>
                  </c:pt>
                  <c:pt idx="539">
                    <c:v>Rolling Mean (30 Minute)</c:v>
                  </c:pt>
                  <c:pt idx="540">
                    <c:v>Rolling Mean (30 Minute)</c:v>
                  </c:pt>
                  <c:pt idx="541">
                    <c:v>Rolling Mean (30 Minute)</c:v>
                  </c:pt>
                  <c:pt idx="542">
                    <c:v>Rolling Mean (30 Minute)</c:v>
                  </c:pt>
                  <c:pt idx="543">
                    <c:v>Rolling Mean (30 Minute)</c:v>
                  </c:pt>
                  <c:pt idx="544">
                    <c:v>Rolling Mean (30 Minute)</c:v>
                  </c:pt>
                  <c:pt idx="545">
                    <c:v>Rolling Mean (30 Minute)</c:v>
                  </c:pt>
                  <c:pt idx="546">
                    <c:v>Rolling Mean (30 Minute)</c:v>
                  </c:pt>
                  <c:pt idx="547">
                    <c:v>Rolling Mean (30 Minute)</c:v>
                  </c:pt>
                  <c:pt idx="548">
                    <c:v>Rolling Mean (30 Minute)</c:v>
                  </c:pt>
                  <c:pt idx="549">
                    <c:v>Rolling Mean (30 Minute)</c:v>
                  </c:pt>
                  <c:pt idx="550">
                    <c:v>Rolling Mean (30 Minute)</c:v>
                  </c:pt>
                  <c:pt idx="551">
                    <c:v>Rolling Mean (30 Minute)</c:v>
                  </c:pt>
                  <c:pt idx="552">
                    <c:v>Rolling Mean (30 Minute)</c:v>
                  </c:pt>
                  <c:pt idx="553">
                    <c:v>Rolling Mean (30 Minute)</c:v>
                  </c:pt>
                  <c:pt idx="554">
                    <c:v>Rolling Mean (30 Minute)</c:v>
                  </c:pt>
                  <c:pt idx="555">
                    <c:v>Rolling Mean (30 Minute)</c:v>
                  </c:pt>
                  <c:pt idx="556">
                    <c:v>Rolling Mean (30 Minute)</c:v>
                  </c:pt>
                  <c:pt idx="557">
                    <c:v>Rolling Mean (30 Minute)</c:v>
                  </c:pt>
                  <c:pt idx="558">
                    <c:v>Rolling Mean (30 Minute)</c:v>
                  </c:pt>
                  <c:pt idx="559">
                    <c:v>Rolling Mean (30 Minute)</c:v>
                  </c:pt>
                  <c:pt idx="560">
                    <c:v>Rolling Mean (30 Minute)</c:v>
                  </c:pt>
                  <c:pt idx="561">
                    <c:v>Rolling Mean (30 Minute)</c:v>
                  </c:pt>
                  <c:pt idx="562">
                    <c:v>Rolling Mean (30 Minute)</c:v>
                  </c:pt>
                  <c:pt idx="563">
                    <c:v>Rolling Mean (30 Minute)</c:v>
                  </c:pt>
                  <c:pt idx="564">
                    <c:v>Rolling Mean (30 Minute)</c:v>
                  </c:pt>
                  <c:pt idx="565">
                    <c:v>Rolling Mean (30 Minute)</c:v>
                  </c:pt>
                  <c:pt idx="566">
                    <c:v>Rolling Mean (30 Minute)</c:v>
                  </c:pt>
                  <c:pt idx="567">
                    <c:v>Rolling Mean (30 Minute)</c:v>
                  </c:pt>
                  <c:pt idx="568">
                    <c:v>Rolling Mean (30 Minute)</c:v>
                  </c:pt>
                  <c:pt idx="569">
                    <c:v>Rolling Mean (30 Minute)</c:v>
                  </c:pt>
                  <c:pt idx="570">
                    <c:v>Rolling Mean (30 Minute)</c:v>
                  </c:pt>
                  <c:pt idx="571">
                    <c:v>Rolling Mean (30 Minute)</c:v>
                  </c:pt>
                  <c:pt idx="572">
                    <c:v>Rolling Mean (30 Minute)</c:v>
                  </c:pt>
                  <c:pt idx="573">
                    <c:v>Rolling Mean (30 Minute)</c:v>
                  </c:pt>
                  <c:pt idx="574">
                    <c:v>Rolling Mean (30 Minute)</c:v>
                  </c:pt>
                  <c:pt idx="575">
                    <c:v>Rolling Mean (30 Minute)</c:v>
                  </c:pt>
                  <c:pt idx="576">
                    <c:v>Rolling Mean (30 Minute)</c:v>
                  </c:pt>
                  <c:pt idx="577">
                    <c:v>Rolling Mean (30 Minute)</c:v>
                  </c:pt>
                  <c:pt idx="578">
                    <c:v>Rolling Mean (30 Minute)</c:v>
                  </c:pt>
                  <c:pt idx="579">
                    <c:v>Rolling Mean (30 Minute)</c:v>
                  </c:pt>
                  <c:pt idx="580">
                    <c:v>Rolling Mean (30 Minute)</c:v>
                  </c:pt>
                  <c:pt idx="581">
                    <c:v>Rolling Mean (30 Minute)</c:v>
                  </c:pt>
                  <c:pt idx="582">
                    <c:v>Rolling Mean (30 Minute)</c:v>
                  </c:pt>
                  <c:pt idx="583">
                    <c:v>Rolling Mean (30 Minute)</c:v>
                  </c:pt>
                  <c:pt idx="584">
                    <c:v>Rolling Mean (30 Minute)</c:v>
                  </c:pt>
                  <c:pt idx="585">
                    <c:v>Rolling Mean (30 Minute)</c:v>
                  </c:pt>
                  <c:pt idx="586">
                    <c:v>Rolling Mean (30 Minute)</c:v>
                  </c:pt>
                  <c:pt idx="587">
                    <c:v>Rolling Mean (30 Minute)</c:v>
                  </c:pt>
                  <c:pt idx="588">
                    <c:v>Rolling Mean (30 Minute)</c:v>
                  </c:pt>
                  <c:pt idx="589">
                    <c:v>Rolling Mean (30 Minute)</c:v>
                  </c:pt>
                  <c:pt idx="590">
                    <c:v>Rolling Mean (30 Minute)</c:v>
                  </c:pt>
                  <c:pt idx="591">
                    <c:v>Rolling Mean (30 Minute)</c:v>
                  </c:pt>
                  <c:pt idx="592">
                    <c:v>Rolling Mean (30 Minute)</c:v>
                  </c:pt>
                  <c:pt idx="593">
                    <c:v>Rolling Mean (30 Minute)</c:v>
                  </c:pt>
                  <c:pt idx="594">
                    <c:v>Rolling Mean (30 Minute)</c:v>
                  </c:pt>
                  <c:pt idx="595">
                    <c:v>Rolling Mean (30 Minute)</c:v>
                  </c:pt>
                  <c:pt idx="596">
                    <c:v>Rolling Mean (30 Minute)</c:v>
                  </c:pt>
                  <c:pt idx="597">
                    <c:v>Rolling Mean (30 Minute)</c:v>
                  </c:pt>
                  <c:pt idx="598">
                    <c:v>Rolling Mean (30 Minute)</c:v>
                  </c:pt>
                  <c:pt idx="599">
                    <c:v>Rolling Mean (30 Minute)</c:v>
                  </c:pt>
                  <c:pt idx="600">
                    <c:v>Rolling Mean (30 Minute)</c:v>
                  </c:pt>
                  <c:pt idx="601">
                    <c:v>Rolling Mean (30 Minute)</c:v>
                  </c:pt>
                  <c:pt idx="602">
                    <c:v>Rolling Mean (30 Minute)</c:v>
                  </c:pt>
                  <c:pt idx="603">
                    <c:v>Rolling Mean (30 Minute)</c:v>
                  </c:pt>
                  <c:pt idx="604">
                    <c:v>Rolling Mean (30 Minute)</c:v>
                  </c:pt>
                  <c:pt idx="605">
                    <c:v>Rolling Mean (30 Minute)</c:v>
                  </c:pt>
                  <c:pt idx="606">
                    <c:v>Rolling Mean (30 Minute)</c:v>
                  </c:pt>
                  <c:pt idx="607">
                    <c:v>Rolling Mean (30 Minute)</c:v>
                  </c:pt>
                  <c:pt idx="608">
                    <c:v>Rolling Mean (30 Minute)</c:v>
                  </c:pt>
                  <c:pt idx="609">
                    <c:v>Rolling Mean (30 Minute)</c:v>
                  </c:pt>
                  <c:pt idx="610">
                    <c:v>Rolling Mean (30 Minute)</c:v>
                  </c:pt>
                  <c:pt idx="611">
                    <c:v>Rolling Mean (30 Minute)</c:v>
                  </c:pt>
                  <c:pt idx="612">
                    <c:v>Rolling Mean (30 Minute)</c:v>
                  </c:pt>
                  <c:pt idx="613">
                    <c:v>Rolling Mean (30 Minute)</c:v>
                  </c:pt>
                  <c:pt idx="614">
                    <c:v>Rolling Mean (30 Minute)</c:v>
                  </c:pt>
                  <c:pt idx="615">
                    <c:v>Rolling Mean (30 Minute)</c:v>
                  </c:pt>
                  <c:pt idx="616">
                    <c:v>Rolling Mean (30 Minute)</c:v>
                  </c:pt>
                  <c:pt idx="617">
                    <c:v>Rolling Mean (30 Minute)</c:v>
                  </c:pt>
                  <c:pt idx="618">
                    <c:v>Rolling Mean (30 Minute)</c:v>
                  </c:pt>
                  <c:pt idx="619">
                    <c:v>Rolling Mean (30 Minute)</c:v>
                  </c:pt>
                  <c:pt idx="620">
                    <c:v>Rolling Mean (30 Minute)</c:v>
                  </c:pt>
                  <c:pt idx="621">
                    <c:v>Rolling Mean (30 Minute)</c:v>
                  </c:pt>
                  <c:pt idx="622">
                    <c:v>Rolling Mean (30 Minute)</c:v>
                  </c:pt>
                  <c:pt idx="623">
                    <c:v>Rolling Mean (30 Minute)</c:v>
                  </c:pt>
                  <c:pt idx="624">
                    <c:v>Rolling Mean (30 Minute)</c:v>
                  </c:pt>
                  <c:pt idx="625">
                    <c:v>Rolling Mean (30 Minute)</c:v>
                  </c:pt>
                  <c:pt idx="626">
                    <c:v>Rolling Mean (30 Minute)</c:v>
                  </c:pt>
                  <c:pt idx="627">
                    <c:v>Rolling Mean (30 Minute)</c:v>
                  </c:pt>
                  <c:pt idx="628">
                    <c:v>Rolling Mean (30 Minute)</c:v>
                  </c:pt>
                  <c:pt idx="629">
                    <c:v>Rolling Mean (30 Minute)</c:v>
                  </c:pt>
                  <c:pt idx="630">
                    <c:v>Rolling Mean (30 Minute)</c:v>
                  </c:pt>
                  <c:pt idx="631">
                    <c:v>Rolling Mean (30 Minute)</c:v>
                  </c:pt>
                  <c:pt idx="632">
                    <c:v>Rolling Mean (30 Minute)</c:v>
                  </c:pt>
                  <c:pt idx="633">
                    <c:v>Rolling Mean (30 Minute)</c:v>
                  </c:pt>
                  <c:pt idx="634">
                    <c:v>Rolling Mean (30 Minute)</c:v>
                  </c:pt>
                  <c:pt idx="635">
                    <c:v>Rolling Mean (30 Minute)</c:v>
                  </c:pt>
                  <c:pt idx="636">
                    <c:v>Rolling Mean (30 Minute)</c:v>
                  </c:pt>
                  <c:pt idx="637">
                    <c:v>Rolling Mean (30 Minute)</c:v>
                  </c:pt>
                  <c:pt idx="638">
                    <c:v>Rolling Mean (30 Minute)</c:v>
                  </c:pt>
                  <c:pt idx="639">
                    <c:v>Rolling Mean (30 Minute)</c:v>
                  </c:pt>
                  <c:pt idx="640">
                    <c:v>Rolling Mean (30 Minute)</c:v>
                  </c:pt>
                  <c:pt idx="641">
                    <c:v>Rolling Mean (30 Minute)</c:v>
                  </c:pt>
                  <c:pt idx="642">
                    <c:v>Rolling Mean (30 Minute)</c:v>
                  </c:pt>
                  <c:pt idx="643">
                    <c:v>Rolling Mean (30 Minute)</c:v>
                  </c:pt>
                  <c:pt idx="644">
                    <c:v>Rolling Mean (30 Minute)</c:v>
                  </c:pt>
                  <c:pt idx="645">
                    <c:v>Rolling Mean (30 Minute)</c:v>
                  </c:pt>
                  <c:pt idx="646">
                    <c:v>Rolling Mean (30 Minute)</c:v>
                  </c:pt>
                  <c:pt idx="647">
                    <c:v>Rolling Mean (30 Minute)</c:v>
                  </c:pt>
                  <c:pt idx="648">
                    <c:v>Rolling Mean (30 Minute)</c:v>
                  </c:pt>
                  <c:pt idx="649">
                    <c:v>Rolling Mean (30 Minute)</c:v>
                  </c:pt>
                  <c:pt idx="650">
                    <c:v>Rolling Mean (30 Minute)</c:v>
                  </c:pt>
                  <c:pt idx="651">
                    <c:v>Rolling Mean (30 Minute)</c:v>
                  </c:pt>
                  <c:pt idx="652">
                    <c:v>Rolling Mean (30 Minute)</c:v>
                  </c:pt>
                  <c:pt idx="653">
                    <c:v>Rolling Mean (30 Minute)</c:v>
                  </c:pt>
                  <c:pt idx="654">
                    <c:v>Rolling Mean (30 Minute)</c:v>
                  </c:pt>
                  <c:pt idx="655">
                    <c:v>Rolling Mean (30 Minute)</c:v>
                  </c:pt>
                  <c:pt idx="656">
                    <c:v>Rolling Mean (30 Minute)</c:v>
                  </c:pt>
                  <c:pt idx="657">
                    <c:v>Rolling Mean (30 Minute)</c:v>
                  </c:pt>
                  <c:pt idx="658">
                    <c:v>Rolling Mean (30 Minute)</c:v>
                  </c:pt>
                  <c:pt idx="659">
                    <c:v>Rolling Mean (30 Minute)</c:v>
                  </c:pt>
                  <c:pt idx="660">
                    <c:v>Rolling Mean (30 Minute)</c:v>
                  </c:pt>
                  <c:pt idx="661">
                    <c:v>Rolling Mean (30 Minute)</c:v>
                  </c:pt>
                  <c:pt idx="662">
                    <c:v>Rolling Mean (30 Minute)</c:v>
                  </c:pt>
                  <c:pt idx="663">
                    <c:v>Rolling Mean (30 Minute)</c:v>
                  </c:pt>
                  <c:pt idx="664">
                    <c:v>Rolling Mean (30 Minute)</c:v>
                  </c:pt>
                  <c:pt idx="665">
                    <c:v>Rolling Mean (30 Minute)</c:v>
                  </c:pt>
                  <c:pt idx="666">
                    <c:v>Rolling Mean (30 Minute)</c:v>
                  </c:pt>
                  <c:pt idx="667">
                    <c:v>Rolling Mean (30 Minute)</c:v>
                  </c:pt>
                  <c:pt idx="668">
                    <c:v>Rolling Mean (30 Minute)</c:v>
                  </c:pt>
                  <c:pt idx="669">
                    <c:v>Rolling Mean (30 Minute)</c:v>
                  </c:pt>
                  <c:pt idx="670">
                    <c:v>Rolling Mean (30 Minute)</c:v>
                  </c:pt>
                  <c:pt idx="671">
                    <c:v>Rolling Mean (30 Minute)</c:v>
                  </c:pt>
                  <c:pt idx="672">
                    <c:v>Rolling Mean (30 Minute)</c:v>
                  </c:pt>
                  <c:pt idx="673">
                    <c:v>Rolling Mean (30 Minute)</c:v>
                  </c:pt>
                  <c:pt idx="674">
                    <c:v>Rolling Mean (30 Minute)</c:v>
                  </c:pt>
                  <c:pt idx="675">
                    <c:v>Rolling Mean (30 Minute)</c:v>
                  </c:pt>
                  <c:pt idx="676">
                    <c:v>Rolling Mean (30 Minute)</c:v>
                  </c:pt>
                  <c:pt idx="677">
                    <c:v>Rolling Mean (30 Minute)</c:v>
                  </c:pt>
                  <c:pt idx="678">
                    <c:v>Rolling Mean (30 Minute)</c:v>
                  </c:pt>
                  <c:pt idx="679">
                    <c:v>Rolling Mean (30 Minute)</c:v>
                  </c:pt>
                  <c:pt idx="680">
                    <c:v>Rolling Mean (30 Minute)</c:v>
                  </c:pt>
                  <c:pt idx="681">
                    <c:v>Rolling Mean (30 Minute)</c:v>
                  </c:pt>
                  <c:pt idx="682">
                    <c:v>Rolling Mean (30 Minute)</c:v>
                  </c:pt>
                  <c:pt idx="683">
                    <c:v>Rolling Mean (30 Minute)</c:v>
                  </c:pt>
                  <c:pt idx="684">
                    <c:v>Rolling Mean (30 Minute)</c:v>
                  </c:pt>
                  <c:pt idx="685">
                    <c:v>Rolling Mean (30 Minute)</c:v>
                  </c:pt>
                  <c:pt idx="686">
                    <c:v>Rolling Mean (30 Minute)</c:v>
                  </c:pt>
                  <c:pt idx="687">
                    <c:v>Rolling Mean (30 Minute)</c:v>
                  </c:pt>
                  <c:pt idx="688">
                    <c:v>Rolling Mean (30 Minute)</c:v>
                  </c:pt>
                  <c:pt idx="689">
                    <c:v>Rolling Mean (30 Minute)</c:v>
                  </c:pt>
                  <c:pt idx="690">
                    <c:v>Rolling Mean (30 Minute)</c:v>
                  </c:pt>
                  <c:pt idx="691">
                    <c:v>Rolling Mean (30 Minute)</c:v>
                  </c:pt>
                  <c:pt idx="692">
                    <c:v>Rolling Mean (30 Minute)</c:v>
                  </c:pt>
                  <c:pt idx="693">
                    <c:v>Rolling Mean (30 Minute)</c:v>
                  </c:pt>
                  <c:pt idx="694">
                    <c:v>Rolling Mean (30 Minute)</c:v>
                  </c:pt>
                  <c:pt idx="695">
                    <c:v>Rolling Mean (30 Minute)</c:v>
                  </c:pt>
                  <c:pt idx="696">
                    <c:v>Rolling Mean (30 Minute)</c:v>
                  </c:pt>
                  <c:pt idx="697">
                    <c:v>Rolling Mean (30 Minute)</c:v>
                  </c:pt>
                  <c:pt idx="698">
                    <c:v>Rolling Mean (30 Minute)</c:v>
                  </c:pt>
                  <c:pt idx="699">
                    <c:v>Rolling Mean (30 Minute)</c:v>
                  </c:pt>
                  <c:pt idx="700">
                    <c:v>Rolling Mean (30 Minute)</c:v>
                  </c:pt>
                  <c:pt idx="701">
                    <c:v>Rolling Mean (30 Minute)</c:v>
                  </c:pt>
                  <c:pt idx="702">
                    <c:v>Rolling Mean (30 Minute)</c:v>
                  </c:pt>
                  <c:pt idx="703">
                    <c:v>Rolling Mean (30 Minute)</c:v>
                  </c:pt>
                  <c:pt idx="704">
                    <c:v>Rolling Mean (30 Minute)</c:v>
                  </c:pt>
                  <c:pt idx="705">
                    <c:v>Rolling Mean (30 Minute)</c:v>
                  </c:pt>
                  <c:pt idx="706">
                    <c:v>Rolling Mean (30 Minute)</c:v>
                  </c:pt>
                  <c:pt idx="707">
                    <c:v>Rolling Mean (30 Minute)</c:v>
                  </c:pt>
                  <c:pt idx="708">
                    <c:v>Rolling Mean (30 Minute)</c:v>
                  </c:pt>
                  <c:pt idx="709">
                    <c:v>Rolling Mean (30 Minute)</c:v>
                  </c:pt>
                  <c:pt idx="710">
                    <c:v>Rolling Mean (30 Minute)</c:v>
                  </c:pt>
                  <c:pt idx="711">
                    <c:v>Rolling Mean (30 Minute)</c:v>
                  </c:pt>
                  <c:pt idx="712">
                    <c:v>Rolling Mean (30 Minute)</c:v>
                  </c:pt>
                  <c:pt idx="713">
                    <c:v>Rolling Mean (30 Minute)</c:v>
                  </c:pt>
                  <c:pt idx="714">
                    <c:v>Rolling Mean (30 Minute)</c:v>
                  </c:pt>
                  <c:pt idx="715">
                    <c:v>Rolling Mean (30 Minute)</c:v>
                  </c:pt>
                  <c:pt idx="716">
                    <c:v>Rolling Mean (30 Minute)</c:v>
                  </c:pt>
                  <c:pt idx="717">
                    <c:v>Rolling Mean (30 Minute)</c:v>
                  </c:pt>
                  <c:pt idx="718">
                    <c:v>Rolling Mean (30 Minute)</c:v>
                  </c:pt>
                  <c:pt idx="719">
                    <c:v>Rolling Mean (30 Minute)</c:v>
                  </c:pt>
                  <c:pt idx="720">
                    <c:v>Rolling Mean (30 Minute)</c:v>
                  </c:pt>
                  <c:pt idx="721">
                    <c:v>Rolling Mean (30 Minute)</c:v>
                  </c:pt>
                  <c:pt idx="722">
                    <c:v>Rolling Mean (30 Minute)</c:v>
                  </c:pt>
                  <c:pt idx="723">
                    <c:v>Rolling Mean (30 Minute)</c:v>
                  </c:pt>
                  <c:pt idx="724">
                    <c:v>Rolling Mean (30 Minute)</c:v>
                  </c:pt>
                  <c:pt idx="725">
                    <c:v>Rolling Mean (30 Minute)</c:v>
                  </c:pt>
                  <c:pt idx="726">
                    <c:v>Rolling Mean (30 Minute)</c:v>
                  </c:pt>
                  <c:pt idx="727">
                    <c:v>Rolling Mean (30 Minute)</c:v>
                  </c:pt>
                  <c:pt idx="728">
                    <c:v>Rolling Mean (30 Minute)</c:v>
                  </c:pt>
                  <c:pt idx="729">
                    <c:v>Rolling Mean (30 Minute)</c:v>
                  </c:pt>
                  <c:pt idx="730">
                    <c:v>Rolling Mean (30 Minute)</c:v>
                  </c:pt>
                  <c:pt idx="731">
                    <c:v>Rolling Mean (30 Minute)</c:v>
                  </c:pt>
                  <c:pt idx="732">
                    <c:v>Rolling Mean (30 Minute)</c:v>
                  </c:pt>
                  <c:pt idx="733">
                    <c:v>Rolling Mean (30 Minute)</c:v>
                  </c:pt>
                  <c:pt idx="734">
                    <c:v>Rolling Mean (30 Minute)</c:v>
                  </c:pt>
                  <c:pt idx="735">
                    <c:v>Rolling Mean (30 Minute)</c:v>
                  </c:pt>
                  <c:pt idx="736">
                    <c:v>Rolling Mean (30 Minute)</c:v>
                  </c:pt>
                  <c:pt idx="737">
                    <c:v>Rolling Mean (30 Minute)</c:v>
                  </c:pt>
                  <c:pt idx="738">
                    <c:v>Rolling Mean (30 Minute)</c:v>
                  </c:pt>
                  <c:pt idx="739">
                    <c:v>Rolling Mean (30 Minute)</c:v>
                  </c:pt>
                  <c:pt idx="740">
                    <c:v>Rolling Mean (30 Minute)</c:v>
                  </c:pt>
                  <c:pt idx="741">
                    <c:v>Rolling Mean (30 Minute)</c:v>
                  </c:pt>
                  <c:pt idx="742">
                    <c:v>Rolling Mean (30 Minute)</c:v>
                  </c:pt>
                  <c:pt idx="743">
                    <c:v>Rolling Mean (30 Minute)</c:v>
                  </c:pt>
                  <c:pt idx="744">
                    <c:v>Rolling Mean (30 Minute)</c:v>
                  </c:pt>
                  <c:pt idx="745">
                    <c:v>Rolling Mean (30 Minute)</c:v>
                  </c:pt>
                  <c:pt idx="746">
                    <c:v>Rolling Mean (30 Minute)</c:v>
                  </c:pt>
                  <c:pt idx="747">
                    <c:v>Rolling Mean (30 Minute)</c:v>
                  </c:pt>
                  <c:pt idx="748">
                    <c:v>Rolling Mean (30 Minute)</c:v>
                  </c:pt>
                  <c:pt idx="749">
                    <c:v>Rolling Mean (30 Minute)</c:v>
                  </c:pt>
                  <c:pt idx="750">
                    <c:v>Rolling Mean (30 Minute)</c:v>
                  </c:pt>
                  <c:pt idx="751">
                    <c:v>Rolling Mean (30 Minute)</c:v>
                  </c:pt>
                  <c:pt idx="752">
                    <c:v>Rolling Mean (30 Minute)</c:v>
                  </c:pt>
                  <c:pt idx="753">
                    <c:v>Rolling Mean (30 Minute)</c:v>
                  </c:pt>
                  <c:pt idx="754">
                    <c:v>Rolling Mean (30 Minute)</c:v>
                  </c:pt>
                  <c:pt idx="755">
                    <c:v>Rolling Mean (30 Minute)</c:v>
                  </c:pt>
                  <c:pt idx="756">
                    <c:v>Rolling Mean (30 Minute)</c:v>
                  </c:pt>
                  <c:pt idx="757">
                    <c:v>Rolling Mean (30 Minute)</c:v>
                  </c:pt>
                  <c:pt idx="758">
                    <c:v>Rolling Mean (30 Minute)</c:v>
                  </c:pt>
                  <c:pt idx="759">
                    <c:v>Rolling Mean (30 Minute)</c:v>
                  </c:pt>
                  <c:pt idx="760">
                    <c:v>Rolling Mean (30 Minute)</c:v>
                  </c:pt>
                  <c:pt idx="761">
                    <c:v>Rolling Mean (30 Minute)</c:v>
                  </c:pt>
                  <c:pt idx="762">
                    <c:v>Rolling Mean (30 Minute)</c:v>
                  </c:pt>
                  <c:pt idx="763">
                    <c:v>Rolling Mean (30 Minute)</c:v>
                  </c:pt>
                  <c:pt idx="764">
                    <c:v>Rolling Mean (30 Minute)</c:v>
                  </c:pt>
                  <c:pt idx="765">
                    <c:v>Rolling Mean (30 Minute)</c:v>
                  </c:pt>
                  <c:pt idx="766">
                    <c:v>Rolling Mean (30 Minute)</c:v>
                  </c:pt>
                  <c:pt idx="767">
                    <c:v>Rolling Mean (30 Minute)</c:v>
                  </c:pt>
                  <c:pt idx="768">
                    <c:v>Rolling Mean (30 Minute)</c:v>
                  </c:pt>
                  <c:pt idx="769">
                    <c:v>Rolling Mean (30 Minute)</c:v>
                  </c:pt>
                  <c:pt idx="770">
                    <c:v>Rolling Mean (30 Minute)</c:v>
                  </c:pt>
                  <c:pt idx="771">
                    <c:v>Rolling Mean (30 Minute)</c:v>
                  </c:pt>
                  <c:pt idx="772">
                    <c:v>Rolling Mean (30 Minute)</c:v>
                  </c:pt>
                  <c:pt idx="773">
                    <c:v>Rolling Mean (30 Minute)</c:v>
                  </c:pt>
                  <c:pt idx="774">
                    <c:v>Rolling Mean (30 Minute)</c:v>
                  </c:pt>
                  <c:pt idx="775">
                    <c:v>Rolling Mean (30 Minute)</c:v>
                  </c:pt>
                  <c:pt idx="776">
                    <c:v>Rolling Mean (30 Minute)</c:v>
                  </c:pt>
                  <c:pt idx="777">
                    <c:v>Rolling Mean (30 Minute)</c:v>
                  </c:pt>
                  <c:pt idx="778">
                    <c:v>Rolling Mean (30 Minute)</c:v>
                  </c:pt>
                  <c:pt idx="779">
                    <c:v>Rolling Mean (30 Minute)</c:v>
                  </c:pt>
                  <c:pt idx="780">
                    <c:v>Rolling Mean (30 Minute)</c:v>
                  </c:pt>
                  <c:pt idx="781">
                    <c:v>Rolling Mean (30 Minute)</c:v>
                  </c:pt>
                  <c:pt idx="782">
                    <c:v>Rolling Mean (30 Minute)</c:v>
                  </c:pt>
                  <c:pt idx="783">
                    <c:v>Rolling Mean (30 Minute)</c:v>
                  </c:pt>
                  <c:pt idx="784">
                    <c:v>Rolling Mean (30 Minute)</c:v>
                  </c:pt>
                  <c:pt idx="785">
                    <c:v>Rolling Mean (30 Minute)</c:v>
                  </c:pt>
                  <c:pt idx="786">
                    <c:v>Rolling Mean (30 Minute)</c:v>
                  </c:pt>
                  <c:pt idx="787">
                    <c:v>Rolling Mean (30 Minute)</c:v>
                  </c:pt>
                  <c:pt idx="788">
                    <c:v>Rolling Mean (30 Minute)</c:v>
                  </c:pt>
                  <c:pt idx="789">
                    <c:v>Rolling Mean (30 Minute)</c:v>
                  </c:pt>
                  <c:pt idx="790">
                    <c:v>Rolling Mean (30 Minute)</c:v>
                  </c:pt>
                  <c:pt idx="791">
                    <c:v>Rolling Mean (30 Minute)</c:v>
                  </c:pt>
                  <c:pt idx="792">
                    <c:v>Rolling Mean (30 Minute)</c:v>
                  </c:pt>
                  <c:pt idx="793">
                    <c:v>Rolling Mean (30 Minute)</c:v>
                  </c:pt>
                  <c:pt idx="794">
                    <c:v>Rolling Mean (30 Minute)</c:v>
                  </c:pt>
                  <c:pt idx="795">
                    <c:v>Rolling Mean (30 Minute)</c:v>
                  </c:pt>
                  <c:pt idx="796">
                    <c:v>Rolling Mean (30 Minute)</c:v>
                  </c:pt>
                  <c:pt idx="797">
                    <c:v>Rolling Mean (30 Minute)</c:v>
                  </c:pt>
                  <c:pt idx="798">
                    <c:v>Rolling Mean (30 Minute)</c:v>
                  </c:pt>
                  <c:pt idx="799">
                    <c:v>Rolling Mean (30 Minute)</c:v>
                  </c:pt>
                  <c:pt idx="800">
                    <c:v>Rolling Mean (30 Minute)</c:v>
                  </c:pt>
                  <c:pt idx="801">
                    <c:v>Rolling Mean (30 Minute)</c:v>
                  </c:pt>
                  <c:pt idx="802">
                    <c:v>Rolling Mean (30 Minute)</c:v>
                  </c:pt>
                  <c:pt idx="803">
                    <c:v>Rolling Mean (30 Minute)</c:v>
                  </c:pt>
                  <c:pt idx="804">
                    <c:v>Rolling Mean (30 Minute)</c:v>
                  </c:pt>
                  <c:pt idx="805">
                    <c:v>Rolling Mean (30 Minute)</c:v>
                  </c:pt>
                  <c:pt idx="806">
                    <c:v>Rolling Mean (30 Minute)</c:v>
                  </c:pt>
                  <c:pt idx="807">
                    <c:v>Rolling Mean (30 Minute)</c:v>
                  </c:pt>
                  <c:pt idx="808">
                    <c:v>Rolling Mean (30 Minute)</c:v>
                  </c:pt>
                  <c:pt idx="809">
                    <c:v>Rolling Mean (30 Minute)</c:v>
                  </c:pt>
                  <c:pt idx="810">
                    <c:v>Rolling Mean (30 Minute)</c:v>
                  </c:pt>
                  <c:pt idx="811">
                    <c:v>Rolling Mean (30 Minute)</c:v>
                  </c:pt>
                  <c:pt idx="812">
                    <c:v>Rolling Mean (30 Minute)</c:v>
                  </c:pt>
                  <c:pt idx="813">
                    <c:v>Rolling Mean (30 Minute)</c:v>
                  </c:pt>
                  <c:pt idx="814">
                    <c:v>Rolling Mean (30 Minute)</c:v>
                  </c:pt>
                  <c:pt idx="815">
                    <c:v>Rolling Mean (30 Minute)</c:v>
                  </c:pt>
                  <c:pt idx="816">
                    <c:v>Rolling Mean (30 Minute)</c:v>
                  </c:pt>
                  <c:pt idx="817">
                    <c:v>Rolling Mean (30 Minute)</c:v>
                  </c:pt>
                  <c:pt idx="818">
                    <c:v>Rolling Mean (30 Minute)</c:v>
                  </c:pt>
                  <c:pt idx="819">
                    <c:v>Rolling Mean (30 Minute)</c:v>
                  </c:pt>
                  <c:pt idx="820">
                    <c:v>Rolling Mean (30 Minute)</c:v>
                  </c:pt>
                  <c:pt idx="821">
                    <c:v>Rolling Mean (30 Minute)</c:v>
                  </c:pt>
                  <c:pt idx="822">
                    <c:v>Rolling Mean (30 Minute)</c:v>
                  </c:pt>
                  <c:pt idx="823">
                    <c:v>Rolling Mean (30 Minute)</c:v>
                  </c:pt>
                  <c:pt idx="824">
                    <c:v>Rolling Mean (30 Minute)</c:v>
                  </c:pt>
                  <c:pt idx="825">
                    <c:v>Rolling Mean (30 Minute)</c:v>
                  </c:pt>
                  <c:pt idx="826">
                    <c:v>Rolling Mean (30 Minute)</c:v>
                  </c:pt>
                  <c:pt idx="827">
                    <c:v>Rolling Mean (30 Minute)</c:v>
                  </c:pt>
                  <c:pt idx="828">
                    <c:v>Rolling Mean (30 Minute)</c:v>
                  </c:pt>
                  <c:pt idx="829">
                    <c:v>Rolling Mean (30 Minute)</c:v>
                  </c:pt>
                  <c:pt idx="830">
                    <c:v>Rolling Mean (30 Minute)</c:v>
                  </c:pt>
                  <c:pt idx="831">
                    <c:v>Rolling Mean (30 Minute)</c:v>
                  </c:pt>
                  <c:pt idx="832">
                    <c:v>Rolling Mean (30 Minute)</c:v>
                  </c:pt>
                  <c:pt idx="833">
                    <c:v>Rolling Mean (30 Minute)</c:v>
                  </c:pt>
                  <c:pt idx="834">
                    <c:v>Rolling Mean (30 Minute)</c:v>
                  </c:pt>
                  <c:pt idx="835">
                    <c:v>Rolling Mean (30 Minute)</c:v>
                  </c:pt>
                  <c:pt idx="836">
                    <c:v>Rolling Mean (30 Minute)</c:v>
                  </c:pt>
                  <c:pt idx="837">
                    <c:v>Rolling Mean (30 Minute)</c:v>
                  </c:pt>
                  <c:pt idx="838">
                    <c:v>Rolling Mean (30 Minute)</c:v>
                  </c:pt>
                  <c:pt idx="839">
                    <c:v>Rolling Mean (30 Minute)</c:v>
                  </c:pt>
                  <c:pt idx="840">
                    <c:v>Rolling Mean (30 Minute)</c:v>
                  </c:pt>
                  <c:pt idx="841">
                    <c:v>Rolling Mean (30 Minute)</c:v>
                  </c:pt>
                  <c:pt idx="842">
                    <c:v>Rolling Mean (30 Minute)</c:v>
                  </c:pt>
                  <c:pt idx="843">
                    <c:v>Rolling Mean (30 Minute)</c:v>
                  </c:pt>
                  <c:pt idx="844">
                    <c:v>Rolling Mean (30 Minute)</c:v>
                  </c:pt>
                  <c:pt idx="845">
                    <c:v>Rolling Mean (30 Minute)</c:v>
                  </c:pt>
                  <c:pt idx="846">
                    <c:v>Rolling Mean (30 Minute)</c:v>
                  </c:pt>
                  <c:pt idx="847">
                    <c:v>Rolling Mean (30 Minute)</c:v>
                  </c:pt>
                  <c:pt idx="848">
                    <c:v>Rolling Mean (30 Minute)</c:v>
                  </c:pt>
                  <c:pt idx="849">
                    <c:v>Rolling Mean (30 Minute)</c:v>
                  </c:pt>
                  <c:pt idx="850">
                    <c:v>Rolling Mean (30 Minute)</c:v>
                  </c:pt>
                  <c:pt idx="851">
                    <c:v>Rolling Mean (30 Minute)</c:v>
                  </c:pt>
                  <c:pt idx="852">
                    <c:v>Rolling Mean (30 Minute)</c:v>
                  </c:pt>
                  <c:pt idx="853">
                    <c:v>Rolling Mean (30 Minute)</c:v>
                  </c:pt>
                  <c:pt idx="854">
                    <c:v>Rolling Mean (30 Minute)</c:v>
                  </c:pt>
                  <c:pt idx="855">
                    <c:v>Rolling Mean (30 Minute)</c:v>
                  </c:pt>
                  <c:pt idx="856">
                    <c:v>Rolling Mean (30 Minute)</c:v>
                  </c:pt>
                  <c:pt idx="857">
                    <c:v>Rolling Mean (30 Minute)</c:v>
                  </c:pt>
                  <c:pt idx="858">
                    <c:v>Rolling Mean (30 Minute)</c:v>
                  </c:pt>
                  <c:pt idx="859">
                    <c:v>Rolling Mean (30 Minute)</c:v>
                  </c:pt>
                  <c:pt idx="860">
                    <c:v>Rolling Mean (30 Minute)</c:v>
                  </c:pt>
                  <c:pt idx="861">
                    <c:v>Rolling Mean (30 Minute)</c:v>
                  </c:pt>
                  <c:pt idx="862">
                    <c:v>Rolling Mean (30 Minute)</c:v>
                  </c:pt>
                  <c:pt idx="863">
                    <c:v>Rolling Mean (30 Minute)</c:v>
                  </c:pt>
                  <c:pt idx="864">
                    <c:v>Rolling Mean (30 Minute)</c:v>
                  </c:pt>
                  <c:pt idx="865">
                    <c:v>Rolling Mean (30 Minute)</c:v>
                  </c:pt>
                  <c:pt idx="866">
                    <c:v>Rolling Mean (30 Minute)</c:v>
                  </c:pt>
                  <c:pt idx="867">
                    <c:v>Rolling Mean (30 Minute)</c:v>
                  </c:pt>
                  <c:pt idx="868">
                    <c:v>Rolling Mean (30 Minute)</c:v>
                  </c:pt>
                  <c:pt idx="869">
                    <c:v>Rolling Mean (30 Minute)</c:v>
                  </c:pt>
                  <c:pt idx="870">
                    <c:v>Rolling Mean (30 Minute)</c:v>
                  </c:pt>
                  <c:pt idx="871">
                    <c:v>Rolling Mean (30 Minute)</c:v>
                  </c:pt>
                  <c:pt idx="872">
                    <c:v>Rolling Mean (30 Minute)</c:v>
                  </c:pt>
                  <c:pt idx="873">
                    <c:v>Rolling Mean (30 Minute)</c:v>
                  </c:pt>
                  <c:pt idx="874">
                    <c:v>Rolling Mean (30 Minute)</c:v>
                  </c:pt>
                  <c:pt idx="875">
                    <c:v>Rolling Mean (30 Minute)</c:v>
                  </c:pt>
                  <c:pt idx="876">
                    <c:v>Rolling Mean (30 Minute)</c:v>
                  </c:pt>
                  <c:pt idx="877">
                    <c:v>Rolling Mean (30 Minute)</c:v>
                  </c:pt>
                  <c:pt idx="878">
                    <c:v>Rolling Mean (30 Minute)</c:v>
                  </c:pt>
                  <c:pt idx="879">
                    <c:v>Rolling Mean (30 Minute)</c:v>
                  </c:pt>
                  <c:pt idx="880">
                    <c:v>Rolling Mean (30 Minute)</c:v>
                  </c:pt>
                  <c:pt idx="881">
                    <c:v>Rolling Mean (30 Minute)</c:v>
                  </c:pt>
                  <c:pt idx="882">
                    <c:v>Rolling Mean (30 Minute)</c:v>
                  </c:pt>
                  <c:pt idx="883">
                    <c:v>Rolling Mean (30 Minute)</c:v>
                  </c:pt>
                  <c:pt idx="884">
                    <c:v>Rolling Mean (30 Minute)</c:v>
                  </c:pt>
                  <c:pt idx="885">
                    <c:v>Rolling Mean (30 Minute)</c:v>
                  </c:pt>
                  <c:pt idx="886">
                    <c:v>Rolling Mean (30 Minute)</c:v>
                  </c:pt>
                  <c:pt idx="887">
                    <c:v>Rolling Mean (30 Minute)</c:v>
                  </c:pt>
                  <c:pt idx="888">
                    <c:v>Rolling Mean (30 Minute)</c:v>
                  </c:pt>
                  <c:pt idx="889">
                    <c:v>Rolling Mean (30 Minute)</c:v>
                  </c:pt>
                  <c:pt idx="890">
                    <c:v>Rolling Mean (30 Minute)</c:v>
                  </c:pt>
                  <c:pt idx="891">
                    <c:v>Rolling Mean (30 Minute)</c:v>
                  </c:pt>
                  <c:pt idx="892">
                    <c:v>Rolling Mean (30 Minute)</c:v>
                  </c:pt>
                  <c:pt idx="893">
                    <c:v>Rolling Mean (30 Minute)</c:v>
                  </c:pt>
                  <c:pt idx="894">
                    <c:v>Rolling Mean (30 Minute)</c:v>
                  </c:pt>
                  <c:pt idx="895">
                    <c:v>Rolling Mean (30 Minute)</c:v>
                  </c:pt>
                  <c:pt idx="896">
                    <c:v>Rolling Mean (30 Minute)</c:v>
                  </c:pt>
                  <c:pt idx="897">
                    <c:v>Rolling Mean (30 Minute)</c:v>
                  </c:pt>
                  <c:pt idx="898">
                    <c:v>Rolling Mean (30 Minute)</c:v>
                  </c:pt>
                  <c:pt idx="899">
                    <c:v>Rolling Mean (30 Minute)</c:v>
                  </c:pt>
                  <c:pt idx="900">
                    <c:v>Rolling Mean (30 Minute)</c:v>
                  </c:pt>
                  <c:pt idx="901">
                    <c:v>Rolling Mean (30 Minute)</c:v>
                  </c:pt>
                  <c:pt idx="902">
                    <c:v>Rolling Mean (30 Minute)</c:v>
                  </c:pt>
                  <c:pt idx="903">
                    <c:v>Rolling Mean (30 Minute)</c:v>
                  </c:pt>
                  <c:pt idx="904">
                    <c:v>Rolling Mean (30 Minute)</c:v>
                  </c:pt>
                  <c:pt idx="905">
                    <c:v>Rolling Mean (30 Minute)</c:v>
                  </c:pt>
                  <c:pt idx="906">
                    <c:v>Rolling Mean (30 Minute)</c:v>
                  </c:pt>
                  <c:pt idx="907">
                    <c:v>Rolling Mean (30 Minute)</c:v>
                  </c:pt>
                  <c:pt idx="908">
                    <c:v>Rolling Mean (30 Minute)</c:v>
                  </c:pt>
                  <c:pt idx="909">
                    <c:v>Rolling Mean (30 Minute)</c:v>
                  </c:pt>
                  <c:pt idx="910">
                    <c:v>Rolling Mean (30 Minute)</c:v>
                  </c:pt>
                  <c:pt idx="911">
                    <c:v>Rolling Mean (30 Minute)</c:v>
                  </c:pt>
                  <c:pt idx="912">
                    <c:v>Rolling Mean (30 Minute)</c:v>
                  </c:pt>
                  <c:pt idx="913">
                    <c:v>Rolling Mean (30 Minute)</c:v>
                  </c:pt>
                  <c:pt idx="914">
                    <c:v>Rolling Mean (30 Minute)</c:v>
                  </c:pt>
                  <c:pt idx="915">
                    <c:v>Rolling Mean (30 Minute)</c:v>
                  </c:pt>
                  <c:pt idx="916">
                    <c:v>Rolling Mean (30 Minute)</c:v>
                  </c:pt>
                  <c:pt idx="917">
                    <c:v>Rolling Mean (30 Minute)</c:v>
                  </c:pt>
                  <c:pt idx="918">
                    <c:v>Rolling Mean (30 Minute)</c:v>
                  </c:pt>
                  <c:pt idx="919">
                    <c:v>Rolling Mean (30 Minute)</c:v>
                  </c:pt>
                  <c:pt idx="920">
                    <c:v>Rolling Mean (30 Minute)</c:v>
                  </c:pt>
                  <c:pt idx="921">
                    <c:v>Rolling Mean (30 Minute)</c:v>
                  </c:pt>
                  <c:pt idx="922">
                    <c:v>Rolling Mean (30 Minute)</c:v>
                  </c:pt>
                  <c:pt idx="923">
                    <c:v>Rolling Mean (30 Minute)</c:v>
                  </c:pt>
                  <c:pt idx="924">
                    <c:v>Rolling Mean (30 Minute)</c:v>
                  </c:pt>
                  <c:pt idx="925">
                    <c:v>Rolling Mean (30 Minute)</c:v>
                  </c:pt>
                  <c:pt idx="926">
                    <c:v>Rolling Mean (30 Minute)</c:v>
                  </c:pt>
                  <c:pt idx="927">
                    <c:v>Rolling Mean (30 Minute)</c:v>
                  </c:pt>
                  <c:pt idx="928">
                    <c:v>Rolling Mean (30 Minute)</c:v>
                  </c:pt>
                  <c:pt idx="929">
                    <c:v>Rolling Mean (30 Minute)</c:v>
                  </c:pt>
                  <c:pt idx="930">
                    <c:v>Rolling Mean (30 Minute)</c:v>
                  </c:pt>
                  <c:pt idx="931">
                    <c:v>Rolling Mean (30 Minute)</c:v>
                  </c:pt>
                  <c:pt idx="932">
                    <c:v>Rolling Mean (30 Minute)</c:v>
                  </c:pt>
                  <c:pt idx="933">
                    <c:v>Rolling Mean (30 Minute)</c:v>
                  </c:pt>
                  <c:pt idx="934">
                    <c:v>Rolling Mean (30 Minute)</c:v>
                  </c:pt>
                  <c:pt idx="935">
                    <c:v>Rolling Mean (30 Minute)</c:v>
                  </c:pt>
                  <c:pt idx="936">
                    <c:v>Rolling Mean (30 Minute)</c:v>
                  </c:pt>
                  <c:pt idx="937">
                    <c:v>Rolling Mean (30 Minute)</c:v>
                  </c:pt>
                  <c:pt idx="938">
                    <c:v>Rolling Mean (30 Minute)</c:v>
                  </c:pt>
                  <c:pt idx="939">
                    <c:v>Rolling Mean (30 Minute)</c:v>
                  </c:pt>
                  <c:pt idx="940">
                    <c:v>Rolling Mean (30 Minute)</c:v>
                  </c:pt>
                  <c:pt idx="941">
                    <c:v>Rolling Mean (30 Minute)</c:v>
                  </c:pt>
                  <c:pt idx="942">
                    <c:v>Rolling Mean (30 Minute)</c:v>
                  </c:pt>
                  <c:pt idx="943">
                    <c:v>Rolling Mean (30 Minute)</c:v>
                  </c:pt>
                  <c:pt idx="944">
                    <c:v>Rolling Mean (30 Minute)</c:v>
                  </c:pt>
                  <c:pt idx="945">
                    <c:v>Rolling Mean (30 Minute)</c:v>
                  </c:pt>
                  <c:pt idx="946">
                    <c:v>Rolling Mean (30 Minute)</c:v>
                  </c:pt>
                  <c:pt idx="947">
                    <c:v>Rolling Mean (30 Minute)</c:v>
                  </c:pt>
                  <c:pt idx="948">
                    <c:v>Rolling Mean (30 Minute)</c:v>
                  </c:pt>
                  <c:pt idx="949">
                    <c:v>Rolling Mean (30 Minute)</c:v>
                  </c:pt>
                  <c:pt idx="950">
                    <c:v>Rolling Mean (30 Minute)</c:v>
                  </c:pt>
                  <c:pt idx="951">
                    <c:v>Rolling Mean (30 Minute)</c:v>
                  </c:pt>
                  <c:pt idx="952">
                    <c:v>Rolling Mean (30 Minute)</c:v>
                  </c:pt>
                  <c:pt idx="953">
                    <c:v>Rolling Mean (30 Minute)</c:v>
                  </c:pt>
                  <c:pt idx="954">
                    <c:v>Rolling Mean (30 Minute)</c:v>
                  </c:pt>
                  <c:pt idx="955">
                    <c:v>Rolling Mean (30 Minute)</c:v>
                  </c:pt>
                  <c:pt idx="956">
                    <c:v>Rolling Mean (30 Minute)</c:v>
                  </c:pt>
                  <c:pt idx="957">
                    <c:v>Rolling Mean (30 Minute)</c:v>
                  </c:pt>
                  <c:pt idx="958">
                    <c:v>Rolling Mean (30 Minute)</c:v>
                  </c:pt>
                  <c:pt idx="959">
                    <c:v>Rolling Mean (30 Minute)</c:v>
                  </c:pt>
                  <c:pt idx="960">
                    <c:v>Rolling Mean (30 Minute)</c:v>
                  </c:pt>
                  <c:pt idx="961">
                    <c:v>Rolling Mean (30 Minute)</c:v>
                  </c:pt>
                  <c:pt idx="962">
                    <c:v>Rolling Mean (30 Minute)</c:v>
                  </c:pt>
                  <c:pt idx="963">
                    <c:v>Rolling Mean (30 Minute)</c:v>
                  </c:pt>
                  <c:pt idx="964">
                    <c:v>Rolling Mean (30 Minute)</c:v>
                  </c:pt>
                  <c:pt idx="965">
                    <c:v>Rolling Mean (30 Minute)</c:v>
                  </c:pt>
                  <c:pt idx="966">
                    <c:v>Rolling Mean (30 Minute)</c:v>
                  </c:pt>
                  <c:pt idx="967">
                    <c:v>Rolling Mean (30 Minute)</c:v>
                  </c:pt>
                  <c:pt idx="968">
                    <c:v>Rolling Mean (30 Minute)</c:v>
                  </c:pt>
                  <c:pt idx="969">
                    <c:v>Rolling Mean (30 Minute)</c:v>
                  </c:pt>
                  <c:pt idx="970">
                    <c:v>Rolling Mean (30 Minute)</c:v>
                  </c:pt>
                  <c:pt idx="971">
                    <c:v>Rolling Mean (30 Minute)</c:v>
                  </c:pt>
                  <c:pt idx="972">
                    <c:v>Rolling Mean (30 Minute)</c:v>
                  </c:pt>
                  <c:pt idx="973">
                    <c:v>Rolling Mean (30 Minute)</c:v>
                  </c:pt>
                  <c:pt idx="974">
                    <c:v>Rolling Mean (30 Minute)</c:v>
                  </c:pt>
                  <c:pt idx="975">
                    <c:v>Rolling Mean (30 Minute)</c:v>
                  </c:pt>
                  <c:pt idx="976">
                    <c:v>Rolling Mean (30 Minute)</c:v>
                  </c:pt>
                  <c:pt idx="977">
                    <c:v>Rolling Mean (30 Minute)</c:v>
                  </c:pt>
                  <c:pt idx="978">
                    <c:v>Rolling Mean (30 Minute)</c:v>
                  </c:pt>
                  <c:pt idx="979">
                    <c:v>Rolling Mean (30 Minute)</c:v>
                  </c:pt>
                  <c:pt idx="980">
                    <c:v>Rolling Mean (30 Minute)</c:v>
                  </c:pt>
                  <c:pt idx="981">
                    <c:v>Rolling Mean (30 Minute)</c:v>
                  </c:pt>
                  <c:pt idx="982">
                    <c:v>Rolling Mean (30 Minute)</c:v>
                  </c:pt>
                  <c:pt idx="983">
                    <c:v>Rolling Mean (30 Minute)</c:v>
                  </c:pt>
                  <c:pt idx="984">
                    <c:v>Rolling Mean (30 Minute)</c:v>
                  </c:pt>
                  <c:pt idx="985">
                    <c:v>Rolling Mean (30 Minute)</c:v>
                  </c:pt>
                  <c:pt idx="986">
                    <c:v>Rolling Mean (30 Minute)</c:v>
                  </c:pt>
                  <c:pt idx="987">
                    <c:v>Rolling Mean (30 Minute)</c:v>
                  </c:pt>
                  <c:pt idx="988">
                    <c:v>Rolling Mean (30 Minute)</c:v>
                  </c:pt>
                  <c:pt idx="989">
                    <c:v>Rolling Mean (30 Minute)</c:v>
                  </c:pt>
                  <c:pt idx="990">
                    <c:v>Rolling Mean (30 Minute)</c:v>
                  </c:pt>
                  <c:pt idx="991">
                    <c:v>Rolling Mean (30 Minute)</c:v>
                  </c:pt>
                  <c:pt idx="992">
                    <c:v>Rolling Mean (30 Minute)</c:v>
                  </c:pt>
                  <c:pt idx="993">
                    <c:v>Rolling Mean (30 Minute)</c:v>
                  </c:pt>
                  <c:pt idx="994">
                    <c:v>Rolling Mean (30 Minute)</c:v>
                  </c:pt>
                  <c:pt idx="995">
                    <c:v>Rolling Mean (30 Minute)</c:v>
                  </c:pt>
                  <c:pt idx="996">
                    <c:v>Rolling Mean (30 Minute)</c:v>
                  </c:pt>
                  <c:pt idx="997">
                    <c:v>Rolling Mean (30 Minute)</c:v>
                  </c:pt>
                  <c:pt idx="998">
                    <c:v>Rolling Mean (30 Minute)</c:v>
                  </c:pt>
                  <c:pt idx="999">
                    <c:v>Rolling Mean (30 Minute)</c:v>
                  </c:pt>
                  <c:pt idx="1000">
                    <c:v>Rolling Mean (30 Minute)</c:v>
                  </c:pt>
                  <c:pt idx="1001">
                    <c:v>Rolling Mean (30 Minute)</c:v>
                  </c:pt>
                  <c:pt idx="1002">
                    <c:v>Rolling Mean (30 Minute)</c:v>
                  </c:pt>
                  <c:pt idx="1003">
                    <c:v>Rolling Mean (30 Minute)</c:v>
                  </c:pt>
                  <c:pt idx="1004">
                    <c:v>Rolling Mean (30 Minute)</c:v>
                  </c:pt>
                  <c:pt idx="1005">
                    <c:v>Rolling Mean (30 Minute)</c:v>
                  </c:pt>
                  <c:pt idx="1006">
                    <c:v>Rolling Mean (30 Minute)</c:v>
                  </c:pt>
                  <c:pt idx="1007">
                    <c:v>Rolling Mean (30 Minute)</c:v>
                  </c:pt>
                  <c:pt idx="1008">
                    <c:v>Rolling Mean (30 Minute)</c:v>
                  </c:pt>
                  <c:pt idx="1009">
                    <c:v>Rolling Mean (30 Minute)</c:v>
                  </c:pt>
                  <c:pt idx="1010">
                    <c:v>Rolling Mean (30 Minute)</c:v>
                  </c:pt>
                  <c:pt idx="1011">
                    <c:v>Rolling Mean (30 Minute)</c:v>
                  </c:pt>
                  <c:pt idx="1012">
                    <c:v>Rolling Mean (30 Minute)</c:v>
                  </c:pt>
                  <c:pt idx="1013">
                    <c:v>Rolling Mean (30 Minute)</c:v>
                  </c:pt>
                  <c:pt idx="1014">
                    <c:v>Rolling Mean (30 Minute)</c:v>
                  </c:pt>
                  <c:pt idx="1015">
                    <c:v>Rolling Mean (30 Minute)</c:v>
                  </c:pt>
                  <c:pt idx="1016">
                    <c:v>Rolling Mean (30 Minute)</c:v>
                  </c:pt>
                  <c:pt idx="1017">
                    <c:v>Rolling Mean (30 Minute)</c:v>
                  </c:pt>
                  <c:pt idx="1018">
                    <c:v>Rolling Mean (30 Minute)</c:v>
                  </c:pt>
                  <c:pt idx="1019">
                    <c:v>Rolling Mean (30 Minute)</c:v>
                  </c:pt>
                  <c:pt idx="1020">
                    <c:v>Rolling Mean (30 Minute)</c:v>
                  </c:pt>
                  <c:pt idx="1021">
                    <c:v>Rolling Mean (30 Minute)</c:v>
                  </c:pt>
                  <c:pt idx="1022">
                    <c:v>Rolling Mean (30 Minute)</c:v>
                  </c:pt>
                  <c:pt idx="1023">
                    <c:v>Rolling Mean (30 Minute)</c:v>
                  </c:pt>
                  <c:pt idx="1024">
                    <c:v>Rolling Mean (30 Minute)</c:v>
                  </c:pt>
                  <c:pt idx="1025">
                    <c:v>Rolling Mean (30 Minute)</c:v>
                  </c:pt>
                  <c:pt idx="1026">
                    <c:v>Rolling Mean (30 Minute)</c:v>
                  </c:pt>
                  <c:pt idx="1027">
                    <c:v>Rolling Mean (30 Minute)</c:v>
                  </c:pt>
                  <c:pt idx="1028">
                    <c:v>Rolling Mean (30 Minute)</c:v>
                  </c:pt>
                  <c:pt idx="1029">
                    <c:v>Rolling Mean (30 Minute)</c:v>
                  </c:pt>
                  <c:pt idx="1030">
                    <c:v>Rolling Mean (30 Minute)</c:v>
                  </c:pt>
                  <c:pt idx="1031">
                    <c:v>Rolling Mean (30 Minute)</c:v>
                  </c:pt>
                  <c:pt idx="1032">
                    <c:v>Rolling Mean (30 Minute)</c:v>
                  </c:pt>
                  <c:pt idx="1033">
                    <c:v>Rolling Mean (30 Minute)</c:v>
                  </c:pt>
                  <c:pt idx="1034">
                    <c:v>Rolling Mean (30 Minute)</c:v>
                  </c:pt>
                  <c:pt idx="1035">
                    <c:v>Rolling Mean (30 Minute)</c:v>
                  </c:pt>
                  <c:pt idx="1036">
                    <c:v>Rolling Mean (30 Minute)</c:v>
                  </c:pt>
                  <c:pt idx="1037">
                    <c:v>Rolling Mean (30 Minute)</c:v>
                  </c:pt>
                  <c:pt idx="1038">
                    <c:v>Rolling Mean (30 Minute)</c:v>
                  </c:pt>
                  <c:pt idx="1039">
                    <c:v>Rolling Mean (30 Minute)</c:v>
                  </c:pt>
                  <c:pt idx="1040">
                    <c:v>Rolling Mean (30 Minute)</c:v>
                  </c:pt>
                  <c:pt idx="1041">
                    <c:v>Rolling Mean (30 Minute)</c:v>
                  </c:pt>
                  <c:pt idx="1042">
                    <c:v>Rolling Mean (30 Minute)</c:v>
                  </c:pt>
                  <c:pt idx="1043">
                    <c:v>Rolling Mean (30 Minute)</c:v>
                  </c:pt>
                  <c:pt idx="1044">
                    <c:v>Rolling Mean (30 Minute)</c:v>
                  </c:pt>
                  <c:pt idx="1045">
                    <c:v>Rolling Mean (30 Minute)</c:v>
                  </c:pt>
                  <c:pt idx="1046">
                    <c:v>Rolling Mean (30 Minute)</c:v>
                  </c:pt>
                  <c:pt idx="1047">
                    <c:v>Rolling Mean (30 Minute)</c:v>
                  </c:pt>
                  <c:pt idx="1048">
                    <c:v>Rolling Mean (30 Minute)</c:v>
                  </c:pt>
                  <c:pt idx="1049">
                    <c:v>Rolling Mean (30 Minute)</c:v>
                  </c:pt>
                  <c:pt idx="1050">
                    <c:v>Rolling Mean (30 Minute)</c:v>
                  </c:pt>
                  <c:pt idx="1051">
                    <c:v>Rolling Mean (30 Minute)</c:v>
                  </c:pt>
                  <c:pt idx="1052">
                    <c:v>Rolling Mean (30 Minute)</c:v>
                  </c:pt>
                  <c:pt idx="1053">
                    <c:v>Rolling Mean (30 Minute)</c:v>
                  </c:pt>
                  <c:pt idx="1054">
                    <c:v>Rolling Mean (30 Minute)</c:v>
                  </c:pt>
                  <c:pt idx="1055">
                    <c:v>Rolling Mean (30 Minute)</c:v>
                  </c:pt>
                  <c:pt idx="1056">
                    <c:v>Rolling Mean (30 Minute)</c:v>
                  </c:pt>
                  <c:pt idx="1057">
                    <c:v>Rolling Mean (30 Minute)</c:v>
                  </c:pt>
                  <c:pt idx="1058">
                    <c:v>Rolling Mean (30 Minute)</c:v>
                  </c:pt>
                  <c:pt idx="1059">
                    <c:v>Rolling Mean (30 Minute)</c:v>
                  </c:pt>
                  <c:pt idx="1060">
                    <c:v>Rolling Mean (30 Minute)</c:v>
                  </c:pt>
                  <c:pt idx="1061">
                    <c:v>Rolling Mean (30 Minute)</c:v>
                  </c:pt>
                  <c:pt idx="1062">
                    <c:v>Rolling Mean (30 Minute)</c:v>
                  </c:pt>
                  <c:pt idx="1063">
                    <c:v>Rolling Mean (30 Minute)</c:v>
                  </c:pt>
                  <c:pt idx="1064">
                    <c:v>Rolling Mean (30 Minute)</c:v>
                  </c:pt>
                  <c:pt idx="1065">
                    <c:v>Rolling Mean (30 Minute)</c:v>
                  </c:pt>
                  <c:pt idx="1066">
                    <c:v>Rolling Mean (30 Minute)</c:v>
                  </c:pt>
                  <c:pt idx="1067">
                    <c:v>Rolling Mean (30 Minute)</c:v>
                  </c:pt>
                  <c:pt idx="1068">
                    <c:v>Rolling Mean (30 Minute)</c:v>
                  </c:pt>
                  <c:pt idx="1069">
                    <c:v>Rolling Mean (30 Minute)</c:v>
                  </c:pt>
                  <c:pt idx="1070">
                    <c:v>Rolling Mean (30 Minute)</c:v>
                  </c:pt>
                  <c:pt idx="1071">
                    <c:v>Rolling Mean (30 Minute)</c:v>
                  </c:pt>
                  <c:pt idx="1072">
                    <c:v>Rolling Mean (30 Minute)</c:v>
                  </c:pt>
                  <c:pt idx="1073">
                    <c:v>Rolling Mean (30 Minute)</c:v>
                  </c:pt>
                  <c:pt idx="1074">
                    <c:v>Rolling Mean (30 Minute)</c:v>
                  </c:pt>
                  <c:pt idx="1075">
                    <c:v>Rolling Mean (30 Minute)</c:v>
                  </c:pt>
                  <c:pt idx="1076">
                    <c:v>Rolling Mean (30 Minute)</c:v>
                  </c:pt>
                  <c:pt idx="1077">
                    <c:v>Rolling Mean (30 Minute)</c:v>
                  </c:pt>
                  <c:pt idx="1078">
                    <c:v>Rolling Mean (30 Minute)</c:v>
                  </c:pt>
                  <c:pt idx="1079">
                    <c:v>Rolling Mean (30 Minute)</c:v>
                  </c:pt>
                  <c:pt idx="1080">
                    <c:v>Rolling Mean (30 Minute)</c:v>
                  </c:pt>
                  <c:pt idx="1081">
                    <c:v>Rolling Mean (30 Minute)</c:v>
                  </c:pt>
                  <c:pt idx="1082">
                    <c:v>Rolling Mean (30 Minute)</c:v>
                  </c:pt>
                  <c:pt idx="1083">
                    <c:v>Rolling Mean (30 Minute)</c:v>
                  </c:pt>
                  <c:pt idx="1084">
                    <c:v>Rolling Mean (30 Minute)</c:v>
                  </c:pt>
                  <c:pt idx="1085">
                    <c:v>Rolling Mean (30 Minute)</c:v>
                  </c:pt>
                  <c:pt idx="1086">
                    <c:v>Rolling Mean (30 Minute)</c:v>
                  </c:pt>
                  <c:pt idx="1087">
                    <c:v>Rolling Mean (30 Minute)</c:v>
                  </c:pt>
                  <c:pt idx="1088">
                    <c:v>Rolling Mean (30 Minute)</c:v>
                  </c:pt>
                  <c:pt idx="1089">
                    <c:v>Rolling Mean (30 Minute)</c:v>
                  </c:pt>
                  <c:pt idx="1090">
                    <c:v>Rolling Mean (30 Minute)</c:v>
                  </c:pt>
                  <c:pt idx="1091">
                    <c:v>Rolling Mean (30 Minute)</c:v>
                  </c:pt>
                  <c:pt idx="1092">
                    <c:v>Rolling Mean (30 Minute)</c:v>
                  </c:pt>
                  <c:pt idx="1093">
                    <c:v>Rolling Mean (30 Minute)</c:v>
                  </c:pt>
                  <c:pt idx="1094">
                    <c:v>Rolling Mean (30 Minute)</c:v>
                  </c:pt>
                  <c:pt idx="1095">
                    <c:v>Rolling Mean (30 Minute)</c:v>
                  </c:pt>
                  <c:pt idx="1096">
                    <c:v>Rolling Mean (30 Minute)</c:v>
                  </c:pt>
                  <c:pt idx="1097">
                    <c:v>Rolling Mean (30 Minute)</c:v>
                  </c:pt>
                  <c:pt idx="1098">
                    <c:v>Rolling Mean (30 Minute)</c:v>
                  </c:pt>
                  <c:pt idx="1099">
                    <c:v>Rolling Mean (30 Minute)</c:v>
                  </c:pt>
                  <c:pt idx="1100">
                    <c:v>Rolling Mean (30 Minute)</c:v>
                  </c:pt>
                  <c:pt idx="1101">
                    <c:v>Rolling Mean (30 Minute)</c:v>
                  </c:pt>
                  <c:pt idx="1102">
                    <c:v>Rolling Mean (30 Minute)</c:v>
                  </c:pt>
                  <c:pt idx="1103">
                    <c:v>Rolling Mean (30 Minute)</c:v>
                  </c:pt>
                  <c:pt idx="1104">
                    <c:v>Rolling Mean (30 Minute)</c:v>
                  </c:pt>
                  <c:pt idx="1105">
                    <c:v>Rolling Mean (30 Minute)</c:v>
                  </c:pt>
                  <c:pt idx="1106">
                    <c:v>Rolling Mean (30 Minute)</c:v>
                  </c:pt>
                  <c:pt idx="1107">
                    <c:v>Rolling Mean (30 Minute)</c:v>
                  </c:pt>
                  <c:pt idx="1108">
                    <c:v>Rolling Mean (30 Minute)</c:v>
                  </c:pt>
                  <c:pt idx="1109">
                    <c:v>Rolling Mean (30 Minute)</c:v>
                  </c:pt>
                  <c:pt idx="1110">
                    <c:v>Rolling Mean (30 Minute)</c:v>
                  </c:pt>
                  <c:pt idx="1111">
                    <c:v>Rolling Mean (30 Minute)</c:v>
                  </c:pt>
                  <c:pt idx="1112">
                    <c:v>Rolling Mean (30 Minute)</c:v>
                  </c:pt>
                  <c:pt idx="1113">
                    <c:v>Rolling Mean (30 Minute)</c:v>
                  </c:pt>
                  <c:pt idx="1114">
                    <c:v>Rolling Mean (30 Minute)</c:v>
                  </c:pt>
                  <c:pt idx="1115">
                    <c:v>Rolling Mean (30 Minute)</c:v>
                  </c:pt>
                  <c:pt idx="1116">
                    <c:v>Rolling Mean (30 Minute)</c:v>
                  </c:pt>
                  <c:pt idx="1117">
                    <c:v>Rolling Mean (30 Minute)</c:v>
                  </c:pt>
                  <c:pt idx="1118">
                    <c:v>Rolling Mean (30 Minute)</c:v>
                  </c:pt>
                  <c:pt idx="1119">
                    <c:v>Rolling Mean (30 Minute)</c:v>
                  </c:pt>
                  <c:pt idx="1120">
                    <c:v>Rolling Mean (30 Minute)</c:v>
                  </c:pt>
                  <c:pt idx="1121">
                    <c:v>Rolling Mean (30 Minute)</c:v>
                  </c:pt>
                  <c:pt idx="1122">
                    <c:v>Rolling Mean (30 Minute)</c:v>
                  </c:pt>
                  <c:pt idx="1123">
                    <c:v>Rolling Mean (30 Minute)</c:v>
                  </c:pt>
                  <c:pt idx="1124">
                    <c:v>Rolling Mean (30 Minute)</c:v>
                  </c:pt>
                  <c:pt idx="1125">
                    <c:v>Rolling Mean (30 Minute)</c:v>
                  </c:pt>
                  <c:pt idx="1126">
                    <c:v>Rolling Mean (30 Minute)</c:v>
                  </c:pt>
                  <c:pt idx="1127">
                    <c:v>Rolling Mean (30 Minute)</c:v>
                  </c:pt>
                  <c:pt idx="1128">
                    <c:v>Rolling Mean (30 Minute)</c:v>
                  </c:pt>
                  <c:pt idx="1129">
                    <c:v>Rolling Mean (30 Minute)</c:v>
                  </c:pt>
                  <c:pt idx="1130">
                    <c:v>Rolling Mean (30 Minute)</c:v>
                  </c:pt>
                  <c:pt idx="1131">
                    <c:v>Rolling Mean (30 Minute)</c:v>
                  </c:pt>
                  <c:pt idx="1132">
                    <c:v>Rolling Mean (30 Minute)</c:v>
                  </c:pt>
                  <c:pt idx="1133">
                    <c:v>Rolling Mean (30 Minute)</c:v>
                  </c:pt>
                  <c:pt idx="1134">
                    <c:v>Rolling Mean (30 Minute)</c:v>
                  </c:pt>
                  <c:pt idx="1135">
                    <c:v>Rolling Mean (30 Minute)</c:v>
                  </c:pt>
                  <c:pt idx="1136">
                    <c:v>Rolling Mean (30 Minute)</c:v>
                  </c:pt>
                  <c:pt idx="1137">
                    <c:v>Rolling Mean (30 Minute)</c:v>
                  </c:pt>
                  <c:pt idx="1138">
                    <c:v>Rolling Mean (30 Minute)</c:v>
                  </c:pt>
                  <c:pt idx="1139">
                    <c:v>Rolling Mean (30 Minute)</c:v>
                  </c:pt>
                  <c:pt idx="1140">
                    <c:v>Rolling Mean (30 Minute)</c:v>
                  </c:pt>
                  <c:pt idx="1141">
                    <c:v>Rolling Mean (30 Minute)</c:v>
                  </c:pt>
                  <c:pt idx="1142">
                    <c:v>Rolling Mean (30 Minute)</c:v>
                  </c:pt>
                  <c:pt idx="1143">
                    <c:v>Rolling Mean (30 Minute)</c:v>
                  </c:pt>
                  <c:pt idx="1144">
                    <c:v>Rolling Mean (30 Minute)</c:v>
                  </c:pt>
                  <c:pt idx="1145">
                    <c:v>Rolling Mean (30 Minute)</c:v>
                  </c:pt>
                  <c:pt idx="1146">
                    <c:v>Rolling Mean (30 Minute)</c:v>
                  </c:pt>
                  <c:pt idx="1147">
                    <c:v>Rolling Mean (30 Minute)</c:v>
                  </c:pt>
                  <c:pt idx="1148">
                    <c:v>Rolling Mean (30 Minute)</c:v>
                  </c:pt>
                  <c:pt idx="1149">
                    <c:v>Rolling Mean (30 Minute)</c:v>
                  </c:pt>
                  <c:pt idx="1150">
                    <c:v>Rolling Mean (30 Minute)</c:v>
                  </c:pt>
                  <c:pt idx="1151">
                    <c:v>Rolling Mean (30 Minute)</c:v>
                  </c:pt>
                  <c:pt idx="1152">
                    <c:v>Rolling Mean (30 Minute)</c:v>
                  </c:pt>
                  <c:pt idx="1153">
                    <c:v>Rolling Mean (30 Minute)</c:v>
                  </c:pt>
                  <c:pt idx="1154">
                    <c:v>Rolling Mean (30 Minute)</c:v>
                  </c:pt>
                  <c:pt idx="1155">
                    <c:v>Rolling Mean (30 Minute)</c:v>
                  </c:pt>
                  <c:pt idx="1156">
                    <c:v>Rolling Mean (30 Minute)</c:v>
                  </c:pt>
                  <c:pt idx="1157">
                    <c:v>Rolling Mean (30 Minute)</c:v>
                  </c:pt>
                  <c:pt idx="1158">
                    <c:v>Rolling Mean (30 Minute)</c:v>
                  </c:pt>
                  <c:pt idx="1159">
                    <c:v>Rolling Mean (30 Minute)</c:v>
                  </c:pt>
                  <c:pt idx="1160">
                    <c:v>Rolling Mean (30 Minute)</c:v>
                  </c:pt>
                  <c:pt idx="1161">
                    <c:v>Rolling Mean (30 Minute)</c:v>
                  </c:pt>
                  <c:pt idx="1162">
                    <c:v>Rolling Mean (30 Minute)</c:v>
                  </c:pt>
                  <c:pt idx="1163">
                    <c:v>Rolling Mean (30 Minute)</c:v>
                  </c:pt>
                  <c:pt idx="1164">
                    <c:v>Rolling Mean (30 Minute)</c:v>
                  </c:pt>
                  <c:pt idx="1165">
                    <c:v>Rolling Mean (30 Minute)</c:v>
                  </c:pt>
                  <c:pt idx="1166">
                    <c:v>Rolling Mean (30 Minute)</c:v>
                  </c:pt>
                  <c:pt idx="1167">
                    <c:v>Rolling Mean (30 Minute)</c:v>
                  </c:pt>
                  <c:pt idx="1168">
                    <c:v>Rolling Mean (30 Minute)</c:v>
                  </c:pt>
                  <c:pt idx="1169">
                    <c:v>Rolling Mean (30 Minute)</c:v>
                  </c:pt>
                  <c:pt idx="1170">
                    <c:v>Rolling Mean (30 Minute)</c:v>
                  </c:pt>
                  <c:pt idx="1171">
                    <c:v>Rolling Mean (30 Minute)</c:v>
                  </c:pt>
                  <c:pt idx="1172">
                    <c:v>Rolling Mean (30 Minute)</c:v>
                  </c:pt>
                  <c:pt idx="1173">
                    <c:v>Rolling Mean (30 Minute)</c:v>
                  </c:pt>
                  <c:pt idx="1174">
                    <c:v>Rolling Mean (30 Minute)</c:v>
                  </c:pt>
                  <c:pt idx="1175">
                    <c:v>Rolling Mean (30 Minute)</c:v>
                  </c:pt>
                  <c:pt idx="1176">
                    <c:v>Rolling Mean (30 Minute)</c:v>
                  </c:pt>
                  <c:pt idx="1177">
                    <c:v>Rolling Mean (30 Minute)</c:v>
                  </c:pt>
                  <c:pt idx="1178">
                    <c:v>Rolling Mean (30 Minute)</c:v>
                  </c:pt>
                  <c:pt idx="1179">
                    <c:v>Rolling Mean (30 Minute)</c:v>
                  </c:pt>
                  <c:pt idx="1180">
                    <c:v>Rolling Mean (30 Minute)</c:v>
                  </c:pt>
                  <c:pt idx="1181">
                    <c:v>Rolling Mean (30 Minute)</c:v>
                  </c:pt>
                  <c:pt idx="1182">
                    <c:v>Rolling Mean (30 Minute)</c:v>
                  </c:pt>
                  <c:pt idx="1183">
                    <c:v>Rolling Mean (30 Minute)</c:v>
                  </c:pt>
                  <c:pt idx="1184">
                    <c:v>Rolling Mean (30 Minute)</c:v>
                  </c:pt>
                  <c:pt idx="1185">
                    <c:v>Rolling Mean (30 Minute)</c:v>
                  </c:pt>
                  <c:pt idx="1186">
                    <c:v>Rolling Mean (30 Minute)</c:v>
                  </c:pt>
                  <c:pt idx="1187">
                    <c:v>Rolling Mean (30 Minute)</c:v>
                  </c:pt>
                  <c:pt idx="1188">
                    <c:v>Rolling Mean (30 Minute)</c:v>
                  </c:pt>
                  <c:pt idx="1189">
                    <c:v>Rolling Mean (30 Minute)</c:v>
                  </c:pt>
                  <c:pt idx="1190">
                    <c:v>Rolling Mean (30 Minute)</c:v>
                  </c:pt>
                  <c:pt idx="1191">
                    <c:v>Rolling Mean (30 Minute)</c:v>
                  </c:pt>
                  <c:pt idx="1192">
                    <c:v>Rolling Mean (30 Minute)</c:v>
                  </c:pt>
                  <c:pt idx="1193">
                    <c:v>Rolling Mean (30 Minute)</c:v>
                  </c:pt>
                  <c:pt idx="1194">
                    <c:v>Rolling Mean (30 Minute)</c:v>
                  </c:pt>
                  <c:pt idx="1195">
                    <c:v>Rolling Mean (30 Minute)</c:v>
                  </c:pt>
                  <c:pt idx="1196">
                    <c:v>Rolling Mean (30 Minute)</c:v>
                  </c:pt>
                  <c:pt idx="1197">
                    <c:v>Rolling Mean (30 Minute)</c:v>
                  </c:pt>
                  <c:pt idx="1198">
                    <c:v>Rolling Mean (30 Minute)</c:v>
                  </c:pt>
                  <c:pt idx="1199">
                    <c:v>Rolling Mean (30 Minute)</c:v>
                  </c:pt>
                  <c:pt idx="1200">
                    <c:v>Rolling Mean (30 Minute)</c:v>
                  </c:pt>
                  <c:pt idx="1201">
                    <c:v>Rolling Mean (30 Minute)</c:v>
                  </c:pt>
                  <c:pt idx="1202">
                    <c:v>Rolling Mean (30 Minute)</c:v>
                  </c:pt>
                  <c:pt idx="1203">
                    <c:v>Rolling Mean (30 Minute)</c:v>
                  </c:pt>
                  <c:pt idx="1204">
                    <c:v>Rolling Mean (30 Minute)</c:v>
                  </c:pt>
                  <c:pt idx="1205">
                    <c:v>Rolling Mean (30 Minute)</c:v>
                  </c:pt>
                  <c:pt idx="1206">
                    <c:v>Rolling Mean (30 Minute)</c:v>
                  </c:pt>
                  <c:pt idx="1207">
                    <c:v>Rolling Mean (30 Minute)</c:v>
                  </c:pt>
                  <c:pt idx="1208">
                    <c:v>Rolling Mean (30 Minute)</c:v>
                  </c:pt>
                  <c:pt idx="1209">
                    <c:v>Rolling Mean (30 Minute)</c:v>
                  </c:pt>
                  <c:pt idx="1210">
                    <c:v>Rolling Mean (30 Minute)</c:v>
                  </c:pt>
                  <c:pt idx="1211">
                    <c:v>Rolling Mean (30 Minute)</c:v>
                  </c:pt>
                  <c:pt idx="1212">
                    <c:v>Rolling Mean (30 Minute)</c:v>
                  </c:pt>
                  <c:pt idx="1213">
                    <c:v>Rolling Mean (30 Minute)</c:v>
                  </c:pt>
                  <c:pt idx="1214">
                    <c:v>Rolling Mean (30 Minute)</c:v>
                  </c:pt>
                  <c:pt idx="1215">
                    <c:v>Rolling Mean (30 Minute)</c:v>
                  </c:pt>
                  <c:pt idx="1216">
                    <c:v>Rolling Mean (30 Minute)</c:v>
                  </c:pt>
                  <c:pt idx="1217">
                    <c:v>Rolling Mean (30 Minute)</c:v>
                  </c:pt>
                  <c:pt idx="1218">
                    <c:v>Rolling Mean (30 Minute)</c:v>
                  </c:pt>
                  <c:pt idx="1219">
                    <c:v>Rolling Mean (30 Minute)</c:v>
                  </c:pt>
                  <c:pt idx="1220">
                    <c:v>Rolling Mean (30 Minute)</c:v>
                  </c:pt>
                  <c:pt idx="1221">
                    <c:v>Rolling Mean (30 Minute)</c:v>
                  </c:pt>
                  <c:pt idx="1222">
                    <c:v>Rolling Mean (30 Minute)</c:v>
                  </c:pt>
                  <c:pt idx="1223">
                    <c:v>Rolling Mean (30 Minute)</c:v>
                  </c:pt>
                  <c:pt idx="1224">
                    <c:v>Rolling Mean (30 Minute)</c:v>
                  </c:pt>
                  <c:pt idx="1225">
                    <c:v>Rolling Mean (30 Minute)</c:v>
                  </c:pt>
                  <c:pt idx="1226">
                    <c:v>Rolling Mean (30 Minute)</c:v>
                  </c:pt>
                  <c:pt idx="1227">
                    <c:v>Rolling Mean (30 Minute)</c:v>
                  </c:pt>
                  <c:pt idx="1228">
                    <c:v>Rolling Mean (30 Minute)</c:v>
                  </c:pt>
                  <c:pt idx="1229">
                    <c:v>Rolling Mean (30 Minute)</c:v>
                  </c:pt>
                  <c:pt idx="1230">
                    <c:v>Rolling Mean (30 Minute)</c:v>
                  </c:pt>
                  <c:pt idx="1231">
                    <c:v>Rolling Mean (30 Minute)</c:v>
                  </c:pt>
                  <c:pt idx="1232">
                    <c:v>Rolling Mean (30 Minute)</c:v>
                  </c:pt>
                  <c:pt idx="1233">
                    <c:v>Rolling Mean (30 Minute)</c:v>
                  </c:pt>
                  <c:pt idx="1234">
                    <c:v>Rolling Mean (30 Minute)</c:v>
                  </c:pt>
                  <c:pt idx="1235">
                    <c:v>Rolling Mean (30 Minute)</c:v>
                  </c:pt>
                  <c:pt idx="1236">
                    <c:v>Rolling Mean (30 Minute)</c:v>
                  </c:pt>
                  <c:pt idx="1237">
                    <c:v>Rolling Mean (30 Minute)</c:v>
                  </c:pt>
                  <c:pt idx="1238">
                    <c:v>Rolling Mean (30 Minute)</c:v>
                  </c:pt>
                  <c:pt idx="1239">
                    <c:v>Rolling Mean (30 Minute)</c:v>
                  </c:pt>
                  <c:pt idx="1240">
                    <c:v>Rolling Mean (30 Minute)</c:v>
                  </c:pt>
                  <c:pt idx="1241">
                    <c:v>Rolling Mean (30 Minute)</c:v>
                  </c:pt>
                  <c:pt idx="1242">
                    <c:v>Rolling Mean (30 Minute)</c:v>
                  </c:pt>
                  <c:pt idx="1243">
                    <c:v>Rolling Mean (30 Minute)</c:v>
                  </c:pt>
                  <c:pt idx="1244">
                    <c:v>Rolling Mean (30 Minute)</c:v>
                  </c:pt>
                  <c:pt idx="1245">
                    <c:v>Rolling Mean (30 Minute)</c:v>
                  </c:pt>
                  <c:pt idx="1246">
                    <c:v>Rolling Mean (30 Minute)</c:v>
                  </c:pt>
                  <c:pt idx="1247">
                    <c:v>Rolling Mean (30 Minute)</c:v>
                  </c:pt>
                  <c:pt idx="1248">
                    <c:v>Rolling Mean (30 Minute)</c:v>
                  </c:pt>
                  <c:pt idx="1249">
                    <c:v>Rolling Mean (30 Minute)</c:v>
                  </c:pt>
                  <c:pt idx="1250">
                    <c:v>Rolling Mean (30 Minute)</c:v>
                  </c:pt>
                  <c:pt idx="1251">
                    <c:v>Rolling Mean (30 Minute)</c:v>
                  </c:pt>
                  <c:pt idx="1252">
                    <c:v>Rolling Mean (30 Minute)</c:v>
                  </c:pt>
                  <c:pt idx="1253">
                    <c:v>Rolling Mean (30 Minute)</c:v>
                  </c:pt>
                  <c:pt idx="1254">
                    <c:v>Rolling Mean (30 Minute)</c:v>
                  </c:pt>
                  <c:pt idx="1255">
                    <c:v>Rolling Mean (30 Minute)</c:v>
                  </c:pt>
                  <c:pt idx="1256">
                    <c:v>Rolling Mean (30 Minute)</c:v>
                  </c:pt>
                  <c:pt idx="1257">
                    <c:v>Rolling Mean (30 Minute)</c:v>
                  </c:pt>
                  <c:pt idx="1258">
                    <c:v>Rolling Mean (30 Minute)</c:v>
                  </c:pt>
                  <c:pt idx="1259">
                    <c:v>Rolling Mean (30 Minute)</c:v>
                  </c:pt>
                  <c:pt idx="1260">
                    <c:v>Rolling Mean (30 Minute)</c:v>
                  </c:pt>
                  <c:pt idx="1261">
                    <c:v>Rolling Mean (30 Minute)</c:v>
                  </c:pt>
                  <c:pt idx="1262">
                    <c:v>Rolling Mean (30 Minute)</c:v>
                  </c:pt>
                  <c:pt idx="1263">
                    <c:v>Rolling Mean (30 Minute)</c:v>
                  </c:pt>
                  <c:pt idx="1264">
                    <c:v>Rolling Mean (30 Minute)</c:v>
                  </c:pt>
                  <c:pt idx="1265">
                    <c:v>Rolling Mean (30 Minute)</c:v>
                  </c:pt>
                  <c:pt idx="1266">
                    <c:v>Rolling Mean (30 Minute)</c:v>
                  </c:pt>
                  <c:pt idx="1267">
                    <c:v>Rolling Mean (30 Minute)</c:v>
                  </c:pt>
                  <c:pt idx="1268">
                    <c:v>Rolling Mean (30 Minute)</c:v>
                  </c:pt>
                  <c:pt idx="1269">
                    <c:v>Rolling Mean (30 Minute)</c:v>
                  </c:pt>
                  <c:pt idx="1270">
                    <c:v>Rolling Mean (30 Minute)</c:v>
                  </c:pt>
                  <c:pt idx="1271">
                    <c:v>Rolling Mean (30 Minute)</c:v>
                  </c:pt>
                  <c:pt idx="1272">
                    <c:v>Rolling Mean (30 Minute)</c:v>
                  </c:pt>
                  <c:pt idx="1273">
                    <c:v>Rolling Mean (30 Minute)</c:v>
                  </c:pt>
                  <c:pt idx="1274">
                    <c:v>Rolling Mean (30 Minute)</c:v>
                  </c:pt>
                  <c:pt idx="1275">
                    <c:v>Rolling Mean (30 Minute)</c:v>
                  </c:pt>
                  <c:pt idx="1276">
                    <c:v>Rolling Mean (30 Minute)</c:v>
                  </c:pt>
                  <c:pt idx="1277">
                    <c:v>Rolling Mean (30 Minute)</c:v>
                  </c:pt>
                  <c:pt idx="1278">
                    <c:v>Rolling Mean (30 Minute)</c:v>
                  </c:pt>
                  <c:pt idx="1279">
                    <c:v>Rolling Mean (30 Minute)</c:v>
                  </c:pt>
                  <c:pt idx="1280">
                    <c:v>Rolling Mean (30 Minute)</c:v>
                  </c:pt>
                  <c:pt idx="1281">
                    <c:v>Rolling Mean (30 Minute)</c:v>
                  </c:pt>
                  <c:pt idx="1282">
                    <c:v>Rolling Mean (30 Minute)</c:v>
                  </c:pt>
                  <c:pt idx="1283">
                    <c:v>Rolling Mean (30 Minute)</c:v>
                  </c:pt>
                  <c:pt idx="1284">
                    <c:v>Rolling Mean (30 Minute)</c:v>
                  </c:pt>
                  <c:pt idx="1285">
                    <c:v>Rolling Mean (30 Minute)</c:v>
                  </c:pt>
                  <c:pt idx="1286">
                    <c:v>Rolling Mean (30 Minute)</c:v>
                  </c:pt>
                  <c:pt idx="1287">
                    <c:v>Rolling Mean (30 Minute)</c:v>
                  </c:pt>
                  <c:pt idx="1288">
                    <c:v>Rolling Mean (30 Minute)</c:v>
                  </c:pt>
                  <c:pt idx="1289">
                    <c:v>Rolling Mean (30 Minute)</c:v>
                  </c:pt>
                  <c:pt idx="1290">
                    <c:v>Rolling Mean (30 Minute)</c:v>
                  </c:pt>
                  <c:pt idx="1291">
                    <c:v>Rolling Mean (30 Minute)</c:v>
                  </c:pt>
                  <c:pt idx="1292">
                    <c:v>Rolling Mean (30 Minute)</c:v>
                  </c:pt>
                  <c:pt idx="1293">
                    <c:v>Rolling Mean (30 Minute)</c:v>
                  </c:pt>
                  <c:pt idx="1294">
                    <c:v>Rolling Mean (30 Minute)</c:v>
                  </c:pt>
                  <c:pt idx="1295">
                    <c:v>Rolling Mean (30 Minute)</c:v>
                  </c:pt>
                  <c:pt idx="1296">
                    <c:v>Rolling Mean (30 Minute)</c:v>
                  </c:pt>
                  <c:pt idx="1297">
                    <c:v>Rolling Mean (30 Minute)</c:v>
                  </c:pt>
                  <c:pt idx="1298">
                    <c:v>Rolling Mean (30 Minute)</c:v>
                  </c:pt>
                  <c:pt idx="1299">
                    <c:v>Rolling Mean (30 Minute)</c:v>
                  </c:pt>
                  <c:pt idx="1300">
                    <c:v>Rolling Mean (30 Minute)</c:v>
                  </c:pt>
                  <c:pt idx="1301">
                    <c:v>Rolling Mean (30 Minute)</c:v>
                  </c:pt>
                  <c:pt idx="1302">
                    <c:v>Rolling Mean (30 Minute)</c:v>
                  </c:pt>
                  <c:pt idx="1303">
                    <c:v>Rolling Mean (30 Minute)</c:v>
                  </c:pt>
                  <c:pt idx="1304">
                    <c:v>Rolling Mean (30 Minute)</c:v>
                  </c:pt>
                  <c:pt idx="1305">
                    <c:v>Rolling Mean (30 Minute)</c:v>
                  </c:pt>
                  <c:pt idx="1306">
                    <c:v>Rolling Mean (30 Minute)</c:v>
                  </c:pt>
                  <c:pt idx="1307">
                    <c:v>Rolling Mean (30 Minute)</c:v>
                  </c:pt>
                  <c:pt idx="1308">
                    <c:v>Rolling Mean (30 Minute)</c:v>
                  </c:pt>
                  <c:pt idx="1309">
                    <c:v>Rolling Mean (30 Minute)</c:v>
                  </c:pt>
                  <c:pt idx="1310">
                    <c:v>Rolling Mean (30 Minute)</c:v>
                  </c:pt>
                  <c:pt idx="1311">
                    <c:v>Rolling Mean (30 Minute)</c:v>
                  </c:pt>
                  <c:pt idx="1312">
                    <c:v>Rolling Mean (30 Minute)</c:v>
                  </c:pt>
                  <c:pt idx="1313">
                    <c:v>Rolling Mean (30 Minute)</c:v>
                  </c:pt>
                  <c:pt idx="1314">
                    <c:v>Rolling Mean (30 Minute)</c:v>
                  </c:pt>
                  <c:pt idx="1315">
                    <c:v>Rolling Mean (30 Minute)</c:v>
                  </c:pt>
                  <c:pt idx="1316">
                    <c:v>Rolling Mean (30 Minute)</c:v>
                  </c:pt>
                  <c:pt idx="1317">
                    <c:v>Rolling Mean (30 Minute)</c:v>
                  </c:pt>
                  <c:pt idx="1318">
                    <c:v>Rolling Mean (30 Minute)</c:v>
                  </c:pt>
                  <c:pt idx="1319">
                    <c:v>Rolling Mean (30 Minute)</c:v>
                  </c:pt>
                  <c:pt idx="1320">
                    <c:v>Rolling Mean (30 Minute)</c:v>
                  </c:pt>
                  <c:pt idx="1321">
                    <c:v>Rolling Mean (30 Minute)</c:v>
                  </c:pt>
                  <c:pt idx="1322">
                    <c:v>Rolling Mean (30 Minute)</c:v>
                  </c:pt>
                  <c:pt idx="1323">
                    <c:v>Rolling Mean (30 Minute)</c:v>
                  </c:pt>
                  <c:pt idx="1324">
                    <c:v>Rolling Mean (30 Minute)</c:v>
                  </c:pt>
                  <c:pt idx="1325">
                    <c:v>Rolling Mean (30 Minute)</c:v>
                  </c:pt>
                  <c:pt idx="1326">
                    <c:v>Rolling Mean (30 Minute)</c:v>
                  </c:pt>
                  <c:pt idx="1327">
                    <c:v>Rolling Mean (30 Minute)</c:v>
                  </c:pt>
                  <c:pt idx="1328">
                    <c:v>Rolling Mean (30 Minute)</c:v>
                  </c:pt>
                  <c:pt idx="1329">
                    <c:v>Rolling Mean (30 Minute)</c:v>
                  </c:pt>
                  <c:pt idx="1330">
                    <c:v>Rolling Mean (30 Minute)</c:v>
                  </c:pt>
                  <c:pt idx="1331">
                    <c:v>Rolling Mean (30 Minute)</c:v>
                  </c:pt>
                  <c:pt idx="1332">
                    <c:v>Rolling Mean (30 Minute)</c:v>
                  </c:pt>
                  <c:pt idx="1333">
                    <c:v>Rolling Mean (30 Minute)</c:v>
                  </c:pt>
                  <c:pt idx="1334">
                    <c:v>Rolling Mean (30 Minute)</c:v>
                  </c:pt>
                  <c:pt idx="1335">
                    <c:v>Rolling Mean (30 Minute)</c:v>
                  </c:pt>
                  <c:pt idx="1336">
                    <c:v>Rolling Mean (30 Minute)</c:v>
                  </c:pt>
                  <c:pt idx="1337">
                    <c:v>Rolling Mean (30 Minute)</c:v>
                  </c:pt>
                  <c:pt idx="1338">
                    <c:v>Rolling Mean (30 Minute)</c:v>
                  </c:pt>
                  <c:pt idx="1339">
                    <c:v>Rolling Mean (30 Minute)</c:v>
                  </c:pt>
                  <c:pt idx="1340">
                    <c:v>Rolling Mean (30 Minute)</c:v>
                  </c:pt>
                  <c:pt idx="1341">
                    <c:v>Rolling Mean (30 Minute)</c:v>
                  </c:pt>
                  <c:pt idx="1342">
                    <c:v>Rolling Mean (30 Minute)</c:v>
                  </c:pt>
                  <c:pt idx="1343">
                    <c:v>Rolling Mean (30 Minute)</c:v>
                  </c:pt>
                  <c:pt idx="1344">
                    <c:v>Rolling Mean (30 Minute)</c:v>
                  </c:pt>
                  <c:pt idx="1345">
                    <c:v>Rolling Mean (30 Minute)</c:v>
                  </c:pt>
                  <c:pt idx="1346">
                    <c:v>Rolling Mean (30 Minute)</c:v>
                  </c:pt>
                  <c:pt idx="1347">
                    <c:v>Rolling Mean (30 Minute)</c:v>
                  </c:pt>
                  <c:pt idx="1348">
                    <c:v>Rolling Mean (30 Minute)</c:v>
                  </c:pt>
                  <c:pt idx="1349">
                    <c:v>Rolling Mean (30 Minute)</c:v>
                  </c:pt>
                  <c:pt idx="1350">
                    <c:v>Rolling Mean (30 Minute)</c:v>
                  </c:pt>
                  <c:pt idx="1351">
                    <c:v>Rolling Mean (30 Minute)</c:v>
                  </c:pt>
                  <c:pt idx="1352">
                    <c:v>Rolling Mean (30 Minute)</c:v>
                  </c:pt>
                  <c:pt idx="1353">
                    <c:v>Rolling Mean (30 Minute)</c:v>
                  </c:pt>
                  <c:pt idx="1354">
                    <c:v>Rolling Mean (30 Minute)</c:v>
                  </c:pt>
                  <c:pt idx="1355">
                    <c:v>Rolling Mean (30 Minute)</c:v>
                  </c:pt>
                  <c:pt idx="1356">
                    <c:v>Rolling Mean (30 Minute)</c:v>
                  </c:pt>
                  <c:pt idx="1357">
                    <c:v>Rolling Mean (30 Minute)</c:v>
                  </c:pt>
                  <c:pt idx="1358">
                    <c:v>Rolling Mean (30 Minute)</c:v>
                  </c:pt>
                  <c:pt idx="1359">
                    <c:v>Rolling Mean (30 Minute)</c:v>
                  </c:pt>
                  <c:pt idx="1360">
                    <c:v>Rolling Mean (30 Minute)</c:v>
                  </c:pt>
                  <c:pt idx="1361">
                    <c:v>Rolling Mean (30 Minute)</c:v>
                  </c:pt>
                  <c:pt idx="1362">
                    <c:v>Rolling Mean (30 Minute)</c:v>
                  </c:pt>
                  <c:pt idx="1363">
                    <c:v>Rolling Mean (30 Minute)</c:v>
                  </c:pt>
                  <c:pt idx="1364">
                    <c:v>Rolling Mean (30 Minute)</c:v>
                  </c:pt>
                  <c:pt idx="1365">
                    <c:v>Rolling Mean (30 Minute)</c:v>
                  </c:pt>
                  <c:pt idx="1366">
                    <c:v>Rolling Mean (30 Minute)</c:v>
                  </c:pt>
                  <c:pt idx="1367">
                    <c:v>Rolling Mean (30 Minute)</c:v>
                  </c:pt>
                  <c:pt idx="1368">
                    <c:v>Rolling Mean (30 Minute)</c:v>
                  </c:pt>
                  <c:pt idx="1369">
                    <c:v>Rolling Mean (30 Minute)</c:v>
                  </c:pt>
                  <c:pt idx="1370">
                    <c:v>Rolling Mean (30 Minute)</c:v>
                  </c:pt>
                  <c:pt idx="1371">
                    <c:v>Rolling Mean (30 Minute)</c:v>
                  </c:pt>
                  <c:pt idx="1372">
                    <c:v>Rolling Mean (30 Minute)</c:v>
                  </c:pt>
                  <c:pt idx="1373">
                    <c:v>Rolling Mean (30 Minute)</c:v>
                  </c:pt>
                  <c:pt idx="1374">
                    <c:v>Rolling Mean (30 Minute)</c:v>
                  </c:pt>
                  <c:pt idx="1375">
                    <c:v>Rolling Mean (30 Minute)</c:v>
                  </c:pt>
                  <c:pt idx="1376">
                    <c:v>Rolling Mean (30 Minute)</c:v>
                  </c:pt>
                  <c:pt idx="1377">
                    <c:v>Rolling Mean (30 Minute)</c:v>
                  </c:pt>
                  <c:pt idx="1378">
                    <c:v>Rolling Mean (30 Minute)</c:v>
                  </c:pt>
                  <c:pt idx="1379">
                    <c:v>Rolling Mean (30 Minute)</c:v>
                  </c:pt>
                  <c:pt idx="1380">
                    <c:v>Rolling Mean (30 Minute)</c:v>
                  </c:pt>
                  <c:pt idx="1381">
                    <c:v>Rolling Mean (30 Minute)</c:v>
                  </c:pt>
                  <c:pt idx="1382">
                    <c:v>Rolling Mean (30 Minute)</c:v>
                  </c:pt>
                  <c:pt idx="1383">
                    <c:v>Rolling Mean (30 Minute)</c:v>
                  </c:pt>
                  <c:pt idx="1384">
                    <c:v>Rolling Mean (30 Minute)</c:v>
                  </c:pt>
                  <c:pt idx="1385">
                    <c:v>Rolling Mean (30 Minute)</c:v>
                  </c:pt>
                  <c:pt idx="1386">
                    <c:v>Rolling Mean (30 Minute)</c:v>
                  </c:pt>
                  <c:pt idx="1387">
                    <c:v>Rolling Mean (30 Minute)</c:v>
                  </c:pt>
                  <c:pt idx="1388">
                    <c:v>Rolling Mean (30 Minute)</c:v>
                  </c:pt>
                  <c:pt idx="1389">
                    <c:v>Rolling Mean (30 Minute)</c:v>
                  </c:pt>
                  <c:pt idx="1390">
                    <c:v>Rolling Mean (30 Minute)</c:v>
                  </c:pt>
                  <c:pt idx="1391">
                    <c:v>Rolling Mean (30 Minute)</c:v>
                  </c:pt>
                  <c:pt idx="1392">
                    <c:v>Rolling Mean (30 Minute)</c:v>
                  </c:pt>
                  <c:pt idx="1393">
                    <c:v>Rolling Mean (30 Minute)</c:v>
                  </c:pt>
                  <c:pt idx="1394">
                    <c:v>Rolling Mean (30 Minute)</c:v>
                  </c:pt>
                  <c:pt idx="1395">
                    <c:v>Rolling Mean (30 Minute)</c:v>
                  </c:pt>
                  <c:pt idx="1396">
                    <c:v>Rolling Mean (30 Minute)</c:v>
                  </c:pt>
                  <c:pt idx="1397">
                    <c:v>Rolling Mean (30 Minute)</c:v>
                  </c:pt>
                  <c:pt idx="1398">
                    <c:v>Rolling Mean (30 Minute)</c:v>
                  </c:pt>
                  <c:pt idx="1399">
                    <c:v>Rolling Mean (30 Minute)</c:v>
                  </c:pt>
                  <c:pt idx="1400">
                    <c:v>Rolling Mean (30 Minute)</c:v>
                  </c:pt>
                  <c:pt idx="1401">
                    <c:v>Rolling Mean (30 Minute)</c:v>
                  </c:pt>
                  <c:pt idx="1402">
                    <c:v>Rolling Mean (30 Minute)</c:v>
                  </c:pt>
                  <c:pt idx="1403">
                    <c:v>Rolling Mean (30 Minute)</c:v>
                  </c:pt>
                  <c:pt idx="1404">
                    <c:v>Rolling Mean (30 Minute)</c:v>
                  </c:pt>
                  <c:pt idx="1405">
                    <c:v>Rolling Mean (30 Minute)</c:v>
                  </c:pt>
                  <c:pt idx="1406">
                    <c:v>Rolling Mean (30 Minute)</c:v>
                  </c:pt>
                  <c:pt idx="1407">
                    <c:v>Rolling Mean (30 Minute)</c:v>
                  </c:pt>
                  <c:pt idx="1408">
                    <c:v>Rolling Mean (30 Minute)</c:v>
                  </c:pt>
                  <c:pt idx="1409">
                    <c:v>Rolling Mean (30 Minute)</c:v>
                  </c:pt>
                  <c:pt idx="1410">
                    <c:v>Rolling Mean (30 Minute)</c:v>
                  </c:pt>
                  <c:pt idx="1411">
                    <c:v>Rolling Mean (30 Minute)</c:v>
                  </c:pt>
                  <c:pt idx="1412">
                    <c:v>Rolling Mean (30 Minute)</c:v>
                  </c:pt>
                  <c:pt idx="1413">
                    <c:v>Rolling Mean (30 Minute)</c:v>
                  </c:pt>
                  <c:pt idx="1414">
                    <c:v>Rolling Mean (30 Minute)</c:v>
                  </c:pt>
                  <c:pt idx="1415">
                    <c:v>Rolling Mean (30 Minute)</c:v>
                  </c:pt>
                  <c:pt idx="1416">
                    <c:v>Rolling Mean (30 Minute)</c:v>
                  </c:pt>
                  <c:pt idx="1417">
                    <c:v>Rolling Mean (30 Minute)</c:v>
                  </c:pt>
                  <c:pt idx="1418">
                    <c:v>Rolling Mean (30 Minute)</c:v>
                  </c:pt>
                  <c:pt idx="1419">
                    <c:v>Rolling Mean (30 Minute)</c:v>
                  </c:pt>
                  <c:pt idx="1420">
                    <c:v>Rolling Mean (30 Minute)</c:v>
                  </c:pt>
                  <c:pt idx="1421">
                    <c:v>Rolling Mean (30 Minute)</c:v>
                  </c:pt>
                  <c:pt idx="1422">
                    <c:v>Rolling Mean (30 Minute)</c:v>
                  </c:pt>
                  <c:pt idx="1423">
                    <c:v>Rolling Mean (30 Minute)</c:v>
                  </c:pt>
                  <c:pt idx="1424">
                    <c:v>Rolling Mean (30 Minute)</c:v>
                  </c:pt>
                  <c:pt idx="1425">
                    <c:v>Rolling Mean (30 Minute)</c:v>
                  </c:pt>
                  <c:pt idx="1426">
                    <c:v>Rolling Mean (30 Minute)</c:v>
                  </c:pt>
                  <c:pt idx="1427">
                    <c:v>Rolling Mean (30 Minute)</c:v>
                  </c:pt>
                  <c:pt idx="1428">
                    <c:v>Rolling Mean (30 Minute)</c:v>
                  </c:pt>
                  <c:pt idx="1429">
                    <c:v>Rolling Mean (30 Minute)</c:v>
                  </c:pt>
                  <c:pt idx="1430">
                    <c:v>Rolling Mean (30 Minute)</c:v>
                  </c:pt>
                  <c:pt idx="1431">
                    <c:v>Rolling Mean (30 Minute)</c:v>
                  </c:pt>
                  <c:pt idx="1432">
                    <c:v>Rolling Mean (30 Minute)</c:v>
                  </c:pt>
                  <c:pt idx="1433">
                    <c:v>Rolling Mean (30 Minute)</c:v>
                  </c:pt>
                  <c:pt idx="1434">
                    <c:v>Rolling Mean (30 Minute)</c:v>
                  </c:pt>
                  <c:pt idx="1435">
                    <c:v>Rolling Mean (30 Minute)</c:v>
                  </c:pt>
                  <c:pt idx="1436">
                    <c:v>Rolling Mean (30 Minute)</c:v>
                  </c:pt>
                  <c:pt idx="1437">
                    <c:v>Rolling Mean (30 Minute)</c:v>
                  </c:pt>
                  <c:pt idx="1438">
                    <c:v>Rolling Mean (30 Minute)</c:v>
                  </c:pt>
                  <c:pt idx="1439">
                    <c:v>Rolling Mean (30 Minute)</c:v>
                  </c:pt>
                  <c:pt idx="1440">
                    <c:v>Rolling Mean (30 Minute)</c:v>
                  </c:pt>
                  <c:pt idx="1441">
                    <c:v>Rolling Mean (30 Minute)</c:v>
                  </c:pt>
                  <c:pt idx="1442">
                    <c:v>Rolling Mean (30 Minute)</c:v>
                  </c:pt>
                  <c:pt idx="1443">
                    <c:v>Rolling Mean (30 Minute)</c:v>
                  </c:pt>
                  <c:pt idx="1444">
                    <c:v>Rolling Mean (30 Minute)</c:v>
                  </c:pt>
                  <c:pt idx="1445">
                    <c:v>Rolling Mean (30 Minute)</c:v>
                  </c:pt>
                  <c:pt idx="1446">
                    <c:v>Rolling Mean (30 Minute)</c:v>
                  </c:pt>
                  <c:pt idx="1447">
                    <c:v>Rolling Mean (30 Minute)</c:v>
                  </c:pt>
                  <c:pt idx="1448">
                    <c:v>Rolling Mean (30 Minute)</c:v>
                  </c:pt>
                  <c:pt idx="1449">
                    <c:v>Rolling Mean (30 Minute)</c:v>
                  </c:pt>
                  <c:pt idx="1450">
                    <c:v>Rolling Mean (30 Minute)</c:v>
                  </c:pt>
                  <c:pt idx="1451">
                    <c:v>Rolling Mean (30 Minute)</c:v>
                  </c:pt>
                  <c:pt idx="1452">
                    <c:v>Rolling Mean (30 Minute)</c:v>
                  </c:pt>
                  <c:pt idx="1453">
                    <c:v>Rolling Mean (30 Minute)</c:v>
                  </c:pt>
                  <c:pt idx="1454">
                    <c:v>Rolling Mean (30 Minute)</c:v>
                  </c:pt>
                  <c:pt idx="1455">
                    <c:v>Rolling Mean (30 Minute)</c:v>
                  </c:pt>
                  <c:pt idx="1456">
                    <c:v>Rolling Mean (30 Minute)</c:v>
                  </c:pt>
                  <c:pt idx="1457">
                    <c:v>Rolling Mean (30 Minute)</c:v>
                  </c:pt>
                  <c:pt idx="1458">
                    <c:v>Rolling Mean (30 Minute)</c:v>
                  </c:pt>
                  <c:pt idx="1459">
                    <c:v>Rolling Mean (30 Minute)</c:v>
                  </c:pt>
                  <c:pt idx="1460">
                    <c:v>Rolling Mean (30 Minute)</c:v>
                  </c:pt>
                  <c:pt idx="1461">
                    <c:v>Rolling Mean (30 Minute)</c:v>
                  </c:pt>
                  <c:pt idx="1462">
                    <c:v>Rolling Mean (30 Minute)</c:v>
                  </c:pt>
                  <c:pt idx="1463">
                    <c:v>Rolling Mean (30 Minute)</c:v>
                  </c:pt>
                  <c:pt idx="1464">
                    <c:v>Rolling Mean (30 Minute)</c:v>
                  </c:pt>
                  <c:pt idx="1465">
                    <c:v>Rolling Mean (30 Minute)</c:v>
                  </c:pt>
                  <c:pt idx="1466">
                    <c:v>Rolling Mean (30 Minute)</c:v>
                  </c:pt>
                  <c:pt idx="1467">
                    <c:v>Rolling Mean (30 Minute)</c:v>
                  </c:pt>
                  <c:pt idx="1468">
                    <c:v>Rolling Mean (30 Minute)</c:v>
                  </c:pt>
                  <c:pt idx="1469">
                    <c:v>Rolling Mean (30 Minute)</c:v>
                  </c:pt>
                  <c:pt idx="1470">
                    <c:v>Rolling Mean (30 Minute)</c:v>
                  </c:pt>
                  <c:pt idx="1471">
                    <c:v>Rolling Mean (30 Minute)</c:v>
                  </c:pt>
                  <c:pt idx="1472">
                    <c:v>Rolling Mean (30 Minute)</c:v>
                  </c:pt>
                  <c:pt idx="1473">
                    <c:v>Rolling Mean (30 Minute)</c:v>
                  </c:pt>
                  <c:pt idx="1474">
                    <c:v>Rolling Mean (30 Minute)</c:v>
                  </c:pt>
                  <c:pt idx="1475">
                    <c:v>Rolling Mean (30 Minute)</c:v>
                  </c:pt>
                  <c:pt idx="1476">
                    <c:v>Rolling Mean (30 Minute)</c:v>
                  </c:pt>
                  <c:pt idx="1477">
                    <c:v>Rolling Mean (30 Minute)</c:v>
                  </c:pt>
                  <c:pt idx="1478">
                    <c:v>Rolling Mean (30 Minute)</c:v>
                  </c:pt>
                  <c:pt idx="1479">
                    <c:v>Rolling Mean (30 Minute)</c:v>
                  </c:pt>
                  <c:pt idx="1480">
                    <c:v>Rolling Mean (30 Minute)</c:v>
                  </c:pt>
                  <c:pt idx="1481">
                    <c:v>Rolling Mean (30 Minute)</c:v>
                  </c:pt>
                  <c:pt idx="1482">
                    <c:v>Rolling Mean (30 Minute)</c:v>
                  </c:pt>
                  <c:pt idx="1483">
                    <c:v>Rolling Mean (30 Minute)</c:v>
                  </c:pt>
                  <c:pt idx="1484">
                    <c:v>Rolling Mean (30 Minute)</c:v>
                  </c:pt>
                  <c:pt idx="1485">
                    <c:v>Rolling Mean (30 Minute)</c:v>
                  </c:pt>
                  <c:pt idx="1486">
                    <c:v>Rolling Mean (30 Minute)</c:v>
                  </c:pt>
                  <c:pt idx="1487">
                    <c:v>Rolling Mean (30 Minute)</c:v>
                  </c:pt>
                  <c:pt idx="1488">
                    <c:v>Rolling Mean (30 Minute)</c:v>
                  </c:pt>
                  <c:pt idx="1489">
                    <c:v>Rolling Mean (30 Minute)</c:v>
                  </c:pt>
                  <c:pt idx="1490">
                    <c:v>Rolling Mean (30 Minute)</c:v>
                  </c:pt>
                  <c:pt idx="1491">
                    <c:v>Rolling Mean (30 Minute)</c:v>
                  </c:pt>
                  <c:pt idx="1492">
                    <c:v>Rolling Mean (30 Minute)</c:v>
                  </c:pt>
                  <c:pt idx="1493">
                    <c:v>Rolling Mean (30 Minute)</c:v>
                  </c:pt>
                  <c:pt idx="1494">
                    <c:v>Rolling Mean (30 Minute)</c:v>
                  </c:pt>
                  <c:pt idx="1495">
                    <c:v>Rolling Mean (30 Minute)</c:v>
                  </c:pt>
                  <c:pt idx="1496">
                    <c:v>Rolling Mean (30 Minute)</c:v>
                  </c:pt>
                  <c:pt idx="1497">
                    <c:v>Rolling Mean (30 Minute)</c:v>
                  </c:pt>
                  <c:pt idx="1498">
                    <c:v>Rolling Mean (30 Minute)</c:v>
                  </c:pt>
                  <c:pt idx="1499">
                    <c:v>Rolling Mean (30 Minute)</c:v>
                  </c:pt>
                  <c:pt idx="1500">
                    <c:v>Rolling Mean (30 Minute)</c:v>
                  </c:pt>
                  <c:pt idx="1501">
                    <c:v>Rolling Mean (30 Minute)</c:v>
                  </c:pt>
                  <c:pt idx="1502">
                    <c:v>Rolling Mean (30 Minute)</c:v>
                  </c:pt>
                  <c:pt idx="1503">
                    <c:v>Rolling Mean (30 Minute)</c:v>
                  </c:pt>
                  <c:pt idx="1504">
                    <c:v>Rolling Mean (30 Minute)</c:v>
                  </c:pt>
                  <c:pt idx="1505">
                    <c:v>Rolling Mean (30 Minute)</c:v>
                  </c:pt>
                  <c:pt idx="1506">
                    <c:v>Rolling Mean (30 Minute)</c:v>
                  </c:pt>
                  <c:pt idx="1507">
                    <c:v>Rolling Mean (30 Minute)</c:v>
                  </c:pt>
                  <c:pt idx="1508">
                    <c:v>Rolling Mean (30 Minute)</c:v>
                  </c:pt>
                  <c:pt idx="1509">
                    <c:v>Rolling Mean (30 Minute)</c:v>
                  </c:pt>
                  <c:pt idx="1510">
                    <c:v>Rolling Mean (30 Minute)</c:v>
                  </c:pt>
                  <c:pt idx="1511">
                    <c:v>Rolling Mean (30 Minute)</c:v>
                  </c:pt>
                  <c:pt idx="1512">
                    <c:v>Rolling Mean (30 Minute)</c:v>
                  </c:pt>
                  <c:pt idx="1513">
                    <c:v>Rolling Mean (30 Minute)</c:v>
                  </c:pt>
                  <c:pt idx="1514">
                    <c:v>Rolling Mean (30 Minute)</c:v>
                  </c:pt>
                  <c:pt idx="1515">
                    <c:v>Rolling Mean (30 Minute)</c:v>
                  </c:pt>
                  <c:pt idx="1516">
                    <c:v>Rolling Mean (30 Minute)</c:v>
                  </c:pt>
                  <c:pt idx="1517">
                    <c:v>Rolling Mean (30 Minute)</c:v>
                  </c:pt>
                  <c:pt idx="1518">
                    <c:v>Rolling Mean (30 Minute)</c:v>
                  </c:pt>
                  <c:pt idx="1519">
                    <c:v>Rolling Mean (30 Minute)</c:v>
                  </c:pt>
                  <c:pt idx="1520">
                    <c:v>Rolling Mean (30 Minute)</c:v>
                  </c:pt>
                  <c:pt idx="1521">
                    <c:v>Rolling Mean (30 Minute)</c:v>
                  </c:pt>
                  <c:pt idx="1522">
                    <c:v>Rolling Mean (30 Minute)</c:v>
                  </c:pt>
                  <c:pt idx="1523">
                    <c:v>Rolling Mean (30 Minute)</c:v>
                  </c:pt>
                  <c:pt idx="1524">
                    <c:v>Rolling Mean (30 Minute)</c:v>
                  </c:pt>
                  <c:pt idx="1525">
                    <c:v>Rolling Mean (30 Minute)</c:v>
                  </c:pt>
                  <c:pt idx="1526">
                    <c:v>Rolling Mean (30 Minute)</c:v>
                  </c:pt>
                  <c:pt idx="1527">
                    <c:v>Rolling Mean (30 Minute)</c:v>
                  </c:pt>
                  <c:pt idx="1528">
                    <c:v>Rolling Mean (30 Minute)</c:v>
                  </c:pt>
                  <c:pt idx="1529">
                    <c:v>Rolling Mean (30 Minute)</c:v>
                  </c:pt>
                  <c:pt idx="1530">
                    <c:v>Rolling Mean (30 Minute)</c:v>
                  </c:pt>
                  <c:pt idx="1531">
                    <c:v>Rolling Mean (30 Minute)</c:v>
                  </c:pt>
                  <c:pt idx="1532">
                    <c:v>Rolling Mean (30 Minute)</c:v>
                  </c:pt>
                  <c:pt idx="1533">
                    <c:v>Rolling Mean (30 Minute)</c:v>
                  </c:pt>
                  <c:pt idx="1534">
                    <c:v>Rolling Mean (30 Minute)</c:v>
                  </c:pt>
                  <c:pt idx="1535">
                    <c:v>Rolling Mean (30 Minute)</c:v>
                  </c:pt>
                  <c:pt idx="1536">
                    <c:v>Rolling Mean (30 Minute)</c:v>
                  </c:pt>
                  <c:pt idx="1537">
                    <c:v>Rolling Mean (30 Minute)</c:v>
                  </c:pt>
                  <c:pt idx="1538">
                    <c:v>Rolling Mean (30 Minute)</c:v>
                  </c:pt>
                  <c:pt idx="1539">
                    <c:v>Rolling Mean (30 Minute)</c:v>
                  </c:pt>
                  <c:pt idx="1540">
                    <c:v>Rolling Mean (30 Minute)</c:v>
                  </c:pt>
                  <c:pt idx="1541">
                    <c:v>Rolling Mean (30 Minute)</c:v>
                  </c:pt>
                  <c:pt idx="1542">
                    <c:v>Rolling Mean (30 Minute)</c:v>
                  </c:pt>
                  <c:pt idx="1543">
                    <c:v>Rolling Mean (30 Minute)</c:v>
                  </c:pt>
                  <c:pt idx="1544">
                    <c:v>Rolling Mean (30 Minute)</c:v>
                  </c:pt>
                  <c:pt idx="1545">
                    <c:v>Rolling Mean (30 Minute)</c:v>
                  </c:pt>
                  <c:pt idx="1546">
                    <c:v>Rolling Mean (30 Minute)</c:v>
                  </c:pt>
                  <c:pt idx="1547">
                    <c:v>Rolling Mean (30 Minute)</c:v>
                  </c:pt>
                  <c:pt idx="1548">
                    <c:v>Rolling Mean (30 Minute)</c:v>
                  </c:pt>
                  <c:pt idx="1549">
                    <c:v>Rolling Mean (30 Minute)</c:v>
                  </c:pt>
                  <c:pt idx="1550">
                    <c:v>Rolling Mean (30 Minute)</c:v>
                  </c:pt>
                  <c:pt idx="1551">
                    <c:v>Rolling Mean (30 Minute)</c:v>
                  </c:pt>
                  <c:pt idx="1552">
                    <c:v>Rolling Mean (30 Minute)</c:v>
                  </c:pt>
                  <c:pt idx="1553">
                    <c:v>Rolling Mean (30 Minute)</c:v>
                  </c:pt>
                  <c:pt idx="1554">
                    <c:v>Rolling Mean (30 Minute)</c:v>
                  </c:pt>
                  <c:pt idx="1555">
                    <c:v>Rolling Mean (30 Minute)</c:v>
                  </c:pt>
                  <c:pt idx="1556">
                    <c:v>Rolling Mean (30 Minute)</c:v>
                  </c:pt>
                  <c:pt idx="1557">
                    <c:v>Rolling Mean (30 Minute)</c:v>
                  </c:pt>
                  <c:pt idx="1558">
                    <c:v>Rolling Mean (30 Minute)</c:v>
                  </c:pt>
                  <c:pt idx="1559">
                    <c:v>Rolling Mean (30 Minute)</c:v>
                  </c:pt>
                  <c:pt idx="1560">
                    <c:v>Rolling Mean (30 Minute)</c:v>
                  </c:pt>
                  <c:pt idx="1561">
                    <c:v>Rolling Mean (30 Minute)</c:v>
                  </c:pt>
                  <c:pt idx="1562">
                    <c:v>Rolling Mean (30 Minute)</c:v>
                  </c:pt>
                  <c:pt idx="1563">
                    <c:v>Rolling Mean (30 Minute)</c:v>
                  </c:pt>
                  <c:pt idx="1564">
                    <c:v>Rolling Mean (30 Minute)</c:v>
                  </c:pt>
                  <c:pt idx="1565">
                    <c:v>Rolling Mean (30 Minute)</c:v>
                  </c:pt>
                  <c:pt idx="1566">
                    <c:v>Rolling Mean (30 Minute)</c:v>
                  </c:pt>
                  <c:pt idx="1567">
                    <c:v>Rolling Mean (30 Minute)</c:v>
                  </c:pt>
                  <c:pt idx="1568">
                    <c:v>Rolling Mean (30 Minute)</c:v>
                  </c:pt>
                  <c:pt idx="1569">
                    <c:v>Rolling Mean (30 Minute)</c:v>
                  </c:pt>
                  <c:pt idx="1570">
                    <c:v>Rolling Mean (30 Minute)</c:v>
                  </c:pt>
                  <c:pt idx="1571">
                    <c:v>Rolling Mean (30 Minute)</c:v>
                  </c:pt>
                  <c:pt idx="1572">
                    <c:v>Rolling Mean (30 Minute)</c:v>
                  </c:pt>
                  <c:pt idx="1573">
                    <c:v>Rolling Mean (30 Minute)</c:v>
                  </c:pt>
                  <c:pt idx="1574">
                    <c:v>Rolling Mean (30 Minute)</c:v>
                  </c:pt>
                  <c:pt idx="1575">
                    <c:v>Rolling Mean (30 Minute)</c:v>
                  </c:pt>
                  <c:pt idx="1576">
                    <c:v>Rolling Mean (30 Minute)</c:v>
                  </c:pt>
                  <c:pt idx="1577">
                    <c:v>Rolling Mean (30 Minute)</c:v>
                  </c:pt>
                  <c:pt idx="1578">
                    <c:v>Rolling Mean (30 Minute)</c:v>
                  </c:pt>
                  <c:pt idx="1579">
                    <c:v>Rolling Mean (30 Minute)</c:v>
                  </c:pt>
                  <c:pt idx="1580">
                    <c:v>Rolling Mean (30 Minute)</c:v>
                  </c:pt>
                  <c:pt idx="1581">
                    <c:v>Rolling Mean (30 Minute)</c:v>
                  </c:pt>
                  <c:pt idx="1582">
                    <c:v>Rolling Mean (30 Minute)</c:v>
                  </c:pt>
                  <c:pt idx="1583">
                    <c:v>Rolling Mean (30 Minute)</c:v>
                  </c:pt>
                  <c:pt idx="1584">
                    <c:v>Rolling Mean (30 Minute)</c:v>
                  </c:pt>
                  <c:pt idx="1585">
                    <c:v>Rolling Mean (30 Minute)</c:v>
                  </c:pt>
                  <c:pt idx="1586">
                    <c:v>Rolling Mean (30 Minute)</c:v>
                  </c:pt>
                  <c:pt idx="1587">
                    <c:v>Rolling Mean (30 Minute)</c:v>
                  </c:pt>
                  <c:pt idx="1588">
                    <c:v>Rolling Mean (30 Minute)</c:v>
                  </c:pt>
                  <c:pt idx="1589">
                    <c:v>Rolling Mean (30 Minute)</c:v>
                  </c:pt>
                  <c:pt idx="1590">
                    <c:v>Rolling Mean (30 Minute)</c:v>
                  </c:pt>
                  <c:pt idx="1591">
                    <c:v>Rolling Mean (30 Minute)</c:v>
                  </c:pt>
                  <c:pt idx="1592">
                    <c:v>Rolling Mean (30 Minute)</c:v>
                  </c:pt>
                  <c:pt idx="1593">
                    <c:v>Rolling Mean (30 Minute)</c:v>
                  </c:pt>
                  <c:pt idx="1594">
                    <c:v>Rolling Mean (30 Minute)</c:v>
                  </c:pt>
                  <c:pt idx="1595">
                    <c:v>Rolling Mean (30 Minute)</c:v>
                  </c:pt>
                  <c:pt idx="1596">
                    <c:v>Rolling Mean (30 Minute)</c:v>
                  </c:pt>
                  <c:pt idx="1597">
                    <c:v>Rolling Mean (30 Minute)</c:v>
                  </c:pt>
                  <c:pt idx="1598">
                    <c:v>Rolling Mean (30 Minute)</c:v>
                  </c:pt>
                  <c:pt idx="1599">
                    <c:v>Rolling Mean (30 Minute)</c:v>
                  </c:pt>
                  <c:pt idx="1600">
                    <c:v>Rolling Mean (30 Minute)</c:v>
                  </c:pt>
                  <c:pt idx="1601">
                    <c:v>Rolling Mean (30 Minute)</c:v>
                  </c:pt>
                  <c:pt idx="1602">
                    <c:v>Rolling Mean (30 Minute)</c:v>
                  </c:pt>
                  <c:pt idx="1603">
                    <c:v>Rolling Mean (30 Minute)</c:v>
                  </c:pt>
                  <c:pt idx="1604">
                    <c:v>Rolling Mean (30 Minute)</c:v>
                  </c:pt>
                  <c:pt idx="1605">
                    <c:v>Rolling Mean (30 Minute)</c:v>
                  </c:pt>
                  <c:pt idx="1606">
                    <c:v>Rolling Mean (30 Minute)</c:v>
                  </c:pt>
                  <c:pt idx="1607">
                    <c:v>Rolling Mean (30 Minute)</c:v>
                  </c:pt>
                  <c:pt idx="1608">
                    <c:v>Rolling Mean (30 Minute)</c:v>
                  </c:pt>
                  <c:pt idx="1609">
                    <c:v>Rolling Mean (30 Minute)</c:v>
                  </c:pt>
                  <c:pt idx="1610">
                    <c:v>Rolling Mean (30 Minute)</c:v>
                  </c:pt>
                  <c:pt idx="1611">
                    <c:v>Rolling Mean (30 Minute)</c:v>
                  </c:pt>
                  <c:pt idx="1612">
                    <c:v>Rolling Mean (30 Minute)</c:v>
                  </c:pt>
                  <c:pt idx="1613">
                    <c:v>Rolling Mean (30 Minute)</c:v>
                  </c:pt>
                  <c:pt idx="1614">
                    <c:v>Rolling Mean (30 Minute)</c:v>
                  </c:pt>
                  <c:pt idx="1615">
                    <c:v>Rolling Mean (30 Minute)</c:v>
                  </c:pt>
                  <c:pt idx="1616">
                    <c:v>Rolling Mean (30 Minute)</c:v>
                  </c:pt>
                  <c:pt idx="1617">
                    <c:v>Rolling Mean (30 Minute)</c:v>
                  </c:pt>
                  <c:pt idx="1618">
                    <c:v>Rolling Mean (30 Minute)</c:v>
                  </c:pt>
                  <c:pt idx="1619">
                    <c:v>Rolling Mean (30 Minute)</c:v>
                  </c:pt>
                  <c:pt idx="1620">
                    <c:v>Rolling Mean (30 Minute)</c:v>
                  </c:pt>
                  <c:pt idx="1621">
                    <c:v>Rolling Mean (30 Minute)</c:v>
                  </c:pt>
                  <c:pt idx="1622">
                    <c:v>Rolling Mean (30 Minute)</c:v>
                  </c:pt>
                  <c:pt idx="1623">
                    <c:v>Rolling Mean (30 Minute)</c:v>
                  </c:pt>
                  <c:pt idx="1624">
                    <c:v>Rolling Mean (30 Minute)</c:v>
                  </c:pt>
                  <c:pt idx="1625">
                    <c:v>Rolling Mean (30 Minute)</c:v>
                  </c:pt>
                  <c:pt idx="1626">
                    <c:v>Rolling Mean (30 Minute)</c:v>
                  </c:pt>
                  <c:pt idx="1627">
                    <c:v>Rolling Mean (30 Minute)</c:v>
                  </c:pt>
                  <c:pt idx="1628">
                    <c:v>Rolling Mean (30 Minute)</c:v>
                  </c:pt>
                  <c:pt idx="1629">
                    <c:v>Rolling Mean (30 Minute)</c:v>
                  </c:pt>
                  <c:pt idx="1630">
                    <c:v>Rolling Mean (30 Minute)</c:v>
                  </c:pt>
                  <c:pt idx="1631">
                    <c:v>Rolling Mean (30 Minute)</c:v>
                  </c:pt>
                  <c:pt idx="1632">
                    <c:v>Rolling Mean (30 Minute)</c:v>
                  </c:pt>
                  <c:pt idx="1633">
                    <c:v>Rolling Mean (30 Minute)</c:v>
                  </c:pt>
                  <c:pt idx="1634">
                    <c:v>Rolling Mean (30 Minute)</c:v>
                  </c:pt>
                  <c:pt idx="1635">
                    <c:v>Rolling Mean (30 Minute)</c:v>
                  </c:pt>
                  <c:pt idx="1636">
                    <c:v>Rolling Mean (30 Minute)</c:v>
                  </c:pt>
                  <c:pt idx="1637">
                    <c:v>Rolling Mean (30 Minute)</c:v>
                  </c:pt>
                  <c:pt idx="1638">
                    <c:v>Rolling Mean (30 Minute)</c:v>
                  </c:pt>
                  <c:pt idx="1639">
                    <c:v>Rolling Mean (30 Minute)</c:v>
                  </c:pt>
                  <c:pt idx="1640">
                    <c:v>Rolling Mean (30 Minute)</c:v>
                  </c:pt>
                  <c:pt idx="1641">
                    <c:v>Rolling Mean (30 Minute)</c:v>
                  </c:pt>
                  <c:pt idx="1642">
                    <c:v>Rolling Mean (30 Minute)</c:v>
                  </c:pt>
                  <c:pt idx="1643">
                    <c:v>Rolling Mean (30 Minute)</c:v>
                  </c:pt>
                  <c:pt idx="1644">
                    <c:v>Rolling Mean (30 Minute)</c:v>
                  </c:pt>
                  <c:pt idx="1645">
                    <c:v>Rolling Mean (30 Minute)</c:v>
                  </c:pt>
                  <c:pt idx="1646">
                    <c:v>Rolling Mean (30 Minute)</c:v>
                  </c:pt>
                  <c:pt idx="1647">
                    <c:v>Rolling Mean (30 Minute)</c:v>
                  </c:pt>
                  <c:pt idx="1648">
                    <c:v>Rolling Mean (30 Minute)</c:v>
                  </c:pt>
                  <c:pt idx="1649">
                    <c:v>Rolling Mean (30 Minute)</c:v>
                  </c:pt>
                  <c:pt idx="1650">
                    <c:v>Rolling Mean (30 Minute)</c:v>
                  </c:pt>
                  <c:pt idx="1651">
                    <c:v>Rolling Mean (30 Minute)</c:v>
                  </c:pt>
                  <c:pt idx="1652">
                    <c:v>Rolling Mean (30 Minute)</c:v>
                  </c:pt>
                  <c:pt idx="1653">
                    <c:v>Rolling Mean (30 Minute)</c:v>
                  </c:pt>
                  <c:pt idx="1654">
                    <c:v>Rolling Mean (30 Minute)</c:v>
                  </c:pt>
                  <c:pt idx="1655">
                    <c:v>Rolling Mean (30 Minute)</c:v>
                  </c:pt>
                  <c:pt idx="1656">
                    <c:v>Rolling Mean (30 Minute)</c:v>
                  </c:pt>
                  <c:pt idx="1657">
                    <c:v>Rolling Mean (30 Minute)</c:v>
                  </c:pt>
                  <c:pt idx="1658">
                    <c:v>Rolling Mean (30 Minute)</c:v>
                  </c:pt>
                  <c:pt idx="1659">
                    <c:v>Rolling Mean (30 Minute)</c:v>
                  </c:pt>
                  <c:pt idx="1660">
                    <c:v>Rolling Mean (30 Minute)</c:v>
                  </c:pt>
                  <c:pt idx="1661">
                    <c:v>Rolling Mean (30 Minute)</c:v>
                  </c:pt>
                  <c:pt idx="1662">
                    <c:v>Rolling Mean (30 Minute)</c:v>
                  </c:pt>
                  <c:pt idx="1663">
                    <c:v>Rolling Mean (30 Minute)</c:v>
                  </c:pt>
                  <c:pt idx="1664">
                    <c:v>Rolling Mean (30 Minute)</c:v>
                  </c:pt>
                  <c:pt idx="1665">
                    <c:v>Rolling Mean (30 Minute)</c:v>
                  </c:pt>
                  <c:pt idx="1666">
                    <c:v>Rolling Mean (30 Minute)</c:v>
                  </c:pt>
                  <c:pt idx="1667">
                    <c:v>Rolling Mean (30 Minute)</c:v>
                  </c:pt>
                  <c:pt idx="1668">
                    <c:v>Rolling Mean (30 Minute)</c:v>
                  </c:pt>
                  <c:pt idx="1669">
                    <c:v>Rolling Mean (30 Minute)</c:v>
                  </c:pt>
                  <c:pt idx="1670">
                    <c:v>Rolling Mean (30 Minute)</c:v>
                  </c:pt>
                  <c:pt idx="1671">
                    <c:v>Rolling Mean (30 Minute)</c:v>
                  </c:pt>
                  <c:pt idx="1672">
                    <c:v>Rolling Mean (30 Minute)</c:v>
                  </c:pt>
                  <c:pt idx="1673">
                    <c:v>Rolling Mean (30 Minute)</c:v>
                  </c:pt>
                  <c:pt idx="1674">
                    <c:v>Rolling Mean (30 Minute)</c:v>
                  </c:pt>
                  <c:pt idx="1675">
                    <c:v>Rolling Mean (30 Minute)</c:v>
                  </c:pt>
                  <c:pt idx="1676">
                    <c:v>Rolling Mean (30 Minute)</c:v>
                  </c:pt>
                  <c:pt idx="1677">
                    <c:v>Rolling Mean (30 Minute)</c:v>
                  </c:pt>
                  <c:pt idx="1678">
                    <c:v>Rolling Mean (30 Minute)</c:v>
                  </c:pt>
                  <c:pt idx="1679">
                    <c:v>Rolling Mean (30 Minute)</c:v>
                  </c:pt>
                  <c:pt idx="1680">
                    <c:v>Rolling Mean (30 Minute)</c:v>
                  </c:pt>
                  <c:pt idx="1681">
                    <c:v>Rolling Mean (30 Minute)</c:v>
                  </c:pt>
                  <c:pt idx="1682">
                    <c:v>Rolling Mean (30 Minute)</c:v>
                  </c:pt>
                  <c:pt idx="1683">
                    <c:v>Rolling Mean (30 Minute)</c:v>
                  </c:pt>
                  <c:pt idx="1684">
                    <c:v>Rolling Mean (30 Minute)</c:v>
                  </c:pt>
                  <c:pt idx="1685">
                    <c:v>Rolling Mean (30 Minute)</c:v>
                  </c:pt>
                  <c:pt idx="1686">
                    <c:v>Rolling Mean (30 Minute)</c:v>
                  </c:pt>
                  <c:pt idx="1687">
                    <c:v>Rolling Mean (30 Minute)</c:v>
                  </c:pt>
                  <c:pt idx="1688">
                    <c:v>Rolling Mean (30 Minute)</c:v>
                  </c:pt>
                  <c:pt idx="1689">
                    <c:v>Rolling Mean (30 Minute)</c:v>
                  </c:pt>
                  <c:pt idx="1690">
                    <c:v>Rolling Mean (30 Minute)</c:v>
                  </c:pt>
                  <c:pt idx="1691">
                    <c:v>Rolling Mean (30 Minute)</c:v>
                  </c:pt>
                  <c:pt idx="1692">
                    <c:v>Rolling Mean (30 Minute)</c:v>
                  </c:pt>
                  <c:pt idx="1693">
                    <c:v>Rolling Mean (30 Minute)</c:v>
                  </c:pt>
                  <c:pt idx="1694">
                    <c:v>Rolling Mean (30 Minute)</c:v>
                  </c:pt>
                  <c:pt idx="1695">
                    <c:v>Rolling Mean (30 Minute)</c:v>
                  </c:pt>
                  <c:pt idx="1696">
                    <c:v>Rolling Mean (30 Minute)</c:v>
                  </c:pt>
                  <c:pt idx="1697">
                    <c:v>Rolling Mean (30 Minute)</c:v>
                  </c:pt>
                  <c:pt idx="1698">
                    <c:v>Rolling Mean (30 Minute)</c:v>
                  </c:pt>
                  <c:pt idx="1699">
                    <c:v>Rolling Mean (30 Minute)</c:v>
                  </c:pt>
                  <c:pt idx="1700">
                    <c:v>Rolling Mean (30 Minute)</c:v>
                  </c:pt>
                  <c:pt idx="1701">
                    <c:v>Rolling Mean (30 Minute)</c:v>
                  </c:pt>
                  <c:pt idx="1702">
                    <c:v>Rolling Mean (30 Minute)</c:v>
                  </c:pt>
                  <c:pt idx="1703">
                    <c:v>Rolling Mean (30 Minute)</c:v>
                  </c:pt>
                  <c:pt idx="1704">
                    <c:v>Rolling Mean (30 Minute)</c:v>
                  </c:pt>
                  <c:pt idx="1705">
                    <c:v>Rolling Mean (30 Minute)</c:v>
                  </c:pt>
                  <c:pt idx="1706">
                    <c:v>Rolling Mean (30 Minute)</c:v>
                  </c:pt>
                  <c:pt idx="1707">
                    <c:v>Rolling Mean (30 Minute)</c:v>
                  </c:pt>
                  <c:pt idx="1708">
                    <c:v>Rolling Mean (30 Minute)</c:v>
                  </c:pt>
                  <c:pt idx="1709">
                    <c:v>Rolling Mean (30 Minute)</c:v>
                  </c:pt>
                  <c:pt idx="1710">
                    <c:v>Rolling Mean (30 Minute)</c:v>
                  </c:pt>
                  <c:pt idx="1711">
                    <c:v>Rolling Mean (30 Minute)</c:v>
                  </c:pt>
                  <c:pt idx="1712">
                    <c:v>Rolling Mean (30 Minute)</c:v>
                  </c:pt>
                  <c:pt idx="1713">
                    <c:v>Rolling Mean (30 Minute)</c:v>
                  </c:pt>
                  <c:pt idx="1714">
                    <c:v>Rolling Mean (30 Minute)</c:v>
                  </c:pt>
                  <c:pt idx="1715">
                    <c:v>Rolling Mean (30 Minute)</c:v>
                  </c:pt>
                  <c:pt idx="1716">
                    <c:v>Rolling Mean (30 Minute)</c:v>
                  </c:pt>
                  <c:pt idx="1717">
                    <c:v>Rolling Mean (30 Minute)</c:v>
                  </c:pt>
                  <c:pt idx="1718">
                    <c:v>Rolling Mean (30 Minute)</c:v>
                  </c:pt>
                  <c:pt idx="1719">
                    <c:v>Rolling Mean (30 Minute)</c:v>
                  </c:pt>
                  <c:pt idx="1720">
                    <c:v>Rolling Mean (30 Minute)</c:v>
                  </c:pt>
                  <c:pt idx="1721">
                    <c:v>Rolling Mean (30 Minute)</c:v>
                  </c:pt>
                  <c:pt idx="1722">
                    <c:v>Rolling Mean (30 Minute)</c:v>
                  </c:pt>
                  <c:pt idx="1723">
                    <c:v>Rolling Mean (30 Minute)</c:v>
                  </c:pt>
                  <c:pt idx="1724">
                    <c:v>Rolling Mean (30 Minute)</c:v>
                  </c:pt>
                  <c:pt idx="1725">
                    <c:v>Rolling Mean (30 Minute)</c:v>
                  </c:pt>
                  <c:pt idx="1726">
                    <c:v>Rolling Mean (30 Minute)</c:v>
                  </c:pt>
                  <c:pt idx="1727">
                    <c:v>Rolling Mean (30 Minute)</c:v>
                  </c:pt>
                  <c:pt idx="1728">
                    <c:v>Rolling Mean (30 Minute)</c:v>
                  </c:pt>
                  <c:pt idx="1729">
                    <c:v>Rolling Mean (30 Minute)</c:v>
                  </c:pt>
                  <c:pt idx="1730">
                    <c:v>Rolling Mean (30 Minute)</c:v>
                  </c:pt>
                  <c:pt idx="1731">
                    <c:v>Rolling Mean (30 Minute)</c:v>
                  </c:pt>
                  <c:pt idx="1732">
                    <c:v>Rolling Mean (30 Minute)</c:v>
                  </c:pt>
                  <c:pt idx="1733">
                    <c:v>Rolling Mean (30 Minute)</c:v>
                  </c:pt>
                  <c:pt idx="1734">
                    <c:v>Rolling Mean (30 Minute)</c:v>
                  </c:pt>
                  <c:pt idx="1735">
                    <c:v>Rolling Mean (30 Minute)</c:v>
                  </c:pt>
                  <c:pt idx="1736">
                    <c:v>Rolling Mean (30 Minute)</c:v>
                  </c:pt>
                  <c:pt idx="1737">
                    <c:v>Rolling Mean (30 Minute)</c:v>
                  </c:pt>
                  <c:pt idx="1738">
                    <c:v>Rolling Mean (30 Minute)</c:v>
                  </c:pt>
                  <c:pt idx="1739">
                    <c:v>Rolling Mean (30 Minute)</c:v>
                  </c:pt>
                  <c:pt idx="1740">
                    <c:v>Rolling Mean (30 Minute)</c:v>
                  </c:pt>
                  <c:pt idx="1741">
                    <c:v>Rolling Mean (30 Minute)</c:v>
                  </c:pt>
                  <c:pt idx="1742">
                    <c:v>Rolling Mean (30 Minute)</c:v>
                  </c:pt>
                  <c:pt idx="1743">
                    <c:v>Rolling Mean (30 Minute)</c:v>
                  </c:pt>
                  <c:pt idx="1744">
                    <c:v>Rolling Mean (30 Minute)</c:v>
                  </c:pt>
                  <c:pt idx="1745">
                    <c:v>Rolling Mean (30 Minute)</c:v>
                  </c:pt>
                  <c:pt idx="1746">
                    <c:v>Rolling Mean (30 Minute)</c:v>
                  </c:pt>
                  <c:pt idx="1747">
                    <c:v>Rolling Mean (30 Minute)</c:v>
                  </c:pt>
                  <c:pt idx="1748">
                    <c:v>Rolling Mean (30 Minute)</c:v>
                  </c:pt>
                  <c:pt idx="1749">
                    <c:v>Rolling Mean (30 Minute)</c:v>
                  </c:pt>
                  <c:pt idx="1750">
                    <c:v>Rolling Mean (30 Minute)</c:v>
                  </c:pt>
                  <c:pt idx="1751">
                    <c:v>Rolling Mean (30 Minute)</c:v>
                  </c:pt>
                  <c:pt idx="1752">
                    <c:v>Rolling Mean (30 Minute)</c:v>
                  </c:pt>
                  <c:pt idx="1753">
                    <c:v>Rolling Mean (30 Minute)</c:v>
                  </c:pt>
                  <c:pt idx="1754">
                    <c:v>Rolling Mean (30 Minute)</c:v>
                  </c:pt>
                  <c:pt idx="1755">
                    <c:v>Rolling Mean (30 Minute)</c:v>
                  </c:pt>
                  <c:pt idx="1756">
                    <c:v>Rolling Mean (30 Minute)</c:v>
                  </c:pt>
                  <c:pt idx="1757">
                    <c:v>Rolling Mean (30 Minute)</c:v>
                  </c:pt>
                  <c:pt idx="1758">
                    <c:v>Rolling Mean (30 Minute)</c:v>
                  </c:pt>
                  <c:pt idx="1759">
                    <c:v>Rolling Mean (30 Minute)</c:v>
                  </c:pt>
                  <c:pt idx="1760">
                    <c:v>Rolling Mean (30 Minute)</c:v>
                  </c:pt>
                  <c:pt idx="1761">
                    <c:v>Rolling Mean (30 Minute)</c:v>
                  </c:pt>
                  <c:pt idx="1762">
                    <c:v>Rolling Mean (30 Minute)</c:v>
                  </c:pt>
                  <c:pt idx="1763">
                    <c:v>Rolling Mean (30 Minute)</c:v>
                  </c:pt>
                  <c:pt idx="1764">
                    <c:v>Rolling Mean (30 Minute)</c:v>
                  </c:pt>
                  <c:pt idx="1765">
                    <c:v>Rolling Mean (30 Minute)</c:v>
                  </c:pt>
                  <c:pt idx="1766">
                    <c:v>Rolling Mean (30 Minute)</c:v>
                  </c:pt>
                  <c:pt idx="1767">
                    <c:v>Rolling Mean (30 Minute)</c:v>
                  </c:pt>
                  <c:pt idx="1768">
                    <c:v>Rolling Mean (30 Minute)</c:v>
                  </c:pt>
                  <c:pt idx="1769">
                    <c:v>Rolling Mean (30 Minute)</c:v>
                  </c:pt>
                  <c:pt idx="1770">
                    <c:v>Rolling Mean (30 Minute)</c:v>
                  </c:pt>
                  <c:pt idx="1771">
                    <c:v>Rolling Mean (30 Minute)</c:v>
                  </c:pt>
                  <c:pt idx="1772">
                    <c:v>Rolling Mean (30 Minute)</c:v>
                  </c:pt>
                  <c:pt idx="1773">
                    <c:v>Rolling Mean (30 Minute)</c:v>
                  </c:pt>
                  <c:pt idx="1774">
                    <c:v>Rolling Mean (30 Minute)</c:v>
                  </c:pt>
                  <c:pt idx="1775">
                    <c:v>Rolling Mean (30 Minute)</c:v>
                  </c:pt>
                  <c:pt idx="1776">
                    <c:v>Rolling Mean (30 Minute)</c:v>
                  </c:pt>
                  <c:pt idx="1777">
                    <c:v>Rolling Mean (30 Minute)</c:v>
                  </c:pt>
                  <c:pt idx="1778">
                    <c:v>Rolling Mean (30 Minute)</c:v>
                  </c:pt>
                  <c:pt idx="1779">
                    <c:v>Rolling Mean (30 Minute)</c:v>
                  </c:pt>
                  <c:pt idx="1780">
                    <c:v>Rolling Mean (30 Minute)</c:v>
                  </c:pt>
                  <c:pt idx="1781">
                    <c:v>Rolling Mean (30 Minute)</c:v>
                  </c:pt>
                  <c:pt idx="1782">
                    <c:v>Rolling Mean (30 Minute)</c:v>
                  </c:pt>
                  <c:pt idx="1783">
                    <c:v>Rolling Mean (30 Minute)</c:v>
                  </c:pt>
                  <c:pt idx="1784">
                    <c:v>Rolling Mean (30 Minute)</c:v>
                  </c:pt>
                  <c:pt idx="1785">
                    <c:v>Rolling Mean (30 Minute)</c:v>
                  </c:pt>
                  <c:pt idx="1786">
                    <c:v>Rolling Mean (30 Minute)</c:v>
                  </c:pt>
                  <c:pt idx="1787">
                    <c:v>Rolling Mean (30 Minute)</c:v>
                  </c:pt>
                  <c:pt idx="1788">
                    <c:v>Rolling Mean (30 Minute)</c:v>
                  </c:pt>
                  <c:pt idx="1789">
                    <c:v>Rolling Mean (30 Minute)</c:v>
                  </c:pt>
                  <c:pt idx="1790">
                    <c:v>Rolling Mean (30 Minute)</c:v>
                  </c:pt>
                  <c:pt idx="1791">
                    <c:v>Rolling Mean (30 Minute)</c:v>
                  </c:pt>
                  <c:pt idx="1792">
                    <c:v>Rolling Mean (30 Minute)</c:v>
                  </c:pt>
                  <c:pt idx="1793">
                    <c:v>Rolling Mean (30 Minute)</c:v>
                  </c:pt>
                  <c:pt idx="1794">
                    <c:v>Rolling Mean (30 Minute)</c:v>
                  </c:pt>
                  <c:pt idx="1795">
                    <c:v>Rolling Mean (30 Minute)</c:v>
                  </c:pt>
                  <c:pt idx="1796">
                    <c:v>Rolling Mean (30 Minute)</c:v>
                  </c:pt>
                  <c:pt idx="1797">
                    <c:v>Rolling Mean (30 Minute)</c:v>
                  </c:pt>
                  <c:pt idx="1798">
                    <c:v>Rolling Mean (30 Minute)</c:v>
                  </c:pt>
                  <c:pt idx="1799">
                    <c:v>Rolling Mean (30 Minute)</c:v>
                  </c:pt>
                  <c:pt idx="1800">
                    <c:v>Rolling Mean (30 Minute)</c:v>
                  </c:pt>
                  <c:pt idx="1801">
                    <c:v>Rolling Mean (30 Minute)</c:v>
                  </c:pt>
                  <c:pt idx="1802">
                    <c:v>Rolling Mean (30 Minute)</c:v>
                  </c:pt>
                  <c:pt idx="1803">
                    <c:v>Rolling Mean (30 Minute)</c:v>
                  </c:pt>
                  <c:pt idx="1804">
                    <c:v>Rolling Mean (30 Minute)</c:v>
                  </c:pt>
                  <c:pt idx="1805">
                    <c:v>Rolling Mean (30 Minute)</c:v>
                  </c:pt>
                  <c:pt idx="1806">
                    <c:v>Rolling Mean (30 Minute)</c:v>
                  </c:pt>
                  <c:pt idx="1807">
                    <c:v>Rolling Mean (30 Minute)</c:v>
                  </c:pt>
                  <c:pt idx="1808">
                    <c:v>Rolling Mean (30 Minute)</c:v>
                  </c:pt>
                  <c:pt idx="1809">
                    <c:v>Rolling Mean (30 Minute)</c:v>
                  </c:pt>
                  <c:pt idx="1810">
                    <c:v>Rolling Mean (30 Minute)</c:v>
                  </c:pt>
                  <c:pt idx="1811">
                    <c:v>Rolling Mean (30 Minute)</c:v>
                  </c:pt>
                  <c:pt idx="1812">
                    <c:v>Rolling Mean (30 Minute)</c:v>
                  </c:pt>
                  <c:pt idx="1813">
                    <c:v>Rolling Mean (30 Minute)</c:v>
                  </c:pt>
                  <c:pt idx="1814">
                    <c:v>Rolling Mean (30 Minute)</c:v>
                  </c:pt>
                  <c:pt idx="1815">
                    <c:v>Rolling Mean (30 Minute)</c:v>
                  </c:pt>
                  <c:pt idx="1816">
                    <c:v>Rolling Mean (30 Minute)</c:v>
                  </c:pt>
                  <c:pt idx="1817">
                    <c:v>Rolling Mean (30 Minute)</c:v>
                  </c:pt>
                  <c:pt idx="1818">
                    <c:v>Rolling Mean (30 Minute)</c:v>
                  </c:pt>
                  <c:pt idx="1819">
                    <c:v>Rolling Mean (30 Minute)</c:v>
                  </c:pt>
                  <c:pt idx="1820">
                    <c:v>Rolling Mean (30 Minute)</c:v>
                  </c:pt>
                  <c:pt idx="1821">
                    <c:v>Rolling Mean (30 Minute)</c:v>
                  </c:pt>
                  <c:pt idx="1822">
                    <c:v>Rolling Mean (30 Minute)</c:v>
                  </c:pt>
                  <c:pt idx="1823">
                    <c:v>Rolling Mean (30 Minute)</c:v>
                  </c:pt>
                  <c:pt idx="1824">
                    <c:v>Rolling Mean (30 Minute)</c:v>
                  </c:pt>
                  <c:pt idx="1825">
                    <c:v>Rolling Mean (30 Minute)</c:v>
                  </c:pt>
                  <c:pt idx="1826">
                    <c:v>Rolling Mean (30 Minute)</c:v>
                  </c:pt>
                  <c:pt idx="1827">
                    <c:v>Rolling Mean (30 Minute)</c:v>
                  </c:pt>
                  <c:pt idx="1828">
                    <c:v>Rolling Mean (30 Minute)</c:v>
                  </c:pt>
                  <c:pt idx="1829">
                    <c:v>Rolling Mean (30 Minute)</c:v>
                  </c:pt>
                  <c:pt idx="1830">
                    <c:v>Rolling Mean (30 Minute)</c:v>
                  </c:pt>
                  <c:pt idx="1831">
                    <c:v>Rolling Mean (30 Minute)</c:v>
                  </c:pt>
                  <c:pt idx="1832">
                    <c:v>Rolling Mean (30 Minute)</c:v>
                  </c:pt>
                  <c:pt idx="1833">
                    <c:v>Rolling Mean (30 Minute)</c:v>
                  </c:pt>
                  <c:pt idx="1834">
                    <c:v>Rolling Mean (30 Minute)</c:v>
                  </c:pt>
                  <c:pt idx="1835">
                    <c:v>Rolling Mean (30 Minute)</c:v>
                  </c:pt>
                  <c:pt idx="1836">
                    <c:v>Rolling Mean (30 Minute)</c:v>
                  </c:pt>
                  <c:pt idx="1837">
                    <c:v>Rolling Mean (30 Minute)</c:v>
                  </c:pt>
                  <c:pt idx="1838">
                    <c:v>Rolling Mean (30 Minute)</c:v>
                  </c:pt>
                  <c:pt idx="1839">
                    <c:v>Rolling Mean (30 Minute)</c:v>
                  </c:pt>
                  <c:pt idx="1840">
                    <c:v>Rolling Mean (30 Minute)</c:v>
                  </c:pt>
                  <c:pt idx="1841">
                    <c:v>Rolling Mean (30 Minute)</c:v>
                  </c:pt>
                  <c:pt idx="1842">
                    <c:v>Rolling Mean (30 Minute)</c:v>
                  </c:pt>
                  <c:pt idx="1843">
                    <c:v>Rolling Mean (30 Minute)</c:v>
                  </c:pt>
                  <c:pt idx="1844">
                    <c:v>Rolling Mean (30 Minute)</c:v>
                  </c:pt>
                  <c:pt idx="1845">
                    <c:v>Rolling Mean (30 Minute)</c:v>
                  </c:pt>
                  <c:pt idx="1846">
                    <c:v>Rolling Mean (30 Minute)</c:v>
                  </c:pt>
                  <c:pt idx="1847">
                    <c:v>Rolling Mean (30 Minute)</c:v>
                  </c:pt>
                  <c:pt idx="1848">
                    <c:v>Rolling Mean (30 Minute)</c:v>
                  </c:pt>
                  <c:pt idx="1849">
                    <c:v>Rolling Mean (30 Minute)</c:v>
                  </c:pt>
                  <c:pt idx="1850">
                    <c:v>Rolling Mean (30 Minute)</c:v>
                  </c:pt>
                  <c:pt idx="1851">
                    <c:v>Rolling Mean (30 Minute)</c:v>
                  </c:pt>
                  <c:pt idx="1852">
                    <c:v>Rolling Mean (30 Minute)</c:v>
                  </c:pt>
                  <c:pt idx="1853">
                    <c:v>Rolling Mean (30 Minute)</c:v>
                  </c:pt>
                  <c:pt idx="1854">
                    <c:v>Rolling Mean (30 Minute)</c:v>
                  </c:pt>
                  <c:pt idx="1855">
                    <c:v>Rolling Mean (30 Minute)</c:v>
                  </c:pt>
                  <c:pt idx="1856">
                    <c:v>Rolling Mean (30 Minute)</c:v>
                  </c:pt>
                  <c:pt idx="1857">
                    <c:v>Rolling Mean (30 Minute)</c:v>
                  </c:pt>
                  <c:pt idx="1858">
                    <c:v>Rolling Mean (30 Minute)</c:v>
                  </c:pt>
                  <c:pt idx="1859">
                    <c:v>Rolling Mean (30 Minute)</c:v>
                  </c:pt>
                  <c:pt idx="1860">
                    <c:v>Rolling Mean (30 Minute)</c:v>
                  </c:pt>
                  <c:pt idx="1861">
                    <c:v>Rolling Mean (30 Minute)</c:v>
                  </c:pt>
                  <c:pt idx="1862">
                    <c:v>Rolling Mean (30 Minute)</c:v>
                  </c:pt>
                  <c:pt idx="1863">
                    <c:v>Rolling Mean (30 Minute)</c:v>
                  </c:pt>
                  <c:pt idx="1864">
                    <c:v>Rolling Mean (30 Minute)</c:v>
                  </c:pt>
                  <c:pt idx="1865">
                    <c:v>Rolling Mean (30 Minute)</c:v>
                  </c:pt>
                  <c:pt idx="1866">
                    <c:v>Rolling Mean (30 Minute)</c:v>
                  </c:pt>
                  <c:pt idx="1867">
                    <c:v>Rolling Mean (30 Minute)</c:v>
                  </c:pt>
                  <c:pt idx="1868">
                    <c:v>Rolling Mean (30 Minute)</c:v>
                  </c:pt>
                  <c:pt idx="1869">
                    <c:v>Rolling Mean (30 Minute)</c:v>
                  </c:pt>
                  <c:pt idx="1870">
                    <c:v>Rolling Mean (30 Minute)</c:v>
                  </c:pt>
                  <c:pt idx="1871">
                    <c:v>Rolling Mean (30 Minute)</c:v>
                  </c:pt>
                  <c:pt idx="1872">
                    <c:v>Rolling Mean (30 Minute)</c:v>
                  </c:pt>
                  <c:pt idx="1873">
                    <c:v>Rolling Mean (30 Minute)</c:v>
                  </c:pt>
                  <c:pt idx="1874">
                    <c:v>Rolling Mean (30 Minute)</c:v>
                  </c:pt>
                  <c:pt idx="1875">
                    <c:v>Rolling Mean (30 Minute)</c:v>
                  </c:pt>
                  <c:pt idx="1876">
                    <c:v>Rolling Mean (30 Minute)</c:v>
                  </c:pt>
                  <c:pt idx="1877">
                    <c:v>Rolling Mean (30 Minute)</c:v>
                  </c:pt>
                  <c:pt idx="1878">
                    <c:v>Rolling Mean (30 Minute)</c:v>
                  </c:pt>
                  <c:pt idx="1879">
                    <c:v>Rolling Mean (30 Minute)</c:v>
                  </c:pt>
                  <c:pt idx="1880">
                    <c:v>Rolling Mean (30 Minute)</c:v>
                  </c:pt>
                  <c:pt idx="1881">
                    <c:v>Rolling Mean (30 Minute)</c:v>
                  </c:pt>
                  <c:pt idx="1882">
                    <c:v>Rolling Mean (30 Minute)</c:v>
                  </c:pt>
                  <c:pt idx="1883">
                    <c:v>Rolling Mean (30 Minute)</c:v>
                  </c:pt>
                  <c:pt idx="1884">
                    <c:v>Rolling Mean (30 Minute)</c:v>
                  </c:pt>
                  <c:pt idx="1885">
                    <c:v>Rolling Mean (30 Minute)</c:v>
                  </c:pt>
                  <c:pt idx="1886">
                    <c:v>Rolling Mean (30 Minute)</c:v>
                  </c:pt>
                  <c:pt idx="1887">
                    <c:v>Rolling Mean (30 Minute)</c:v>
                  </c:pt>
                  <c:pt idx="1888">
                    <c:v>Rolling Mean (30 Minute)</c:v>
                  </c:pt>
                  <c:pt idx="1889">
                    <c:v>Rolling Mean (30 Minute)</c:v>
                  </c:pt>
                  <c:pt idx="1890">
                    <c:v>Rolling Mean (30 Minute)</c:v>
                  </c:pt>
                  <c:pt idx="1891">
                    <c:v>Rolling Mean (30 Minute)</c:v>
                  </c:pt>
                  <c:pt idx="1892">
                    <c:v>Rolling Mean (30 Minute)</c:v>
                  </c:pt>
                  <c:pt idx="1893">
                    <c:v>Rolling Mean (30 Minute)</c:v>
                  </c:pt>
                  <c:pt idx="1894">
                    <c:v>Rolling Mean (30 Minute)</c:v>
                  </c:pt>
                  <c:pt idx="1895">
                    <c:v>Rolling Mean (30 Minute)</c:v>
                  </c:pt>
                  <c:pt idx="1896">
                    <c:v>Rolling Mean (30 Minute)</c:v>
                  </c:pt>
                  <c:pt idx="1897">
                    <c:v>Rolling Mean (30 Minute)</c:v>
                  </c:pt>
                  <c:pt idx="1898">
                    <c:v>Rolling Mean (30 Minute)</c:v>
                  </c:pt>
                  <c:pt idx="1899">
                    <c:v>Rolling Mean (30 Minute)</c:v>
                  </c:pt>
                  <c:pt idx="1900">
                    <c:v>Rolling Mean (30 Minute)</c:v>
                  </c:pt>
                  <c:pt idx="1901">
                    <c:v>Rolling Mean (30 Minute)</c:v>
                  </c:pt>
                  <c:pt idx="1902">
                    <c:v>Rolling Mean (30 Minute)</c:v>
                  </c:pt>
                  <c:pt idx="1903">
                    <c:v>Rolling Mean (30 Minute)</c:v>
                  </c:pt>
                  <c:pt idx="1904">
                    <c:v>Rolling Mean (30 Minute)</c:v>
                  </c:pt>
                  <c:pt idx="1905">
                    <c:v>Rolling Mean (30 Minute)</c:v>
                  </c:pt>
                  <c:pt idx="1906">
                    <c:v>Rolling Mean (30 Minute)</c:v>
                  </c:pt>
                  <c:pt idx="1907">
                    <c:v>Rolling Mean (30 Minute)</c:v>
                  </c:pt>
                  <c:pt idx="1908">
                    <c:v>Rolling Mean (30 Minute)</c:v>
                  </c:pt>
                  <c:pt idx="1909">
                    <c:v>Rolling Mean (30 Minute)</c:v>
                  </c:pt>
                  <c:pt idx="1910">
                    <c:v>Rolling Mean (30 Minute)</c:v>
                  </c:pt>
                  <c:pt idx="1911">
                    <c:v>Rolling Mean (30 Minute)</c:v>
                  </c:pt>
                  <c:pt idx="1912">
                    <c:v>Rolling Mean (30 Minute)</c:v>
                  </c:pt>
                  <c:pt idx="1913">
                    <c:v>Rolling Mean (30 Minute)</c:v>
                  </c:pt>
                  <c:pt idx="1914">
                    <c:v>Rolling Mean (30 Minute)</c:v>
                  </c:pt>
                  <c:pt idx="1915">
                    <c:v>Rolling Mean (30 Minute)</c:v>
                  </c:pt>
                  <c:pt idx="1916">
                    <c:v>Rolling Mean (30 Minute)</c:v>
                  </c:pt>
                  <c:pt idx="1917">
                    <c:v>Rolling Mean (30 Minute)</c:v>
                  </c:pt>
                  <c:pt idx="1918">
                    <c:v>Rolling Mean (30 Minute)</c:v>
                  </c:pt>
                  <c:pt idx="1919">
                    <c:v>Rolling Mean (30 Minute)</c:v>
                  </c:pt>
                  <c:pt idx="1920">
                    <c:v>Rolling Mean (30 Minute)</c:v>
                  </c:pt>
                  <c:pt idx="1921">
                    <c:v>Rolling Mean (30 Minute)</c:v>
                  </c:pt>
                  <c:pt idx="1922">
                    <c:v>Rolling Mean (30 Minute)</c:v>
                  </c:pt>
                  <c:pt idx="1923">
                    <c:v>Rolling Mean (30 Minute)</c:v>
                  </c:pt>
                  <c:pt idx="1924">
                    <c:v>Rolling Mean (30 Minute)</c:v>
                  </c:pt>
                  <c:pt idx="1925">
                    <c:v>Rolling Mean (30 Minute)</c:v>
                  </c:pt>
                  <c:pt idx="1926">
                    <c:v>Rolling Mean (30 Minute)</c:v>
                  </c:pt>
                  <c:pt idx="1927">
                    <c:v>Rolling Mean (30 Minute)</c:v>
                  </c:pt>
                  <c:pt idx="1928">
                    <c:v>Rolling Mean (30 Minute)</c:v>
                  </c:pt>
                  <c:pt idx="1929">
                    <c:v>Rolling Mean (30 Minute)</c:v>
                  </c:pt>
                  <c:pt idx="1930">
                    <c:v>Rolling Mean (30 Minute)</c:v>
                  </c:pt>
                  <c:pt idx="1931">
                    <c:v>Rolling Mean (30 Minute)</c:v>
                  </c:pt>
                  <c:pt idx="1932">
                    <c:v>Rolling Mean (30 Minute)</c:v>
                  </c:pt>
                  <c:pt idx="1933">
                    <c:v>Rolling Mean (30 Minute)</c:v>
                  </c:pt>
                  <c:pt idx="1934">
                    <c:v>Rolling Mean (30 Minute)</c:v>
                  </c:pt>
                  <c:pt idx="1935">
                    <c:v>Rolling Mean (30 Minute)</c:v>
                  </c:pt>
                  <c:pt idx="1936">
                    <c:v>Rolling Mean (30 Minute)</c:v>
                  </c:pt>
                  <c:pt idx="1937">
                    <c:v>Rolling Mean (30 Minute)</c:v>
                  </c:pt>
                  <c:pt idx="1938">
                    <c:v>Rolling Mean (30 Minute)</c:v>
                  </c:pt>
                  <c:pt idx="1939">
                    <c:v>Rolling Mean (30 Minute)</c:v>
                  </c:pt>
                  <c:pt idx="1940">
                    <c:v>Rolling Mean (30 Minute)</c:v>
                  </c:pt>
                  <c:pt idx="1941">
                    <c:v>Rolling Mean (30 Minute)</c:v>
                  </c:pt>
                  <c:pt idx="1942">
                    <c:v>Rolling Mean (30 Minute)</c:v>
                  </c:pt>
                  <c:pt idx="1943">
                    <c:v>Rolling Mean (30 Minute)</c:v>
                  </c:pt>
                  <c:pt idx="1944">
                    <c:v>Rolling Mean (30 Minute)</c:v>
                  </c:pt>
                  <c:pt idx="1945">
                    <c:v>Rolling Mean (30 Minute)</c:v>
                  </c:pt>
                  <c:pt idx="1946">
                    <c:v>Rolling Mean (30 Minute)</c:v>
                  </c:pt>
                  <c:pt idx="1947">
                    <c:v>Rolling Mean (30 Minute)</c:v>
                  </c:pt>
                  <c:pt idx="1948">
                    <c:v>Rolling Mean (30 Minute)</c:v>
                  </c:pt>
                  <c:pt idx="1949">
                    <c:v>Rolling Mean (30 Minute)</c:v>
                  </c:pt>
                  <c:pt idx="1950">
                    <c:v>Rolling Mean (30 Minute)</c:v>
                  </c:pt>
                  <c:pt idx="1951">
                    <c:v>Rolling Mean (30 Minute)</c:v>
                  </c:pt>
                  <c:pt idx="1952">
                    <c:v>Rolling Mean (30 Minute)</c:v>
                  </c:pt>
                  <c:pt idx="1953">
                    <c:v>Rolling Mean (30 Minute)</c:v>
                  </c:pt>
                  <c:pt idx="1954">
                    <c:v>Rolling Mean (30 Minute)</c:v>
                  </c:pt>
                  <c:pt idx="1955">
                    <c:v>Rolling Mean (30 Minute)</c:v>
                  </c:pt>
                  <c:pt idx="1956">
                    <c:v>Rolling Mean (30 Minute)</c:v>
                  </c:pt>
                  <c:pt idx="1957">
                    <c:v>Rolling Mean (30 Minute)</c:v>
                  </c:pt>
                  <c:pt idx="1958">
                    <c:v>Rolling Mean (30 Minute)</c:v>
                  </c:pt>
                  <c:pt idx="1959">
                    <c:v>Rolling Mean (30 Minute)</c:v>
                  </c:pt>
                  <c:pt idx="1960">
                    <c:v>Rolling Mean (30 Minute)</c:v>
                  </c:pt>
                  <c:pt idx="1961">
                    <c:v>Rolling Mean (30 Minute)</c:v>
                  </c:pt>
                  <c:pt idx="1962">
                    <c:v>Rolling Mean (30 Minute)</c:v>
                  </c:pt>
                  <c:pt idx="1963">
                    <c:v>Rolling Mean (30 Minute)</c:v>
                  </c:pt>
                  <c:pt idx="1964">
                    <c:v>Rolling Mean (30 Minute)</c:v>
                  </c:pt>
                  <c:pt idx="1965">
                    <c:v>Rolling Mean (30 Minute)</c:v>
                  </c:pt>
                  <c:pt idx="1966">
                    <c:v>Rolling Mean (30 Minute)</c:v>
                  </c:pt>
                  <c:pt idx="1967">
                    <c:v>Rolling Mean (30 Minute)</c:v>
                  </c:pt>
                  <c:pt idx="1968">
                    <c:v>Rolling Mean (30 Minute)</c:v>
                  </c:pt>
                  <c:pt idx="1969">
                    <c:v>Rolling Mean (30 Minute)</c:v>
                  </c:pt>
                  <c:pt idx="1970">
                    <c:v>Rolling Mean (30 Minute)</c:v>
                  </c:pt>
                  <c:pt idx="1971">
                    <c:v>Rolling Mean (30 Minute)</c:v>
                  </c:pt>
                  <c:pt idx="1972">
                    <c:v>Rolling Mean (30 Minute)</c:v>
                  </c:pt>
                  <c:pt idx="1973">
                    <c:v>Rolling Mean (30 Minute)</c:v>
                  </c:pt>
                  <c:pt idx="1974">
                    <c:v>Rolling Mean (30 Minute)</c:v>
                  </c:pt>
                  <c:pt idx="1975">
                    <c:v>Rolling Mean (30 Minute)</c:v>
                  </c:pt>
                  <c:pt idx="1976">
                    <c:v>Rolling Mean (30 Minute)</c:v>
                  </c:pt>
                  <c:pt idx="1977">
                    <c:v>Rolling Mean (30 Minute)</c:v>
                  </c:pt>
                  <c:pt idx="1978">
                    <c:v>Rolling Mean (30 Minute)</c:v>
                  </c:pt>
                  <c:pt idx="1979">
                    <c:v>Rolling Mean (30 Minute)</c:v>
                  </c:pt>
                  <c:pt idx="1980">
                    <c:v>Rolling Mean (30 Minute)</c:v>
                  </c:pt>
                  <c:pt idx="1981">
                    <c:v>Rolling Mean (30 Minute)</c:v>
                  </c:pt>
                  <c:pt idx="1982">
                    <c:v>Rolling Mean (30 Minute)</c:v>
                  </c:pt>
                  <c:pt idx="1983">
                    <c:v>Rolling Mean (30 Minute)</c:v>
                  </c:pt>
                  <c:pt idx="1984">
                    <c:v>Rolling Mean (30 Minute)</c:v>
                  </c:pt>
                  <c:pt idx="1985">
                    <c:v>Rolling Mean (30 Minute)</c:v>
                  </c:pt>
                  <c:pt idx="1986">
                    <c:v>Rolling Mean (30 Minute)</c:v>
                  </c:pt>
                  <c:pt idx="1987">
                    <c:v>Rolling Mean (30 Minute)</c:v>
                  </c:pt>
                  <c:pt idx="1988">
                    <c:v>Rolling Mean (30 Minute)</c:v>
                  </c:pt>
                  <c:pt idx="1989">
                    <c:v>Rolling Mean (30 Minute)</c:v>
                  </c:pt>
                  <c:pt idx="1990">
                    <c:v>Rolling Mean (30 Minute)</c:v>
                  </c:pt>
                  <c:pt idx="1991">
                    <c:v>Rolling Mean (30 Minute)</c:v>
                  </c:pt>
                  <c:pt idx="1992">
                    <c:v>Rolling Mean (30 Minute)</c:v>
                  </c:pt>
                  <c:pt idx="1993">
                    <c:v>Rolling Mean (30 Minute)</c:v>
                  </c:pt>
                  <c:pt idx="1994">
                    <c:v>Rolling Mean (30 Minute)</c:v>
                  </c:pt>
                  <c:pt idx="1995">
                    <c:v>Rolling Mean (30 Minute)</c:v>
                  </c:pt>
                  <c:pt idx="1996">
                    <c:v>Rolling Mean (30 Minute)</c:v>
                  </c:pt>
                  <c:pt idx="1997">
                    <c:v>Rolling Mean (30 Minute)</c:v>
                  </c:pt>
                  <c:pt idx="1998">
                    <c:v>Rolling Mean (30 Minute)</c:v>
                  </c:pt>
                  <c:pt idx="1999">
                    <c:v>Rolling Mean (30 Minute)</c:v>
                  </c:pt>
                  <c:pt idx="2000">
                    <c:v>Rolling Mean (30 Minute)</c:v>
                  </c:pt>
                  <c:pt idx="2001">
                    <c:v>Rolling Mean (30 Minute)</c:v>
                  </c:pt>
                  <c:pt idx="2002">
                    <c:v>Rolling Mean (30 Minute)</c:v>
                  </c:pt>
                  <c:pt idx="2003">
                    <c:v>Rolling Mean (30 Minute)</c:v>
                  </c:pt>
                  <c:pt idx="2004">
                    <c:v>Rolling Mean (30 Minute)</c:v>
                  </c:pt>
                  <c:pt idx="2005">
                    <c:v>Rolling Mean (30 Minute)</c:v>
                  </c:pt>
                  <c:pt idx="2006">
                    <c:v>Rolling Mean (30 Minute)</c:v>
                  </c:pt>
                  <c:pt idx="2007">
                    <c:v>Rolling Mean (30 Minute)</c:v>
                  </c:pt>
                  <c:pt idx="2008">
                    <c:v>Rolling Mean (30 Minute)</c:v>
                  </c:pt>
                  <c:pt idx="2009">
                    <c:v>Rolling Mean (30 Minute)</c:v>
                  </c:pt>
                  <c:pt idx="2010">
                    <c:v>Rolling Mean (30 Minute)</c:v>
                  </c:pt>
                  <c:pt idx="2011">
                    <c:v>Rolling Mean (30 Minute)</c:v>
                  </c:pt>
                  <c:pt idx="2012">
                    <c:v>Rolling Mean (30 Minute)</c:v>
                  </c:pt>
                  <c:pt idx="2013">
                    <c:v>Rolling Mean (30 Minute)</c:v>
                  </c:pt>
                  <c:pt idx="2014">
                    <c:v>Rolling Mean (30 Minute)</c:v>
                  </c:pt>
                  <c:pt idx="2015">
                    <c:v>Rolling Mean (30 Minute)</c:v>
                  </c:pt>
                  <c:pt idx="2016">
                    <c:v>Rolling Mean (30 Minute)</c:v>
                  </c:pt>
                  <c:pt idx="2017">
                    <c:v>Rolling Mean (30 Minute)</c:v>
                  </c:pt>
                  <c:pt idx="2018">
                    <c:v>Rolling Mean (30 Minute)</c:v>
                  </c:pt>
                  <c:pt idx="2019">
                    <c:v>Rolling Mean (30 Minute)</c:v>
                  </c:pt>
                  <c:pt idx="2020">
                    <c:v>Rolling Mean (30 Minute)</c:v>
                  </c:pt>
                  <c:pt idx="2021">
                    <c:v>Rolling Mean (30 Minute)</c:v>
                  </c:pt>
                  <c:pt idx="2022">
                    <c:v>Rolling Mean (30 Minute)</c:v>
                  </c:pt>
                  <c:pt idx="2023">
                    <c:v>Rolling Mean (30 Minute)</c:v>
                  </c:pt>
                  <c:pt idx="2024">
                    <c:v>Rolling Mean (30 Minute)</c:v>
                  </c:pt>
                  <c:pt idx="2025">
                    <c:v>Rolling Mean (30 Minute)</c:v>
                  </c:pt>
                  <c:pt idx="2026">
                    <c:v>Rolling Mean (30 Minute)</c:v>
                  </c:pt>
                  <c:pt idx="2027">
                    <c:v>Rolling Mean (30 Minute)</c:v>
                  </c:pt>
                  <c:pt idx="2028">
                    <c:v>Rolling Mean (30 Minute)</c:v>
                  </c:pt>
                  <c:pt idx="2029">
                    <c:v>Rolling Mean (30 Minute)</c:v>
                  </c:pt>
                  <c:pt idx="2030">
                    <c:v>Rolling Mean (30 Minute)</c:v>
                  </c:pt>
                  <c:pt idx="2031">
                    <c:v>Rolling Mean (30 Minute)</c:v>
                  </c:pt>
                  <c:pt idx="2032">
                    <c:v>Rolling Mean (30 Minute)</c:v>
                  </c:pt>
                  <c:pt idx="2033">
                    <c:v>Rolling Mean (30 Minute)</c:v>
                  </c:pt>
                  <c:pt idx="2034">
                    <c:v>Rolling Mean (30 Minute)</c:v>
                  </c:pt>
                  <c:pt idx="2035">
                    <c:v>Rolling Mean (30 Minute)</c:v>
                  </c:pt>
                  <c:pt idx="2036">
                    <c:v>Rolling Mean (30 Minute)</c:v>
                  </c:pt>
                  <c:pt idx="2037">
                    <c:v>Rolling Mean (30 Minute)</c:v>
                  </c:pt>
                  <c:pt idx="2038">
                    <c:v>Rolling Mean (30 Minute)</c:v>
                  </c:pt>
                  <c:pt idx="2039">
                    <c:v>Rolling Mean (30 Minute)</c:v>
                  </c:pt>
                  <c:pt idx="2040">
                    <c:v>Rolling Mean (30 Minute)</c:v>
                  </c:pt>
                  <c:pt idx="2041">
                    <c:v>Rolling Mean (30 Minute)</c:v>
                  </c:pt>
                  <c:pt idx="2042">
                    <c:v>Rolling Mean (30 Minute)</c:v>
                  </c:pt>
                  <c:pt idx="2043">
                    <c:v>Rolling Mean (30 Minute)</c:v>
                  </c:pt>
                  <c:pt idx="2044">
                    <c:v>Rolling Mean (30 Minute)</c:v>
                  </c:pt>
                  <c:pt idx="2045">
                    <c:v>Rolling Mean (30 Minute)</c:v>
                  </c:pt>
                  <c:pt idx="2046">
                    <c:v>Rolling Mean (30 Minute)</c:v>
                  </c:pt>
                  <c:pt idx="2047">
                    <c:v>Rolling Mean (30 Minute)</c:v>
                  </c:pt>
                  <c:pt idx="2048">
                    <c:v>Rolling Mean (30 Minute)</c:v>
                  </c:pt>
                  <c:pt idx="2049">
                    <c:v>Rolling Mean (30 Minute)</c:v>
                  </c:pt>
                  <c:pt idx="2050">
                    <c:v>Rolling Mean (30 Minute)</c:v>
                  </c:pt>
                  <c:pt idx="2051">
                    <c:v>Rolling Mean (30 Minute)</c:v>
                  </c:pt>
                  <c:pt idx="2052">
                    <c:v>Rolling Mean (30 Minute)</c:v>
                  </c:pt>
                  <c:pt idx="2053">
                    <c:v>Rolling Mean (30 Minute)</c:v>
                  </c:pt>
                  <c:pt idx="2054">
                    <c:v>Rolling Mean (30 Minute)</c:v>
                  </c:pt>
                  <c:pt idx="2055">
                    <c:v>Rolling Mean (30 Minute)</c:v>
                  </c:pt>
                  <c:pt idx="2056">
                    <c:v>Rolling Mean (30 Minute)</c:v>
                  </c:pt>
                  <c:pt idx="2057">
                    <c:v>Rolling Mean (30 Minute)</c:v>
                  </c:pt>
                  <c:pt idx="2058">
                    <c:v>Rolling Mean (30 Minute)</c:v>
                  </c:pt>
                  <c:pt idx="2059">
                    <c:v>Rolling Mean (30 Minute)</c:v>
                  </c:pt>
                  <c:pt idx="2060">
                    <c:v>Rolling Mean (30 Minute)</c:v>
                  </c:pt>
                  <c:pt idx="2061">
                    <c:v>Rolling Mean (30 Minute)</c:v>
                  </c:pt>
                  <c:pt idx="2062">
                    <c:v>Rolling Mean (30 Minute)</c:v>
                  </c:pt>
                  <c:pt idx="2063">
                    <c:v>Rolling Mean (30 Minute)</c:v>
                  </c:pt>
                  <c:pt idx="2064">
                    <c:v>Rolling Mean (30 Minute)</c:v>
                  </c:pt>
                  <c:pt idx="2065">
                    <c:v>Rolling Mean (30 Minute)</c:v>
                  </c:pt>
                  <c:pt idx="2066">
                    <c:v>Rolling Mean (30 Minute)</c:v>
                  </c:pt>
                  <c:pt idx="2067">
                    <c:v>Rolling Mean (30 Minute)</c:v>
                  </c:pt>
                  <c:pt idx="2068">
                    <c:v>Rolling Mean (30 Minute)</c:v>
                  </c:pt>
                  <c:pt idx="2069">
                    <c:v>Rolling Mean (30 Minute)</c:v>
                  </c:pt>
                  <c:pt idx="2070">
                    <c:v>Rolling Mean (30 Minute)</c:v>
                  </c:pt>
                  <c:pt idx="2071">
                    <c:v>Rolling Mean (30 Minute)</c:v>
                  </c:pt>
                  <c:pt idx="2072">
                    <c:v>Rolling Mean (30 Minute)</c:v>
                  </c:pt>
                  <c:pt idx="2073">
                    <c:v>Rolling Mean (30 Minute)</c:v>
                  </c:pt>
                  <c:pt idx="2074">
                    <c:v>Rolling Mean (30 Minute)</c:v>
                  </c:pt>
                  <c:pt idx="2075">
                    <c:v>Rolling Mean (30 Minute)</c:v>
                  </c:pt>
                  <c:pt idx="2076">
                    <c:v>Rolling Mean (30 Minute)</c:v>
                  </c:pt>
                  <c:pt idx="2077">
                    <c:v>Rolling Mean (30 Minute)</c:v>
                  </c:pt>
                  <c:pt idx="2078">
                    <c:v>Rolling Mean (30 Minute)</c:v>
                  </c:pt>
                  <c:pt idx="2079">
                    <c:v>Rolling Mean (30 Minute)</c:v>
                  </c:pt>
                  <c:pt idx="2080">
                    <c:v>Rolling Mean (30 Minute)</c:v>
                  </c:pt>
                  <c:pt idx="2081">
                    <c:v>Rolling Mean (30 Minute)</c:v>
                  </c:pt>
                  <c:pt idx="2082">
                    <c:v>Rolling Mean (30 Minute)</c:v>
                  </c:pt>
                  <c:pt idx="2083">
                    <c:v>Rolling Mean (30 Minute)</c:v>
                  </c:pt>
                  <c:pt idx="2084">
                    <c:v>Rolling Mean (30 Minute)</c:v>
                  </c:pt>
                  <c:pt idx="2085">
                    <c:v>Rolling Mean (30 Minute)</c:v>
                  </c:pt>
                  <c:pt idx="2086">
                    <c:v>Rolling Mean (30 Minute)</c:v>
                  </c:pt>
                  <c:pt idx="2087">
                    <c:v>Rolling Mean (30 Minute)</c:v>
                  </c:pt>
                  <c:pt idx="2088">
                    <c:v>Rolling Mean (30 Minute)</c:v>
                  </c:pt>
                  <c:pt idx="2089">
                    <c:v>Rolling Mean (30 Minute)</c:v>
                  </c:pt>
                  <c:pt idx="2090">
                    <c:v>Rolling Mean (30 Minute)</c:v>
                  </c:pt>
                  <c:pt idx="2091">
                    <c:v>Rolling Mean (30 Minute)</c:v>
                  </c:pt>
                  <c:pt idx="2092">
                    <c:v>Rolling Mean (30 Minute)</c:v>
                  </c:pt>
                  <c:pt idx="2093">
                    <c:v>Rolling Mean (30 Minute)</c:v>
                  </c:pt>
                  <c:pt idx="2094">
                    <c:v>Rolling Mean (30 Minute)</c:v>
                  </c:pt>
                  <c:pt idx="2095">
                    <c:v>Rolling Mean (30 Minute)</c:v>
                  </c:pt>
                  <c:pt idx="2096">
                    <c:v>Rolling Mean (30 Minute)</c:v>
                  </c:pt>
                  <c:pt idx="2097">
                    <c:v>Rolling Mean (30 Minute)</c:v>
                  </c:pt>
                  <c:pt idx="2098">
                    <c:v>Rolling Mean (30 Minute)</c:v>
                  </c:pt>
                  <c:pt idx="2099">
                    <c:v>Rolling Mean (30 Minute)</c:v>
                  </c:pt>
                  <c:pt idx="2100">
                    <c:v>Rolling Mean (30 Minute)</c:v>
                  </c:pt>
                  <c:pt idx="2101">
                    <c:v>Rolling Mean (30 Minute)</c:v>
                  </c:pt>
                  <c:pt idx="2102">
                    <c:v>Rolling Mean (30 Minute)</c:v>
                  </c:pt>
                  <c:pt idx="2103">
                    <c:v>Rolling Mean (30 Minute)</c:v>
                  </c:pt>
                  <c:pt idx="2104">
                    <c:v>Rolling Mean (30 Minute)</c:v>
                  </c:pt>
                  <c:pt idx="2105">
                    <c:v>Rolling Mean (30 Minute)</c:v>
                  </c:pt>
                  <c:pt idx="2106">
                    <c:v>Rolling Mean (30 Minute)</c:v>
                  </c:pt>
                  <c:pt idx="2107">
                    <c:v>Rolling Mean (30 Minute)</c:v>
                  </c:pt>
                  <c:pt idx="2108">
                    <c:v>Rolling Mean (30 Minute)</c:v>
                  </c:pt>
                  <c:pt idx="2109">
                    <c:v>Rolling Mean (30 Minute)</c:v>
                  </c:pt>
                  <c:pt idx="2110">
                    <c:v>Rolling Mean (30 Minute)</c:v>
                  </c:pt>
                  <c:pt idx="2111">
                    <c:v>Rolling Mean (30 Minute)</c:v>
                  </c:pt>
                  <c:pt idx="2112">
                    <c:v>Rolling Mean (30 Minute)</c:v>
                  </c:pt>
                  <c:pt idx="2113">
                    <c:v>Rolling Mean (30 Minute)</c:v>
                  </c:pt>
                  <c:pt idx="2114">
                    <c:v>Rolling Mean (30 Minute)</c:v>
                  </c:pt>
                  <c:pt idx="2115">
                    <c:v>Rolling Mean (30 Minute)</c:v>
                  </c:pt>
                  <c:pt idx="2116">
                    <c:v>Rolling Mean (30 Minute)</c:v>
                  </c:pt>
                  <c:pt idx="2117">
                    <c:v>Rolling Mean (30 Minute)</c:v>
                  </c:pt>
                  <c:pt idx="2118">
                    <c:v>Rolling Mean (30 Minute)</c:v>
                  </c:pt>
                  <c:pt idx="2119">
                    <c:v>Rolling Mean (30 Minute)</c:v>
                  </c:pt>
                  <c:pt idx="2120">
                    <c:v>Rolling Mean (30 Minute)</c:v>
                  </c:pt>
                  <c:pt idx="2121">
                    <c:v>Rolling Mean (30 Minute)</c:v>
                  </c:pt>
                  <c:pt idx="2122">
                    <c:v>Rolling Mean (30 Minute)</c:v>
                  </c:pt>
                  <c:pt idx="2123">
                    <c:v>Rolling Mean (30 Minute)</c:v>
                  </c:pt>
                  <c:pt idx="2124">
                    <c:v>Rolling Mean (30 Minute)</c:v>
                  </c:pt>
                  <c:pt idx="2125">
                    <c:v>Rolling Mean (30 Minute)</c:v>
                  </c:pt>
                  <c:pt idx="2126">
                    <c:v>Rolling Mean (30 Minute)</c:v>
                  </c:pt>
                  <c:pt idx="2127">
                    <c:v>Rolling Mean (30 Minute)</c:v>
                  </c:pt>
                  <c:pt idx="2128">
                    <c:v>Rolling Mean (30 Minute)</c:v>
                  </c:pt>
                  <c:pt idx="2129">
                    <c:v>Rolling Mean (30 Minute)</c:v>
                  </c:pt>
                  <c:pt idx="2130">
                    <c:v>Rolling Mean (30 Minute)</c:v>
                  </c:pt>
                  <c:pt idx="2131">
                    <c:v>Rolling Mean (30 Minute)</c:v>
                  </c:pt>
                  <c:pt idx="2132">
                    <c:v>Rolling Mean (30 Minute)</c:v>
                  </c:pt>
                  <c:pt idx="2133">
                    <c:v>Rolling Mean (30 Minute)</c:v>
                  </c:pt>
                  <c:pt idx="2134">
                    <c:v>Rolling Mean (30 Minute)</c:v>
                  </c:pt>
                  <c:pt idx="2135">
                    <c:v>Rolling Mean (30 Minute)</c:v>
                  </c:pt>
                  <c:pt idx="2136">
                    <c:v>Rolling Mean (30 Minute)</c:v>
                  </c:pt>
                  <c:pt idx="2137">
                    <c:v>Rolling Mean (30 Minute)</c:v>
                  </c:pt>
                  <c:pt idx="2138">
                    <c:v>Rolling Mean (30 Minute)</c:v>
                  </c:pt>
                  <c:pt idx="2139">
                    <c:v>Rolling Mean (30 Minute)</c:v>
                  </c:pt>
                  <c:pt idx="2140">
                    <c:v>Rolling Mean (30 Minute)</c:v>
                  </c:pt>
                  <c:pt idx="2141">
                    <c:v>Rolling Mean (30 Minute)</c:v>
                  </c:pt>
                  <c:pt idx="2142">
                    <c:v>Rolling Mean (30 Minute)</c:v>
                  </c:pt>
                  <c:pt idx="2143">
                    <c:v>Rolling Mean (30 Minute)</c:v>
                  </c:pt>
                  <c:pt idx="2144">
                    <c:v>Rolling Mean (30 Minute)</c:v>
                  </c:pt>
                  <c:pt idx="2145">
                    <c:v>Rolling Mean (30 Minute)</c:v>
                  </c:pt>
                  <c:pt idx="2146">
                    <c:v>Rolling Mean (30 Minute)</c:v>
                  </c:pt>
                  <c:pt idx="2147">
                    <c:v>Rolling Mean (30 Minute)</c:v>
                  </c:pt>
                  <c:pt idx="2148">
                    <c:v>Rolling Mean (30 Minute)</c:v>
                  </c:pt>
                  <c:pt idx="2149">
                    <c:v>Rolling Mean (30 Minute)</c:v>
                  </c:pt>
                  <c:pt idx="2150">
                    <c:v>Rolling Mean (30 Minute)</c:v>
                  </c:pt>
                  <c:pt idx="2151">
                    <c:v>Rolling Mean (30 Minute)</c:v>
                  </c:pt>
                  <c:pt idx="2152">
                    <c:v>Rolling Mean (30 Minute)</c:v>
                  </c:pt>
                  <c:pt idx="2153">
                    <c:v>Rolling Mean (30 Minute)</c:v>
                  </c:pt>
                  <c:pt idx="2154">
                    <c:v>Rolling Mean (30 Minute)</c:v>
                  </c:pt>
                  <c:pt idx="2155">
                    <c:v>Rolling Mean (30 Minute)</c:v>
                  </c:pt>
                  <c:pt idx="2156">
                    <c:v>Rolling Mean (30 Minute)</c:v>
                  </c:pt>
                  <c:pt idx="2157">
                    <c:v>Rolling Mean (30 Minute)</c:v>
                  </c:pt>
                  <c:pt idx="2158">
                    <c:v>Rolling Mean (30 Minute)</c:v>
                  </c:pt>
                  <c:pt idx="2159">
                    <c:v>Rolling Mean (30 Minute)</c:v>
                  </c:pt>
                  <c:pt idx="2160">
                    <c:v>Rolling Mean (30 Minute)</c:v>
                  </c:pt>
                  <c:pt idx="2161">
                    <c:v>Rolling Mean (30 Minute)</c:v>
                  </c:pt>
                  <c:pt idx="2162">
                    <c:v>Rolling Mean (30 Minute)</c:v>
                  </c:pt>
                  <c:pt idx="2163">
                    <c:v>Rolling Mean (30 Minute)</c:v>
                  </c:pt>
                  <c:pt idx="2164">
                    <c:v>Rolling Mean (30 Minute)</c:v>
                  </c:pt>
                  <c:pt idx="2165">
                    <c:v>Rolling Mean (30 Minute)</c:v>
                  </c:pt>
                  <c:pt idx="2166">
                    <c:v>Rolling Mean (30 Minute)</c:v>
                  </c:pt>
                  <c:pt idx="2167">
                    <c:v>Rolling Mean (30 Minute)</c:v>
                  </c:pt>
                  <c:pt idx="2168">
                    <c:v>Rolling Mean (30 Minute)</c:v>
                  </c:pt>
                  <c:pt idx="2169">
                    <c:v>Rolling Mean (30 Minute)</c:v>
                  </c:pt>
                  <c:pt idx="2170">
                    <c:v>Rolling Mean (30 Minute)</c:v>
                  </c:pt>
                  <c:pt idx="2171">
                    <c:v>Rolling Mean (30 Minute)</c:v>
                  </c:pt>
                  <c:pt idx="2172">
                    <c:v>Rolling Mean (30 Minute)</c:v>
                  </c:pt>
                  <c:pt idx="2173">
                    <c:v>Rolling Mean (30 Minute)</c:v>
                  </c:pt>
                  <c:pt idx="2174">
                    <c:v>Rolling Mean (30 Minute)</c:v>
                  </c:pt>
                  <c:pt idx="2175">
                    <c:v>Rolling Mean (30 Minute)</c:v>
                  </c:pt>
                  <c:pt idx="2176">
                    <c:v>Rolling Mean (30 Minute)</c:v>
                  </c:pt>
                  <c:pt idx="2177">
                    <c:v>Rolling Mean (30 Minute)</c:v>
                  </c:pt>
                  <c:pt idx="2178">
                    <c:v>Rolling Mean (30 Minute)</c:v>
                  </c:pt>
                  <c:pt idx="2179">
                    <c:v>Rolling Mean (30 Minute)</c:v>
                  </c:pt>
                  <c:pt idx="2180">
                    <c:v>Rolling Mean (30 Minute)</c:v>
                  </c:pt>
                  <c:pt idx="2181">
                    <c:v>Rolling Mean (30 Minute)</c:v>
                  </c:pt>
                  <c:pt idx="2182">
                    <c:v>Rolling Mean (30 Minute)</c:v>
                  </c:pt>
                  <c:pt idx="2183">
                    <c:v>Rolling Mean (30 Minute)</c:v>
                  </c:pt>
                  <c:pt idx="2184">
                    <c:v>Rolling Mean (30 Minute)</c:v>
                  </c:pt>
                  <c:pt idx="2185">
                    <c:v>Rolling Mean (30 Minute)</c:v>
                  </c:pt>
                  <c:pt idx="2186">
                    <c:v>Rolling Mean (30 Minute)</c:v>
                  </c:pt>
                  <c:pt idx="2187">
                    <c:v>Rolling Mean (30 Minute)</c:v>
                  </c:pt>
                  <c:pt idx="2188">
                    <c:v>Rolling Mean (30 Minute)</c:v>
                  </c:pt>
                  <c:pt idx="2189">
                    <c:v>Rolling Mean (30 Minute)</c:v>
                  </c:pt>
                  <c:pt idx="2190">
                    <c:v>Rolling Mean (30 Minute)</c:v>
                  </c:pt>
                  <c:pt idx="2191">
                    <c:v>Rolling Mean (30 Minute)</c:v>
                  </c:pt>
                  <c:pt idx="2192">
                    <c:v>Rolling Mean (30 Minute)</c:v>
                  </c:pt>
                  <c:pt idx="2193">
                    <c:v>Rolling Mean (30 Minute)</c:v>
                  </c:pt>
                  <c:pt idx="2194">
                    <c:v>Rolling Mean (30 Minute)</c:v>
                  </c:pt>
                  <c:pt idx="2195">
                    <c:v>Rolling Mean (30 Minute)</c:v>
                  </c:pt>
                  <c:pt idx="2196">
                    <c:v>Rolling Mean (30 Minute)</c:v>
                  </c:pt>
                  <c:pt idx="2197">
                    <c:v>Rolling Mean (30 Minute)</c:v>
                  </c:pt>
                  <c:pt idx="2198">
                    <c:v>Rolling Mean (30 Minute)</c:v>
                  </c:pt>
                  <c:pt idx="2199">
                    <c:v>Rolling Mean (30 Minute)</c:v>
                  </c:pt>
                  <c:pt idx="2200">
                    <c:v>Rolling Mean (30 Minute)</c:v>
                  </c:pt>
                  <c:pt idx="2201">
                    <c:v>Rolling Mean (30 Minute)</c:v>
                  </c:pt>
                  <c:pt idx="2202">
                    <c:v>Rolling Mean (30 Minute)</c:v>
                  </c:pt>
                  <c:pt idx="2203">
                    <c:v>Rolling Mean (30 Minute)</c:v>
                  </c:pt>
                  <c:pt idx="2204">
                    <c:v>Rolling Mean (30 Minute)</c:v>
                  </c:pt>
                  <c:pt idx="2205">
                    <c:v>Rolling Mean (30 Minute)</c:v>
                  </c:pt>
                  <c:pt idx="2206">
                    <c:v>Rolling Mean (30 Minute)</c:v>
                  </c:pt>
                  <c:pt idx="2207">
                    <c:v>Rolling Mean (30 Minute)</c:v>
                  </c:pt>
                  <c:pt idx="2208">
                    <c:v>Rolling Mean (30 Minute)</c:v>
                  </c:pt>
                  <c:pt idx="2209">
                    <c:v>Rolling Mean (30 Minute)</c:v>
                  </c:pt>
                  <c:pt idx="2210">
                    <c:v>Rolling Mean (30 Minute)</c:v>
                  </c:pt>
                  <c:pt idx="2211">
                    <c:v>Rolling Mean (30 Minute)</c:v>
                  </c:pt>
                  <c:pt idx="2212">
                    <c:v>Rolling Mean (30 Minute)</c:v>
                  </c:pt>
                  <c:pt idx="2213">
                    <c:v>Rolling Mean (30 Minute)</c:v>
                  </c:pt>
                  <c:pt idx="2214">
                    <c:v>Rolling Mean (30 Minute)</c:v>
                  </c:pt>
                  <c:pt idx="2215">
                    <c:v>Rolling Mean (30 Minute)</c:v>
                  </c:pt>
                  <c:pt idx="2216">
                    <c:v>Rolling Mean (30 Minute)</c:v>
                  </c:pt>
                  <c:pt idx="2217">
                    <c:v>Rolling Mean (30 Minute)</c:v>
                  </c:pt>
                  <c:pt idx="2218">
                    <c:v>Rolling Mean (30 Minute)</c:v>
                  </c:pt>
                  <c:pt idx="2219">
                    <c:v>Rolling Mean (30 Minute)</c:v>
                  </c:pt>
                  <c:pt idx="2220">
                    <c:v>Rolling Mean (30 Minute)</c:v>
                  </c:pt>
                  <c:pt idx="2221">
                    <c:v>Rolling Mean (30 Minute)</c:v>
                  </c:pt>
                  <c:pt idx="2222">
                    <c:v>Rolling Mean (30 Minute)</c:v>
                  </c:pt>
                  <c:pt idx="2223">
                    <c:v>Rolling Mean (30 Minute)</c:v>
                  </c:pt>
                  <c:pt idx="2224">
                    <c:v>Rolling Mean (30 Minute)</c:v>
                  </c:pt>
                  <c:pt idx="2225">
                    <c:v>Rolling Mean (30 Minute)</c:v>
                  </c:pt>
                  <c:pt idx="2226">
                    <c:v>Rolling Mean (30 Minute)</c:v>
                  </c:pt>
                  <c:pt idx="2227">
                    <c:v>Rolling Mean (30 Minute)</c:v>
                  </c:pt>
                  <c:pt idx="2228">
                    <c:v>Rolling Mean (30 Minute)</c:v>
                  </c:pt>
                  <c:pt idx="2229">
                    <c:v>Rolling Mean (30 Minute)</c:v>
                  </c:pt>
                  <c:pt idx="2230">
                    <c:v>Rolling Mean (30 Minute)</c:v>
                  </c:pt>
                  <c:pt idx="2231">
                    <c:v>Rolling Mean (30 Minute)</c:v>
                  </c:pt>
                  <c:pt idx="2232">
                    <c:v>Rolling Mean (30 Minute)</c:v>
                  </c:pt>
                  <c:pt idx="2233">
                    <c:v>Rolling Mean (30 Minute)</c:v>
                  </c:pt>
                  <c:pt idx="2234">
                    <c:v>Rolling Mean (30 Minute)</c:v>
                  </c:pt>
                  <c:pt idx="2235">
                    <c:v>Rolling Mean (30 Minute)</c:v>
                  </c:pt>
                  <c:pt idx="2236">
                    <c:v>Rolling Mean (30 Minute)</c:v>
                  </c:pt>
                  <c:pt idx="2237">
                    <c:v>Rolling Mean (30 Minute)</c:v>
                  </c:pt>
                  <c:pt idx="2238">
                    <c:v>Rolling Mean (30 Minute)</c:v>
                  </c:pt>
                  <c:pt idx="2239">
                    <c:v>Rolling Mean (30 Minute)</c:v>
                  </c:pt>
                  <c:pt idx="2240">
                    <c:v>Rolling Mean (30 Minute)</c:v>
                  </c:pt>
                  <c:pt idx="2241">
                    <c:v>Rolling Mean (30 Minute)</c:v>
                  </c:pt>
                  <c:pt idx="2242">
                    <c:v>Rolling Mean (30 Minute)</c:v>
                  </c:pt>
                  <c:pt idx="2243">
                    <c:v>Rolling Mean (30 Minute)</c:v>
                  </c:pt>
                  <c:pt idx="2244">
                    <c:v>Rolling Mean (30 Minute)</c:v>
                  </c:pt>
                  <c:pt idx="2245">
                    <c:v>Rolling Mean (30 Minute)</c:v>
                  </c:pt>
                  <c:pt idx="2246">
                    <c:v>Rolling Mean (30 Minute)</c:v>
                  </c:pt>
                  <c:pt idx="2247">
                    <c:v>Rolling Mean (30 Minute)</c:v>
                  </c:pt>
                  <c:pt idx="2248">
                    <c:v>Rolling Mean (30 Minute)</c:v>
                  </c:pt>
                  <c:pt idx="2249">
                    <c:v>Rolling Mean (30 Minute)</c:v>
                  </c:pt>
                  <c:pt idx="2250">
                    <c:v>Rolling Mean (30 Minute)</c:v>
                  </c:pt>
                  <c:pt idx="2251">
                    <c:v>Rolling Mean (30 Minute)</c:v>
                  </c:pt>
                  <c:pt idx="2252">
                    <c:v>Rolling Mean (30 Minute)</c:v>
                  </c:pt>
                  <c:pt idx="2253">
                    <c:v>Rolling Mean (30 Minute)</c:v>
                  </c:pt>
                  <c:pt idx="2254">
                    <c:v>Rolling Mean (30 Minute)</c:v>
                  </c:pt>
                  <c:pt idx="2255">
                    <c:v>Rolling Mean (30 Minute)</c:v>
                  </c:pt>
                  <c:pt idx="2256">
                    <c:v>Rolling Mean (30 Minute)</c:v>
                  </c:pt>
                  <c:pt idx="2257">
                    <c:v>Rolling Mean (30 Minute)</c:v>
                  </c:pt>
                  <c:pt idx="2258">
                    <c:v>Rolling Mean (30 Minute)</c:v>
                  </c:pt>
                  <c:pt idx="2259">
                    <c:v>Rolling Mean (30 Minute)</c:v>
                  </c:pt>
                  <c:pt idx="2260">
                    <c:v>Rolling Mean (30 Minute)</c:v>
                  </c:pt>
                  <c:pt idx="2261">
                    <c:v>Rolling Mean (30 Minute)</c:v>
                  </c:pt>
                  <c:pt idx="2262">
                    <c:v>Rolling Mean (30 Minute)</c:v>
                  </c:pt>
                  <c:pt idx="2263">
                    <c:v>Rolling Mean (30 Minute)</c:v>
                  </c:pt>
                  <c:pt idx="2264">
                    <c:v>Rolling Mean (30 Minute)</c:v>
                  </c:pt>
                  <c:pt idx="2265">
                    <c:v>Rolling Mean (30 Minute)</c:v>
                  </c:pt>
                  <c:pt idx="2266">
                    <c:v>Rolling Mean (30 Minute)</c:v>
                  </c:pt>
                  <c:pt idx="2267">
                    <c:v>Rolling Mean (30 Minute)</c:v>
                  </c:pt>
                  <c:pt idx="2268">
                    <c:v>Rolling Mean (30 Minute)</c:v>
                  </c:pt>
                  <c:pt idx="2269">
                    <c:v>Rolling Mean (30 Minute)</c:v>
                  </c:pt>
                  <c:pt idx="2270">
                    <c:v>Rolling Mean (30 Minute)</c:v>
                  </c:pt>
                  <c:pt idx="2271">
                    <c:v>Rolling Mean (30 Minute)</c:v>
                  </c:pt>
                  <c:pt idx="2272">
                    <c:v>Rolling Mean (30 Minute)</c:v>
                  </c:pt>
                  <c:pt idx="2273">
                    <c:v>Rolling Mean (30 Minute)</c:v>
                  </c:pt>
                  <c:pt idx="2274">
                    <c:v>Rolling Mean (30 Minute)</c:v>
                  </c:pt>
                  <c:pt idx="2275">
                    <c:v>Rolling Mean (30 Minute)</c:v>
                  </c:pt>
                  <c:pt idx="2276">
                    <c:v>Rolling Mean (30 Minute)</c:v>
                  </c:pt>
                  <c:pt idx="2277">
                    <c:v>Rolling Mean (30 Minute)</c:v>
                  </c:pt>
                  <c:pt idx="2278">
                    <c:v>Rolling Mean (30 Minute)</c:v>
                  </c:pt>
                  <c:pt idx="2279">
                    <c:v>Rolling Mean (30 Minute)</c:v>
                  </c:pt>
                  <c:pt idx="2280">
                    <c:v>Rolling Mean (30 Minute)</c:v>
                  </c:pt>
                  <c:pt idx="2281">
                    <c:v>Rolling Mean (30 Minute)</c:v>
                  </c:pt>
                  <c:pt idx="2282">
                    <c:v>Rolling Mean (30 Minute)</c:v>
                  </c:pt>
                  <c:pt idx="2283">
                    <c:v>Rolling Mean (30 Minute)</c:v>
                  </c:pt>
                  <c:pt idx="2284">
                    <c:v>Rolling Mean (30 Minute)</c:v>
                  </c:pt>
                  <c:pt idx="2285">
                    <c:v>Rolling Mean (30 Minute)</c:v>
                  </c:pt>
                  <c:pt idx="2286">
                    <c:v>Rolling Mean (30 Minute)</c:v>
                  </c:pt>
                  <c:pt idx="2287">
                    <c:v>Rolling Mean (30 Minute)</c:v>
                  </c:pt>
                  <c:pt idx="2288">
                    <c:v>Rolling Mean (30 Minute)</c:v>
                  </c:pt>
                  <c:pt idx="2289">
                    <c:v>Rolling Mean (30 Minute)</c:v>
                  </c:pt>
                  <c:pt idx="2290">
                    <c:v>Rolling Mean (30 Minute)</c:v>
                  </c:pt>
                  <c:pt idx="2291">
                    <c:v>Rolling Mean (30 Minute)</c:v>
                  </c:pt>
                  <c:pt idx="2292">
                    <c:v>Rolling Mean (30 Minute)</c:v>
                  </c:pt>
                  <c:pt idx="2293">
                    <c:v>Rolling Mean (30 Minute)</c:v>
                  </c:pt>
                  <c:pt idx="2294">
                    <c:v>Rolling Mean (30 Minute)</c:v>
                  </c:pt>
                  <c:pt idx="2295">
                    <c:v>Rolling Mean (30 Minute)</c:v>
                  </c:pt>
                  <c:pt idx="2296">
                    <c:v>Rolling Mean (30 Minute)</c:v>
                  </c:pt>
                  <c:pt idx="2297">
                    <c:v>Rolling Mean (30 Minute)</c:v>
                  </c:pt>
                  <c:pt idx="2298">
                    <c:v>Rolling Mean (30 Minute)</c:v>
                  </c:pt>
                  <c:pt idx="2299">
                    <c:v>Rolling Mean (30 Minute)</c:v>
                  </c:pt>
                  <c:pt idx="2300">
                    <c:v>Rolling Mean (30 Minute)</c:v>
                  </c:pt>
                  <c:pt idx="2301">
                    <c:v>Rolling Mean (30 Minute)</c:v>
                  </c:pt>
                  <c:pt idx="2302">
                    <c:v>Rolling Mean (30 Minute)</c:v>
                  </c:pt>
                  <c:pt idx="2303">
                    <c:v>Rolling Mean (30 Minute)</c:v>
                  </c:pt>
                  <c:pt idx="2304">
                    <c:v>Rolling Mean (30 Minute)</c:v>
                  </c:pt>
                  <c:pt idx="2305">
                    <c:v>Rolling Mean (30 Minute)</c:v>
                  </c:pt>
                  <c:pt idx="2306">
                    <c:v>Rolling Mean (30 Minute)</c:v>
                  </c:pt>
                  <c:pt idx="2307">
                    <c:v>Rolling Mean (30 Minute)</c:v>
                  </c:pt>
                  <c:pt idx="2308">
                    <c:v>Rolling Mean (30 Minute)</c:v>
                  </c:pt>
                  <c:pt idx="2309">
                    <c:v>Rolling Mean (30 Minute)</c:v>
                  </c:pt>
                  <c:pt idx="2310">
                    <c:v>Rolling Mean (30 Minute)</c:v>
                  </c:pt>
                  <c:pt idx="2311">
                    <c:v>Rolling Mean (30 Minute)</c:v>
                  </c:pt>
                  <c:pt idx="2312">
                    <c:v>Rolling Mean (30 Minute)</c:v>
                  </c:pt>
                  <c:pt idx="2313">
                    <c:v>Rolling Mean (30 Minute)</c:v>
                  </c:pt>
                  <c:pt idx="2314">
                    <c:v>Rolling Mean (30 Minute)</c:v>
                  </c:pt>
                  <c:pt idx="2315">
                    <c:v>Rolling Mean (30 Minute)</c:v>
                  </c:pt>
                  <c:pt idx="2316">
                    <c:v>Rolling Mean (30 Minute)</c:v>
                  </c:pt>
                  <c:pt idx="2317">
                    <c:v>Rolling Mean (30 Minute)</c:v>
                  </c:pt>
                  <c:pt idx="2318">
                    <c:v>Rolling Mean (30 Minute)</c:v>
                  </c:pt>
                  <c:pt idx="2319">
                    <c:v>Rolling Mean (30 Minute)</c:v>
                  </c:pt>
                  <c:pt idx="2320">
                    <c:v>Rolling Mean (30 Minute)</c:v>
                  </c:pt>
                  <c:pt idx="2321">
                    <c:v>Rolling Mean (30 Minute)</c:v>
                  </c:pt>
                  <c:pt idx="2322">
                    <c:v>Rolling Mean (30 Minute)</c:v>
                  </c:pt>
                  <c:pt idx="2323">
                    <c:v>Rolling Mean (30 Minute)</c:v>
                  </c:pt>
                  <c:pt idx="2324">
                    <c:v>Rolling Mean (30 Minute)</c:v>
                  </c:pt>
                  <c:pt idx="2325">
                    <c:v>Rolling Mean (30 Minute)</c:v>
                  </c:pt>
                  <c:pt idx="2326">
                    <c:v>Rolling Mean (30 Minute)</c:v>
                  </c:pt>
                  <c:pt idx="2327">
                    <c:v>Rolling Mean (30 Minute)</c:v>
                  </c:pt>
                  <c:pt idx="2328">
                    <c:v>Rolling Mean (30 Minute)</c:v>
                  </c:pt>
                  <c:pt idx="2329">
                    <c:v>Rolling Mean (30 Minute)</c:v>
                  </c:pt>
                  <c:pt idx="2330">
                    <c:v>Rolling Mean (30 Minute)</c:v>
                  </c:pt>
                  <c:pt idx="2331">
                    <c:v>Rolling Mean (30 Minute)</c:v>
                  </c:pt>
                  <c:pt idx="2332">
                    <c:v>Rolling Mean (30 Minute)</c:v>
                  </c:pt>
                  <c:pt idx="2333">
                    <c:v>Rolling Mean (30 Minute)</c:v>
                  </c:pt>
                  <c:pt idx="2334">
                    <c:v>Rolling Mean (30 Minute)</c:v>
                  </c:pt>
                  <c:pt idx="2335">
                    <c:v>Rolling Mean (30 Minute)</c:v>
                  </c:pt>
                  <c:pt idx="2336">
                    <c:v>Rolling Mean (30 Minute)</c:v>
                  </c:pt>
                  <c:pt idx="2337">
                    <c:v>Rolling Mean (30 Minute)</c:v>
                  </c:pt>
                  <c:pt idx="2338">
                    <c:v>Rolling Mean (30 Minute)</c:v>
                  </c:pt>
                  <c:pt idx="2339">
                    <c:v>Rolling Mean (30 Minute)</c:v>
                  </c:pt>
                  <c:pt idx="2340">
                    <c:v>Rolling Mean (30 Minute)</c:v>
                  </c:pt>
                  <c:pt idx="2341">
                    <c:v>Rolling Mean (30 Minute)</c:v>
                  </c:pt>
                  <c:pt idx="2342">
                    <c:v>Rolling Mean (30 Minute)</c:v>
                  </c:pt>
                  <c:pt idx="2343">
                    <c:v>Rolling Mean (30 Minute)</c:v>
                  </c:pt>
                  <c:pt idx="2344">
                    <c:v>Rolling Mean (30 Minute)</c:v>
                  </c:pt>
                  <c:pt idx="2345">
                    <c:v>Rolling Mean (30 Minute)</c:v>
                  </c:pt>
                  <c:pt idx="2346">
                    <c:v>Rolling Mean (30 Minute)</c:v>
                  </c:pt>
                  <c:pt idx="2347">
                    <c:v>Rolling Mean (30 Minute)</c:v>
                  </c:pt>
                  <c:pt idx="2348">
                    <c:v>Rolling Mean (30 Minute)</c:v>
                  </c:pt>
                  <c:pt idx="2349">
                    <c:v>Rolling Mean (30 Minute)</c:v>
                  </c:pt>
                  <c:pt idx="2350">
                    <c:v>Rolling Mean (30 Minute)</c:v>
                  </c:pt>
                  <c:pt idx="2351">
                    <c:v>Rolling Mean (30 Minute)</c:v>
                  </c:pt>
                  <c:pt idx="2352">
                    <c:v>Rolling Mean (30 Minute)</c:v>
                  </c:pt>
                  <c:pt idx="2353">
                    <c:v>Rolling Mean (30 Minute)</c:v>
                  </c:pt>
                  <c:pt idx="2354">
                    <c:v>Rolling Mean (30 Minute)</c:v>
                  </c:pt>
                  <c:pt idx="2355">
                    <c:v>Rolling Mean (30 Minute)</c:v>
                  </c:pt>
                  <c:pt idx="2356">
                    <c:v>Rolling Mean (30 Minute)</c:v>
                  </c:pt>
                  <c:pt idx="2357">
                    <c:v>Rolling Mean (30 Minute)</c:v>
                  </c:pt>
                  <c:pt idx="2358">
                    <c:v>Rolling Mean (30 Minute)</c:v>
                  </c:pt>
                  <c:pt idx="2359">
                    <c:v>Rolling Mean (30 Minute)</c:v>
                  </c:pt>
                  <c:pt idx="2360">
                    <c:v>Rolling Mean (30 Minute)</c:v>
                  </c:pt>
                  <c:pt idx="2361">
                    <c:v>Rolling Mean (30 Minute)</c:v>
                  </c:pt>
                  <c:pt idx="2362">
                    <c:v>Rolling Mean (30 Minute)</c:v>
                  </c:pt>
                  <c:pt idx="2363">
                    <c:v>Rolling Mean (30 Minute)</c:v>
                  </c:pt>
                  <c:pt idx="2364">
                    <c:v>Rolling Mean (30 Minute)</c:v>
                  </c:pt>
                  <c:pt idx="2365">
                    <c:v>Rolling Mean (30 Minute)</c:v>
                  </c:pt>
                  <c:pt idx="2366">
                    <c:v>Rolling Mean (30 Minute)</c:v>
                  </c:pt>
                  <c:pt idx="2367">
                    <c:v>Rolling Mean (30 Minute)</c:v>
                  </c:pt>
                  <c:pt idx="2368">
                    <c:v>Rolling Mean (30 Minute)</c:v>
                  </c:pt>
                  <c:pt idx="2369">
                    <c:v>Rolling Mean (30 Minute)</c:v>
                  </c:pt>
                  <c:pt idx="2370">
                    <c:v>Rolling Mean (30 Minute)</c:v>
                  </c:pt>
                  <c:pt idx="2371">
                    <c:v>Rolling Mean (30 Minute)</c:v>
                  </c:pt>
                  <c:pt idx="2372">
                    <c:v>Rolling Mean (30 Minute)</c:v>
                  </c:pt>
                  <c:pt idx="2373">
                    <c:v>Rolling Mean (30 Minute)</c:v>
                  </c:pt>
                  <c:pt idx="2374">
                    <c:v>Rolling Mean (30 Minute)</c:v>
                  </c:pt>
                  <c:pt idx="2375">
                    <c:v>Rolling Mean (30 Minute)</c:v>
                  </c:pt>
                  <c:pt idx="2376">
                    <c:v>Rolling Mean (30 Minute)</c:v>
                  </c:pt>
                  <c:pt idx="2377">
                    <c:v>Rolling Mean (30 Minute)</c:v>
                  </c:pt>
                  <c:pt idx="2378">
                    <c:v>Rolling Mean (30 Minute)</c:v>
                  </c:pt>
                  <c:pt idx="2379">
                    <c:v>Rolling Mean (30 Minute)</c:v>
                  </c:pt>
                  <c:pt idx="2380">
                    <c:v>Rolling Mean (30 Minute)</c:v>
                  </c:pt>
                  <c:pt idx="2381">
                    <c:v>Rolling Mean (30 Minute)</c:v>
                  </c:pt>
                  <c:pt idx="2382">
                    <c:v>Rolling Mean (30 Minute)</c:v>
                  </c:pt>
                  <c:pt idx="2383">
                    <c:v>Rolling Mean (30 Minute)</c:v>
                  </c:pt>
                  <c:pt idx="2384">
                    <c:v>Rolling Mean (30 Minute)</c:v>
                  </c:pt>
                  <c:pt idx="2385">
                    <c:v>Rolling Mean (30 Minute)</c:v>
                  </c:pt>
                  <c:pt idx="2386">
                    <c:v>Rolling Mean (30 Minute)</c:v>
                  </c:pt>
                  <c:pt idx="2387">
                    <c:v>Rolling Mean (30 Minute)</c:v>
                  </c:pt>
                  <c:pt idx="2388">
                    <c:v>Rolling Mean (30 Minute)</c:v>
                  </c:pt>
                  <c:pt idx="2389">
                    <c:v>Rolling Mean (30 Minute)</c:v>
                  </c:pt>
                  <c:pt idx="2390">
                    <c:v>Rolling Mean (30 Minute)</c:v>
                  </c:pt>
                  <c:pt idx="2391">
                    <c:v>Rolling Mean (30 Minute)</c:v>
                  </c:pt>
                  <c:pt idx="2392">
                    <c:v>Rolling Mean (30 Minute)</c:v>
                  </c:pt>
                  <c:pt idx="2393">
                    <c:v>Rolling Mean (30 Minute)</c:v>
                  </c:pt>
                  <c:pt idx="2394">
                    <c:v>Rolling Mean (30 Minute)</c:v>
                  </c:pt>
                  <c:pt idx="2395">
                    <c:v>Rolling Mean (30 Minute)</c:v>
                  </c:pt>
                  <c:pt idx="2396">
                    <c:v>Rolling Mean (30 Minute)</c:v>
                  </c:pt>
                  <c:pt idx="2397">
                    <c:v>Rolling Mean (30 Minute)</c:v>
                  </c:pt>
                  <c:pt idx="2398">
                    <c:v>Rolling Mean (30 Minute)</c:v>
                  </c:pt>
                  <c:pt idx="2399">
                    <c:v>Rolling Mean (30 Minute)</c:v>
                  </c:pt>
                  <c:pt idx="2400">
                    <c:v>Rolling Mean (30 Minute)</c:v>
                  </c:pt>
                  <c:pt idx="2401">
                    <c:v>Rolling Mean (30 Minute)</c:v>
                  </c:pt>
                  <c:pt idx="2402">
                    <c:v>Rolling Mean (30 Minute)</c:v>
                  </c:pt>
                  <c:pt idx="2403">
                    <c:v>Rolling Mean (30 Minute)</c:v>
                  </c:pt>
                  <c:pt idx="2404">
                    <c:v>Rolling Mean (30 Minute)</c:v>
                  </c:pt>
                  <c:pt idx="2405">
                    <c:v>Rolling Mean (30 Minute)</c:v>
                  </c:pt>
                  <c:pt idx="2406">
                    <c:v>Rolling Mean (30 Minute)</c:v>
                  </c:pt>
                  <c:pt idx="2407">
                    <c:v>Rolling Mean (30 Minute)</c:v>
                  </c:pt>
                  <c:pt idx="2408">
                    <c:v>Rolling Mean (30 Minute)</c:v>
                  </c:pt>
                  <c:pt idx="2409">
                    <c:v>Rolling Mean (30 Minute)</c:v>
                  </c:pt>
                  <c:pt idx="2410">
                    <c:v>Rolling Mean (30 Minute)</c:v>
                  </c:pt>
                  <c:pt idx="2411">
                    <c:v>Rolling Mean (30 Minute)</c:v>
                  </c:pt>
                  <c:pt idx="2412">
                    <c:v>Rolling Mean (30 Minute)</c:v>
                  </c:pt>
                  <c:pt idx="2413">
                    <c:v>Rolling Mean (30 Minute)</c:v>
                  </c:pt>
                  <c:pt idx="2414">
                    <c:v>Rolling Mean (30 Minute)</c:v>
                  </c:pt>
                  <c:pt idx="2415">
                    <c:v>Rolling Mean (30 Minute)</c:v>
                  </c:pt>
                  <c:pt idx="2416">
                    <c:v>Rolling Mean (30 Minute)</c:v>
                  </c:pt>
                  <c:pt idx="2417">
                    <c:v>Rolling Mean (30 Minute)</c:v>
                  </c:pt>
                  <c:pt idx="2418">
                    <c:v>Rolling Mean (30 Minute)</c:v>
                  </c:pt>
                  <c:pt idx="2419">
                    <c:v>Rolling Mean (30 Minute)</c:v>
                  </c:pt>
                  <c:pt idx="2420">
                    <c:v>Rolling Mean (30 Minute)</c:v>
                  </c:pt>
                  <c:pt idx="2421">
                    <c:v>Rolling Mean (30 Minute)</c:v>
                  </c:pt>
                  <c:pt idx="2422">
                    <c:v>Rolling Mean (30 Minute)</c:v>
                  </c:pt>
                  <c:pt idx="2423">
                    <c:v>Rolling Mean (30 Minute)</c:v>
                  </c:pt>
                  <c:pt idx="2424">
                    <c:v>Rolling Mean (30 Minute)</c:v>
                  </c:pt>
                  <c:pt idx="2425">
                    <c:v>Rolling Mean (30 Minute)</c:v>
                  </c:pt>
                  <c:pt idx="2426">
                    <c:v>Rolling Mean (30 Minute)</c:v>
                  </c:pt>
                  <c:pt idx="2427">
                    <c:v>Rolling Mean (30 Minute)</c:v>
                  </c:pt>
                  <c:pt idx="2428">
                    <c:v>Rolling Mean (30 Minute)</c:v>
                  </c:pt>
                  <c:pt idx="2429">
                    <c:v>Rolling Mean (30 Minute)</c:v>
                  </c:pt>
                  <c:pt idx="2430">
                    <c:v>Rolling Mean (30 Minute)</c:v>
                  </c:pt>
                  <c:pt idx="2431">
                    <c:v>Rolling Mean (30 Minute)</c:v>
                  </c:pt>
                  <c:pt idx="2432">
                    <c:v>Rolling Mean (30 Minute)</c:v>
                  </c:pt>
                  <c:pt idx="2433">
                    <c:v>Rolling Mean (30 Minute)</c:v>
                  </c:pt>
                  <c:pt idx="2434">
                    <c:v>Rolling Mean (30 Minute)</c:v>
                  </c:pt>
                  <c:pt idx="2435">
                    <c:v>Rolling Mean (30 Minute)</c:v>
                  </c:pt>
                  <c:pt idx="2436">
                    <c:v>Rolling Mean (30 Minute)</c:v>
                  </c:pt>
                  <c:pt idx="2437">
                    <c:v>Rolling Mean (30 Minute)</c:v>
                  </c:pt>
                  <c:pt idx="2438">
                    <c:v>Rolling Mean (30 Minute)</c:v>
                  </c:pt>
                  <c:pt idx="2439">
                    <c:v>Rolling Mean (30 Minute)</c:v>
                  </c:pt>
                  <c:pt idx="2440">
                    <c:v>Rolling Mean (30 Minute)</c:v>
                  </c:pt>
                  <c:pt idx="2441">
                    <c:v>Rolling Mean (30 Minute)</c:v>
                  </c:pt>
                  <c:pt idx="2442">
                    <c:v>Rolling Mean (30 Minute)</c:v>
                  </c:pt>
                  <c:pt idx="2443">
                    <c:v>Rolling Mean (30 Minute)</c:v>
                  </c:pt>
                  <c:pt idx="2444">
                    <c:v>Rolling Mean (30 Minute)</c:v>
                  </c:pt>
                  <c:pt idx="2445">
                    <c:v>Rolling Mean (30 Minute)</c:v>
                  </c:pt>
                  <c:pt idx="2446">
                    <c:v>Rolling Mean (30 Minute)</c:v>
                  </c:pt>
                  <c:pt idx="2447">
                    <c:v>Rolling Mean (30 Minute)</c:v>
                  </c:pt>
                  <c:pt idx="2448">
                    <c:v>Rolling Mean (30 Minute)</c:v>
                  </c:pt>
                  <c:pt idx="2449">
                    <c:v>Rolling Mean (30 Minute)</c:v>
                  </c:pt>
                  <c:pt idx="2450">
                    <c:v>Rolling Mean (30 Minute)</c:v>
                  </c:pt>
                  <c:pt idx="2451">
                    <c:v>Rolling Mean (30 Minute)</c:v>
                  </c:pt>
                </c:lvl>
              </c:multiLvlStrCache>
            </c:multiLvlStrRef>
          </c:cat>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3-EEAA-4648-9585-8881DB12715D}"/>
            </c:ext>
          </c:extLst>
        </c:ser>
        <c:dLbls>
          <c:showLegendKey val="0"/>
          <c:showVal val="0"/>
          <c:showCatName val="0"/>
          <c:showSerName val="0"/>
          <c:showPercent val="0"/>
          <c:showBubbleSize val="0"/>
        </c:dLbls>
        <c:marker val="1"/>
        <c:smooth val="0"/>
        <c:axId val="933312623"/>
        <c:axId val="207117823"/>
      </c:lineChart>
      <c:lineChart>
        <c:grouping val="standard"/>
        <c:varyColors val="0"/>
        <c:ser>
          <c:idx val="2"/>
          <c:order val="2"/>
          <c:tx>
            <c:strRef>
              <c:f>'DRT Rolling Mean'!$E$1</c:f>
              <c:strCache>
                <c:ptCount val="1"/>
                <c:pt idx="0">
                  <c:v>Pump Speed (RPM)</c:v>
                </c:pt>
              </c:strCache>
            </c:strRef>
          </c:tx>
          <c:spPr>
            <a:ln w="28575" cap="rnd">
              <a:solidFill>
                <a:schemeClr val="accent3"/>
              </a:solidFill>
              <a:round/>
            </a:ln>
            <a:effectLst/>
          </c:spPr>
          <c:marker>
            <c:symbol val="none"/>
          </c:marker>
          <c:cat>
            <c:multiLvlStrRef>
              <c:f>'DRT Rolling Mean'!$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Mean (30 Minute)</c:v>
                  </c:pt>
                  <c:pt idx="1">
                    <c:v>Rolling Mean (30 Minute)</c:v>
                  </c:pt>
                  <c:pt idx="2">
                    <c:v>Rolling Mean (30 Minute)</c:v>
                  </c:pt>
                  <c:pt idx="3">
                    <c:v>Rolling Mean (30 Minute)</c:v>
                  </c:pt>
                  <c:pt idx="4">
                    <c:v>Rolling Mean (30 Minute)</c:v>
                  </c:pt>
                  <c:pt idx="5">
                    <c:v>Rolling Mean (30 Minute)</c:v>
                  </c:pt>
                  <c:pt idx="6">
                    <c:v>Rolling Mean (30 Minute)</c:v>
                  </c:pt>
                  <c:pt idx="7">
                    <c:v>Rolling Mean (30 Minute)</c:v>
                  </c:pt>
                  <c:pt idx="8">
                    <c:v>Rolling Mean (30 Minute)</c:v>
                  </c:pt>
                  <c:pt idx="9">
                    <c:v>Rolling Mean (30 Minute)</c:v>
                  </c:pt>
                  <c:pt idx="10">
                    <c:v>Rolling Mean (30 Minute)</c:v>
                  </c:pt>
                  <c:pt idx="11">
                    <c:v>Rolling Mean (30 Minute)</c:v>
                  </c:pt>
                  <c:pt idx="12">
                    <c:v>Rolling Mean (30 Minute)</c:v>
                  </c:pt>
                  <c:pt idx="13">
                    <c:v>Rolling Mean (30 Minute)</c:v>
                  </c:pt>
                  <c:pt idx="14">
                    <c:v>Rolling Mean (30 Minute)</c:v>
                  </c:pt>
                  <c:pt idx="15">
                    <c:v>Rolling Mean (30 Minute)</c:v>
                  </c:pt>
                  <c:pt idx="16">
                    <c:v>Rolling Mean (30 Minute)</c:v>
                  </c:pt>
                  <c:pt idx="17">
                    <c:v>Rolling Mean (30 Minute)</c:v>
                  </c:pt>
                  <c:pt idx="18">
                    <c:v>Rolling Mean (30 Minute)</c:v>
                  </c:pt>
                  <c:pt idx="19">
                    <c:v>Rolling Mean (30 Minute)</c:v>
                  </c:pt>
                  <c:pt idx="20">
                    <c:v>Rolling Mean (30 Minute)</c:v>
                  </c:pt>
                  <c:pt idx="21">
                    <c:v>Rolling Mean (30 Minute)</c:v>
                  </c:pt>
                  <c:pt idx="22">
                    <c:v>Rolling Mean (30 Minute)</c:v>
                  </c:pt>
                  <c:pt idx="23">
                    <c:v>Rolling Mean (30 Minute)</c:v>
                  </c:pt>
                  <c:pt idx="24">
                    <c:v>Rolling Mean (30 Minute)</c:v>
                  </c:pt>
                  <c:pt idx="25">
                    <c:v>Rolling Mean (30 Minute)</c:v>
                  </c:pt>
                  <c:pt idx="26">
                    <c:v>Rolling Mean (30 Minute)</c:v>
                  </c:pt>
                  <c:pt idx="27">
                    <c:v>Rolling Mean (30 Minute)</c:v>
                  </c:pt>
                  <c:pt idx="28">
                    <c:v>Rolling Mean (30 Minute)</c:v>
                  </c:pt>
                  <c:pt idx="29">
                    <c:v>Rolling Mean (30 Minute)</c:v>
                  </c:pt>
                  <c:pt idx="30">
                    <c:v>Rolling Mean (30 Minute)</c:v>
                  </c:pt>
                  <c:pt idx="31">
                    <c:v>Rolling Mean (30 Minute)</c:v>
                  </c:pt>
                  <c:pt idx="32">
                    <c:v>Rolling Mean (30 Minute)</c:v>
                  </c:pt>
                  <c:pt idx="33">
                    <c:v>Rolling Mean (30 Minute)</c:v>
                  </c:pt>
                  <c:pt idx="34">
                    <c:v>Rolling Mean (30 Minute)</c:v>
                  </c:pt>
                  <c:pt idx="35">
                    <c:v>Rolling Mean (30 Minute)</c:v>
                  </c:pt>
                  <c:pt idx="36">
                    <c:v>Rolling Mean (30 Minute)</c:v>
                  </c:pt>
                  <c:pt idx="37">
                    <c:v>Rolling Mean (30 Minute)</c:v>
                  </c:pt>
                  <c:pt idx="38">
                    <c:v>Rolling Mean (30 Minute)</c:v>
                  </c:pt>
                  <c:pt idx="39">
                    <c:v>Rolling Mean (30 Minute)</c:v>
                  </c:pt>
                  <c:pt idx="40">
                    <c:v>Rolling Mean (30 Minute)</c:v>
                  </c:pt>
                  <c:pt idx="41">
                    <c:v>Rolling Mean (30 Minute)</c:v>
                  </c:pt>
                  <c:pt idx="42">
                    <c:v>Rolling Mean (30 Minute)</c:v>
                  </c:pt>
                  <c:pt idx="43">
                    <c:v>Rolling Mean (30 Minute)</c:v>
                  </c:pt>
                  <c:pt idx="44">
                    <c:v>Rolling Mean (30 Minute)</c:v>
                  </c:pt>
                  <c:pt idx="45">
                    <c:v>Rolling Mean (30 Minute)</c:v>
                  </c:pt>
                  <c:pt idx="46">
                    <c:v>Rolling Mean (30 Minute)</c:v>
                  </c:pt>
                  <c:pt idx="47">
                    <c:v>Rolling Mean (30 Minute)</c:v>
                  </c:pt>
                  <c:pt idx="48">
                    <c:v>Rolling Mean (30 Minute)</c:v>
                  </c:pt>
                  <c:pt idx="49">
                    <c:v>Rolling Mean (30 Minute)</c:v>
                  </c:pt>
                  <c:pt idx="50">
                    <c:v>Rolling Mean (30 Minute)</c:v>
                  </c:pt>
                  <c:pt idx="51">
                    <c:v>Rolling Mean (30 Minute)</c:v>
                  </c:pt>
                  <c:pt idx="52">
                    <c:v>Rolling Mean (30 Minute)</c:v>
                  </c:pt>
                  <c:pt idx="53">
                    <c:v>Rolling Mean (30 Minute)</c:v>
                  </c:pt>
                  <c:pt idx="54">
                    <c:v>Rolling Mean (30 Minute)</c:v>
                  </c:pt>
                  <c:pt idx="55">
                    <c:v>Rolling Mean (30 Minute)</c:v>
                  </c:pt>
                  <c:pt idx="56">
                    <c:v>Rolling Mean (30 Minute)</c:v>
                  </c:pt>
                  <c:pt idx="57">
                    <c:v>Rolling Mean (30 Minute)</c:v>
                  </c:pt>
                  <c:pt idx="58">
                    <c:v>Rolling Mean (30 Minute)</c:v>
                  </c:pt>
                  <c:pt idx="59">
                    <c:v>Rolling Mean (30 Minute)</c:v>
                  </c:pt>
                  <c:pt idx="60">
                    <c:v>Rolling Mean (30 Minute)</c:v>
                  </c:pt>
                  <c:pt idx="61">
                    <c:v>Rolling Mean (30 Minute)</c:v>
                  </c:pt>
                  <c:pt idx="62">
                    <c:v>Rolling Mean (30 Minute)</c:v>
                  </c:pt>
                  <c:pt idx="63">
                    <c:v>Rolling Mean (30 Minute)</c:v>
                  </c:pt>
                  <c:pt idx="64">
                    <c:v>Rolling Mean (30 Minute)</c:v>
                  </c:pt>
                  <c:pt idx="65">
                    <c:v>Rolling Mean (30 Minute)</c:v>
                  </c:pt>
                  <c:pt idx="66">
                    <c:v>Rolling Mean (30 Minute)</c:v>
                  </c:pt>
                  <c:pt idx="67">
                    <c:v>Rolling Mean (30 Minute)</c:v>
                  </c:pt>
                  <c:pt idx="68">
                    <c:v>Rolling Mean (30 Minute)</c:v>
                  </c:pt>
                  <c:pt idx="69">
                    <c:v>Rolling Mean (30 Minute)</c:v>
                  </c:pt>
                  <c:pt idx="70">
                    <c:v>Rolling Mean (30 Minute)</c:v>
                  </c:pt>
                  <c:pt idx="71">
                    <c:v>Rolling Mean (30 Minute)</c:v>
                  </c:pt>
                  <c:pt idx="72">
                    <c:v>Rolling Mean (30 Minute)</c:v>
                  </c:pt>
                  <c:pt idx="73">
                    <c:v>Rolling Mean (30 Minute)</c:v>
                  </c:pt>
                  <c:pt idx="74">
                    <c:v>Rolling Mean (30 Minute)</c:v>
                  </c:pt>
                  <c:pt idx="75">
                    <c:v>Rolling Mean (30 Minute)</c:v>
                  </c:pt>
                  <c:pt idx="76">
                    <c:v>Rolling Mean (30 Minute)</c:v>
                  </c:pt>
                  <c:pt idx="77">
                    <c:v>Rolling Mean (30 Minute)</c:v>
                  </c:pt>
                  <c:pt idx="78">
                    <c:v>Rolling Mean (30 Minute)</c:v>
                  </c:pt>
                  <c:pt idx="79">
                    <c:v>Rolling Mean (30 Minute)</c:v>
                  </c:pt>
                  <c:pt idx="80">
                    <c:v>Rolling Mean (30 Minute)</c:v>
                  </c:pt>
                  <c:pt idx="81">
                    <c:v>Rolling Mean (30 Minute)</c:v>
                  </c:pt>
                  <c:pt idx="82">
                    <c:v>Rolling Mean (30 Minute)</c:v>
                  </c:pt>
                  <c:pt idx="83">
                    <c:v>Rolling Mean (30 Minute)</c:v>
                  </c:pt>
                  <c:pt idx="84">
                    <c:v>Rolling Mean (30 Minute)</c:v>
                  </c:pt>
                  <c:pt idx="85">
                    <c:v>Rolling Mean (30 Minute)</c:v>
                  </c:pt>
                  <c:pt idx="86">
                    <c:v>Rolling Mean (30 Minute)</c:v>
                  </c:pt>
                  <c:pt idx="87">
                    <c:v>Rolling Mean (30 Minute)</c:v>
                  </c:pt>
                  <c:pt idx="88">
                    <c:v>Rolling Mean (30 Minute)</c:v>
                  </c:pt>
                  <c:pt idx="89">
                    <c:v>Rolling Mean (30 Minute)</c:v>
                  </c:pt>
                  <c:pt idx="90">
                    <c:v>Rolling Mean (30 Minute)</c:v>
                  </c:pt>
                  <c:pt idx="91">
                    <c:v>Rolling Mean (30 Minute)</c:v>
                  </c:pt>
                  <c:pt idx="92">
                    <c:v>Rolling Mean (30 Minute)</c:v>
                  </c:pt>
                  <c:pt idx="93">
                    <c:v>Rolling Mean (30 Minute)</c:v>
                  </c:pt>
                  <c:pt idx="94">
                    <c:v>Rolling Mean (30 Minute)</c:v>
                  </c:pt>
                  <c:pt idx="95">
                    <c:v>Rolling Mean (30 Minute)</c:v>
                  </c:pt>
                  <c:pt idx="96">
                    <c:v>Rolling Mean (30 Minute)</c:v>
                  </c:pt>
                  <c:pt idx="97">
                    <c:v>Rolling Mean (30 Minute)</c:v>
                  </c:pt>
                  <c:pt idx="98">
                    <c:v>Rolling Mean (30 Minute)</c:v>
                  </c:pt>
                  <c:pt idx="99">
                    <c:v>Rolling Mean (30 Minute)</c:v>
                  </c:pt>
                  <c:pt idx="100">
                    <c:v>Rolling Mean (30 Minute)</c:v>
                  </c:pt>
                  <c:pt idx="101">
                    <c:v>Rolling Mean (30 Minute)</c:v>
                  </c:pt>
                  <c:pt idx="102">
                    <c:v>Rolling Mean (30 Minute)</c:v>
                  </c:pt>
                  <c:pt idx="103">
                    <c:v>Rolling Mean (30 Minute)</c:v>
                  </c:pt>
                  <c:pt idx="104">
                    <c:v>Rolling Mean (30 Minute)</c:v>
                  </c:pt>
                  <c:pt idx="105">
                    <c:v>Rolling Mean (30 Minute)</c:v>
                  </c:pt>
                  <c:pt idx="106">
                    <c:v>Rolling Mean (30 Minute)</c:v>
                  </c:pt>
                  <c:pt idx="107">
                    <c:v>Rolling Mean (30 Minute)</c:v>
                  </c:pt>
                  <c:pt idx="108">
                    <c:v>Rolling Mean (30 Minute)</c:v>
                  </c:pt>
                  <c:pt idx="109">
                    <c:v>Rolling Mean (30 Minute)</c:v>
                  </c:pt>
                  <c:pt idx="110">
                    <c:v>Rolling Mean (30 Minute)</c:v>
                  </c:pt>
                  <c:pt idx="111">
                    <c:v>Rolling Mean (30 Minute)</c:v>
                  </c:pt>
                  <c:pt idx="112">
                    <c:v>Rolling Mean (30 Minute)</c:v>
                  </c:pt>
                  <c:pt idx="113">
                    <c:v>Rolling Mean (30 Minute)</c:v>
                  </c:pt>
                  <c:pt idx="114">
                    <c:v>Rolling Mean (30 Minute)</c:v>
                  </c:pt>
                  <c:pt idx="115">
                    <c:v>Rolling Mean (30 Minute)</c:v>
                  </c:pt>
                  <c:pt idx="116">
                    <c:v>Rolling Mean (30 Minute)</c:v>
                  </c:pt>
                  <c:pt idx="117">
                    <c:v>Rolling Mean (30 Minute)</c:v>
                  </c:pt>
                  <c:pt idx="118">
                    <c:v>Rolling Mean (30 Minute)</c:v>
                  </c:pt>
                  <c:pt idx="119">
                    <c:v>Rolling Mean (30 Minute)</c:v>
                  </c:pt>
                  <c:pt idx="120">
                    <c:v>Rolling Mean (30 Minute)</c:v>
                  </c:pt>
                  <c:pt idx="121">
                    <c:v>Rolling Mean (30 Minute)</c:v>
                  </c:pt>
                  <c:pt idx="122">
                    <c:v>Rolling Mean (30 Minute)</c:v>
                  </c:pt>
                  <c:pt idx="123">
                    <c:v>Rolling Mean (30 Minute)</c:v>
                  </c:pt>
                  <c:pt idx="124">
                    <c:v>Rolling Mean (30 Minute)</c:v>
                  </c:pt>
                  <c:pt idx="125">
                    <c:v>Rolling Mean (30 Minute)</c:v>
                  </c:pt>
                  <c:pt idx="126">
                    <c:v>Rolling Mean (30 Minute)</c:v>
                  </c:pt>
                  <c:pt idx="127">
                    <c:v>Rolling Mean (30 Minute)</c:v>
                  </c:pt>
                  <c:pt idx="128">
                    <c:v>Rolling Mean (30 Minute)</c:v>
                  </c:pt>
                  <c:pt idx="129">
                    <c:v>Rolling Mean (30 Minute)</c:v>
                  </c:pt>
                  <c:pt idx="130">
                    <c:v>Rolling Mean (30 Minute)</c:v>
                  </c:pt>
                  <c:pt idx="131">
                    <c:v>Rolling Mean (30 Minute)</c:v>
                  </c:pt>
                  <c:pt idx="132">
                    <c:v>Rolling Mean (30 Minute)</c:v>
                  </c:pt>
                  <c:pt idx="133">
                    <c:v>Rolling Mean (30 Minute)</c:v>
                  </c:pt>
                  <c:pt idx="134">
                    <c:v>Rolling Mean (30 Minute)</c:v>
                  </c:pt>
                  <c:pt idx="135">
                    <c:v>Rolling Mean (30 Minute)</c:v>
                  </c:pt>
                  <c:pt idx="136">
                    <c:v>Rolling Mean (30 Minute)</c:v>
                  </c:pt>
                  <c:pt idx="137">
                    <c:v>Rolling Mean (30 Minute)</c:v>
                  </c:pt>
                  <c:pt idx="138">
                    <c:v>Rolling Mean (30 Minute)</c:v>
                  </c:pt>
                  <c:pt idx="139">
                    <c:v>Rolling Mean (30 Minute)</c:v>
                  </c:pt>
                  <c:pt idx="140">
                    <c:v>Rolling Mean (30 Minute)</c:v>
                  </c:pt>
                  <c:pt idx="141">
                    <c:v>Rolling Mean (30 Minute)</c:v>
                  </c:pt>
                  <c:pt idx="142">
                    <c:v>Rolling Mean (30 Minute)</c:v>
                  </c:pt>
                  <c:pt idx="143">
                    <c:v>Rolling Mean (30 Minute)</c:v>
                  </c:pt>
                  <c:pt idx="144">
                    <c:v>Rolling Mean (30 Minute)</c:v>
                  </c:pt>
                  <c:pt idx="145">
                    <c:v>Rolling Mean (30 Minute)</c:v>
                  </c:pt>
                  <c:pt idx="146">
                    <c:v>Rolling Mean (30 Minute)</c:v>
                  </c:pt>
                  <c:pt idx="147">
                    <c:v>Rolling Mean (30 Minute)</c:v>
                  </c:pt>
                  <c:pt idx="148">
                    <c:v>Rolling Mean (30 Minute)</c:v>
                  </c:pt>
                  <c:pt idx="149">
                    <c:v>Rolling Mean (30 Minute)</c:v>
                  </c:pt>
                  <c:pt idx="150">
                    <c:v>Rolling Mean (30 Minute)</c:v>
                  </c:pt>
                  <c:pt idx="151">
                    <c:v>Rolling Mean (30 Minute)</c:v>
                  </c:pt>
                  <c:pt idx="152">
                    <c:v>Rolling Mean (30 Minute)</c:v>
                  </c:pt>
                  <c:pt idx="153">
                    <c:v>Rolling Mean (30 Minute)</c:v>
                  </c:pt>
                  <c:pt idx="154">
                    <c:v>Rolling Mean (30 Minute)</c:v>
                  </c:pt>
                  <c:pt idx="155">
                    <c:v>Rolling Mean (30 Minute)</c:v>
                  </c:pt>
                  <c:pt idx="156">
                    <c:v>Rolling Mean (30 Minute)</c:v>
                  </c:pt>
                  <c:pt idx="157">
                    <c:v>Rolling Mean (30 Minute)</c:v>
                  </c:pt>
                  <c:pt idx="158">
                    <c:v>Rolling Mean (30 Minute)</c:v>
                  </c:pt>
                  <c:pt idx="159">
                    <c:v>Rolling Mean (30 Minute)</c:v>
                  </c:pt>
                  <c:pt idx="160">
                    <c:v>Rolling Mean (30 Minute)</c:v>
                  </c:pt>
                  <c:pt idx="161">
                    <c:v>Rolling Mean (30 Minute)</c:v>
                  </c:pt>
                  <c:pt idx="162">
                    <c:v>Rolling Mean (30 Minute)</c:v>
                  </c:pt>
                  <c:pt idx="163">
                    <c:v>Rolling Mean (30 Minute)</c:v>
                  </c:pt>
                  <c:pt idx="164">
                    <c:v>Rolling Mean (30 Minute)</c:v>
                  </c:pt>
                  <c:pt idx="165">
                    <c:v>Rolling Mean (30 Minute)</c:v>
                  </c:pt>
                  <c:pt idx="166">
                    <c:v>Rolling Mean (30 Minute)</c:v>
                  </c:pt>
                  <c:pt idx="167">
                    <c:v>Rolling Mean (30 Minute)</c:v>
                  </c:pt>
                  <c:pt idx="168">
                    <c:v>Rolling Mean (30 Minute)</c:v>
                  </c:pt>
                  <c:pt idx="169">
                    <c:v>Rolling Mean (30 Minute)</c:v>
                  </c:pt>
                  <c:pt idx="170">
                    <c:v>Rolling Mean (30 Minute)</c:v>
                  </c:pt>
                  <c:pt idx="171">
                    <c:v>Rolling Mean (30 Minute)</c:v>
                  </c:pt>
                  <c:pt idx="172">
                    <c:v>Rolling Mean (30 Minute)</c:v>
                  </c:pt>
                  <c:pt idx="173">
                    <c:v>Rolling Mean (30 Minute)</c:v>
                  </c:pt>
                  <c:pt idx="174">
                    <c:v>Rolling Mean (30 Minute)</c:v>
                  </c:pt>
                  <c:pt idx="175">
                    <c:v>Rolling Mean (30 Minute)</c:v>
                  </c:pt>
                  <c:pt idx="176">
                    <c:v>Rolling Mean (30 Minute)</c:v>
                  </c:pt>
                  <c:pt idx="177">
                    <c:v>Rolling Mean (30 Minute)</c:v>
                  </c:pt>
                  <c:pt idx="178">
                    <c:v>Rolling Mean (30 Minute)</c:v>
                  </c:pt>
                  <c:pt idx="179">
                    <c:v>Rolling Mean (30 Minute)</c:v>
                  </c:pt>
                  <c:pt idx="180">
                    <c:v>Rolling Mean (30 Minute)</c:v>
                  </c:pt>
                  <c:pt idx="181">
                    <c:v>Rolling Mean (30 Minute)</c:v>
                  </c:pt>
                  <c:pt idx="182">
                    <c:v>Rolling Mean (30 Minute)</c:v>
                  </c:pt>
                  <c:pt idx="183">
                    <c:v>Rolling Mean (30 Minute)</c:v>
                  </c:pt>
                  <c:pt idx="184">
                    <c:v>Rolling Mean (30 Minute)</c:v>
                  </c:pt>
                  <c:pt idx="185">
                    <c:v>Rolling Mean (30 Minute)</c:v>
                  </c:pt>
                  <c:pt idx="186">
                    <c:v>Rolling Mean (30 Minute)</c:v>
                  </c:pt>
                  <c:pt idx="187">
                    <c:v>Rolling Mean (30 Minute)</c:v>
                  </c:pt>
                  <c:pt idx="188">
                    <c:v>Rolling Mean (30 Minute)</c:v>
                  </c:pt>
                  <c:pt idx="189">
                    <c:v>Rolling Mean (30 Minute)</c:v>
                  </c:pt>
                  <c:pt idx="190">
                    <c:v>Rolling Mean (30 Minute)</c:v>
                  </c:pt>
                  <c:pt idx="191">
                    <c:v>Rolling Mean (30 Minute)</c:v>
                  </c:pt>
                  <c:pt idx="192">
                    <c:v>Rolling Mean (30 Minute)</c:v>
                  </c:pt>
                  <c:pt idx="193">
                    <c:v>Rolling Mean (30 Minute)</c:v>
                  </c:pt>
                  <c:pt idx="194">
                    <c:v>Rolling Mean (30 Minute)</c:v>
                  </c:pt>
                  <c:pt idx="195">
                    <c:v>Rolling Mean (30 Minute)</c:v>
                  </c:pt>
                  <c:pt idx="196">
                    <c:v>Rolling Mean (30 Minute)</c:v>
                  </c:pt>
                  <c:pt idx="197">
                    <c:v>Rolling Mean (30 Minute)</c:v>
                  </c:pt>
                  <c:pt idx="198">
                    <c:v>Rolling Mean (30 Minute)</c:v>
                  </c:pt>
                  <c:pt idx="199">
                    <c:v>Rolling Mean (30 Minute)</c:v>
                  </c:pt>
                  <c:pt idx="200">
                    <c:v>Rolling Mean (30 Minute)</c:v>
                  </c:pt>
                  <c:pt idx="201">
                    <c:v>Rolling Mean (30 Minute)</c:v>
                  </c:pt>
                  <c:pt idx="202">
                    <c:v>Rolling Mean (30 Minute)</c:v>
                  </c:pt>
                  <c:pt idx="203">
                    <c:v>Rolling Mean (30 Minute)</c:v>
                  </c:pt>
                  <c:pt idx="204">
                    <c:v>Rolling Mean (30 Minute)</c:v>
                  </c:pt>
                  <c:pt idx="205">
                    <c:v>Rolling Mean (30 Minute)</c:v>
                  </c:pt>
                  <c:pt idx="206">
                    <c:v>Rolling Mean (30 Minute)</c:v>
                  </c:pt>
                  <c:pt idx="207">
                    <c:v>Rolling Mean (30 Minute)</c:v>
                  </c:pt>
                  <c:pt idx="208">
                    <c:v>Rolling Mean (30 Minute)</c:v>
                  </c:pt>
                  <c:pt idx="209">
                    <c:v>Rolling Mean (30 Minute)</c:v>
                  </c:pt>
                  <c:pt idx="210">
                    <c:v>Rolling Mean (30 Minute)</c:v>
                  </c:pt>
                  <c:pt idx="211">
                    <c:v>Rolling Mean (30 Minute)</c:v>
                  </c:pt>
                  <c:pt idx="212">
                    <c:v>Rolling Mean (30 Minute)</c:v>
                  </c:pt>
                  <c:pt idx="213">
                    <c:v>Rolling Mean (30 Minute)</c:v>
                  </c:pt>
                  <c:pt idx="214">
                    <c:v>Rolling Mean (30 Minute)</c:v>
                  </c:pt>
                  <c:pt idx="215">
                    <c:v>Rolling Mean (30 Minute)</c:v>
                  </c:pt>
                  <c:pt idx="216">
                    <c:v>Rolling Mean (30 Minute)</c:v>
                  </c:pt>
                  <c:pt idx="217">
                    <c:v>Rolling Mean (30 Minute)</c:v>
                  </c:pt>
                  <c:pt idx="218">
                    <c:v>Rolling Mean (30 Minute)</c:v>
                  </c:pt>
                  <c:pt idx="219">
                    <c:v>Rolling Mean (30 Minute)</c:v>
                  </c:pt>
                  <c:pt idx="220">
                    <c:v>Rolling Mean (30 Minute)</c:v>
                  </c:pt>
                  <c:pt idx="221">
                    <c:v>Rolling Mean (30 Minute)</c:v>
                  </c:pt>
                  <c:pt idx="222">
                    <c:v>Rolling Mean (30 Minute)</c:v>
                  </c:pt>
                  <c:pt idx="223">
                    <c:v>Rolling Mean (30 Minute)</c:v>
                  </c:pt>
                  <c:pt idx="224">
                    <c:v>Rolling Mean (30 Minute)</c:v>
                  </c:pt>
                  <c:pt idx="225">
                    <c:v>Rolling Mean (30 Minute)</c:v>
                  </c:pt>
                  <c:pt idx="226">
                    <c:v>Rolling Mean (30 Minute)</c:v>
                  </c:pt>
                  <c:pt idx="227">
                    <c:v>Rolling Mean (30 Minute)</c:v>
                  </c:pt>
                  <c:pt idx="228">
                    <c:v>Rolling Mean (30 Minute)</c:v>
                  </c:pt>
                  <c:pt idx="229">
                    <c:v>Rolling Mean (30 Minute)</c:v>
                  </c:pt>
                  <c:pt idx="230">
                    <c:v>Rolling Mean (30 Minute)</c:v>
                  </c:pt>
                  <c:pt idx="231">
                    <c:v>Rolling Mean (30 Minute)</c:v>
                  </c:pt>
                  <c:pt idx="232">
                    <c:v>Rolling Mean (30 Minute)</c:v>
                  </c:pt>
                  <c:pt idx="233">
                    <c:v>Rolling Mean (30 Minute)</c:v>
                  </c:pt>
                  <c:pt idx="234">
                    <c:v>Rolling Mean (30 Minute)</c:v>
                  </c:pt>
                  <c:pt idx="235">
                    <c:v>Rolling Mean (30 Minute)</c:v>
                  </c:pt>
                  <c:pt idx="236">
                    <c:v>Rolling Mean (30 Minute)</c:v>
                  </c:pt>
                  <c:pt idx="237">
                    <c:v>Rolling Mean (30 Minute)</c:v>
                  </c:pt>
                  <c:pt idx="238">
                    <c:v>Rolling Mean (30 Minute)</c:v>
                  </c:pt>
                  <c:pt idx="239">
                    <c:v>Rolling Mean (30 Minute)</c:v>
                  </c:pt>
                  <c:pt idx="240">
                    <c:v>Rolling Mean (30 Minute)</c:v>
                  </c:pt>
                  <c:pt idx="241">
                    <c:v>Rolling Mean (30 Minute)</c:v>
                  </c:pt>
                  <c:pt idx="242">
                    <c:v>Rolling Mean (30 Minute)</c:v>
                  </c:pt>
                  <c:pt idx="243">
                    <c:v>Rolling Mean (30 Minute)</c:v>
                  </c:pt>
                  <c:pt idx="244">
                    <c:v>Rolling Mean (30 Minute)</c:v>
                  </c:pt>
                  <c:pt idx="245">
                    <c:v>Rolling Mean (30 Minute)</c:v>
                  </c:pt>
                  <c:pt idx="246">
                    <c:v>Rolling Mean (30 Minute)</c:v>
                  </c:pt>
                  <c:pt idx="247">
                    <c:v>Rolling Mean (30 Minute)</c:v>
                  </c:pt>
                  <c:pt idx="248">
                    <c:v>Rolling Mean (30 Minute)</c:v>
                  </c:pt>
                  <c:pt idx="249">
                    <c:v>Rolling Mean (30 Minute)</c:v>
                  </c:pt>
                  <c:pt idx="250">
                    <c:v>Rolling Mean (30 Minute)</c:v>
                  </c:pt>
                  <c:pt idx="251">
                    <c:v>Rolling Mean (30 Minute)</c:v>
                  </c:pt>
                  <c:pt idx="252">
                    <c:v>Rolling Mean (30 Minute)</c:v>
                  </c:pt>
                  <c:pt idx="253">
                    <c:v>Rolling Mean (30 Minute)</c:v>
                  </c:pt>
                  <c:pt idx="254">
                    <c:v>Rolling Mean (30 Minute)</c:v>
                  </c:pt>
                  <c:pt idx="255">
                    <c:v>Rolling Mean (30 Minute)</c:v>
                  </c:pt>
                  <c:pt idx="256">
                    <c:v>Rolling Mean (30 Minute)</c:v>
                  </c:pt>
                  <c:pt idx="257">
                    <c:v>Rolling Mean (30 Minute)</c:v>
                  </c:pt>
                  <c:pt idx="258">
                    <c:v>Rolling Mean (30 Minute)</c:v>
                  </c:pt>
                  <c:pt idx="259">
                    <c:v>Rolling Mean (30 Minute)</c:v>
                  </c:pt>
                  <c:pt idx="260">
                    <c:v>Rolling Mean (30 Minute)</c:v>
                  </c:pt>
                  <c:pt idx="261">
                    <c:v>Rolling Mean (30 Minute)</c:v>
                  </c:pt>
                  <c:pt idx="262">
                    <c:v>Rolling Mean (30 Minute)</c:v>
                  </c:pt>
                  <c:pt idx="263">
                    <c:v>Rolling Mean (30 Minute)</c:v>
                  </c:pt>
                  <c:pt idx="264">
                    <c:v>Rolling Mean (30 Minute)</c:v>
                  </c:pt>
                  <c:pt idx="265">
                    <c:v>Rolling Mean (30 Minute)</c:v>
                  </c:pt>
                  <c:pt idx="266">
                    <c:v>Rolling Mean (30 Minute)</c:v>
                  </c:pt>
                  <c:pt idx="267">
                    <c:v>Rolling Mean (30 Minute)</c:v>
                  </c:pt>
                  <c:pt idx="268">
                    <c:v>Rolling Mean (30 Minute)</c:v>
                  </c:pt>
                  <c:pt idx="269">
                    <c:v>Rolling Mean (30 Minute)</c:v>
                  </c:pt>
                  <c:pt idx="270">
                    <c:v>Rolling Mean (30 Minute)</c:v>
                  </c:pt>
                  <c:pt idx="271">
                    <c:v>Rolling Mean (30 Minute)</c:v>
                  </c:pt>
                  <c:pt idx="272">
                    <c:v>Rolling Mean (30 Minute)</c:v>
                  </c:pt>
                  <c:pt idx="273">
                    <c:v>Rolling Mean (30 Minute)</c:v>
                  </c:pt>
                  <c:pt idx="274">
                    <c:v>Rolling Mean (30 Minute)</c:v>
                  </c:pt>
                  <c:pt idx="275">
                    <c:v>Rolling Mean (30 Minute)</c:v>
                  </c:pt>
                  <c:pt idx="276">
                    <c:v>Rolling Mean (30 Minute)</c:v>
                  </c:pt>
                  <c:pt idx="277">
                    <c:v>Rolling Mean (30 Minute)</c:v>
                  </c:pt>
                  <c:pt idx="278">
                    <c:v>Rolling Mean (30 Minute)</c:v>
                  </c:pt>
                  <c:pt idx="279">
                    <c:v>Rolling Mean (30 Minute)</c:v>
                  </c:pt>
                  <c:pt idx="280">
                    <c:v>Rolling Mean (30 Minute)</c:v>
                  </c:pt>
                  <c:pt idx="281">
                    <c:v>Rolling Mean (30 Minute)</c:v>
                  </c:pt>
                  <c:pt idx="282">
                    <c:v>Rolling Mean (30 Minute)</c:v>
                  </c:pt>
                  <c:pt idx="283">
                    <c:v>Rolling Mean (30 Minute)</c:v>
                  </c:pt>
                  <c:pt idx="284">
                    <c:v>Rolling Mean (30 Minute)</c:v>
                  </c:pt>
                  <c:pt idx="285">
                    <c:v>Rolling Mean (30 Minute)</c:v>
                  </c:pt>
                  <c:pt idx="286">
                    <c:v>Rolling Mean (30 Minute)</c:v>
                  </c:pt>
                  <c:pt idx="287">
                    <c:v>Rolling Mean (30 Minute)</c:v>
                  </c:pt>
                  <c:pt idx="288">
                    <c:v>Rolling Mean (30 Minute)</c:v>
                  </c:pt>
                  <c:pt idx="289">
                    <c:v>Rolling Mean (30 Minute)</c:v>
                  </c:pt>
                  <c:pt idx="290">
                    <c:v>Rolling Mean (30 Minute)</c:v>
                  </c:pt>
                  <c:pt idx="291">
                    <c:v>Rolling Mean (30 Minute)</c:v>
                  </c:pt>
                  <c:pt idx="292">
                    <c:v>Rolling Mean (30 Minute)</c:v>
                  </c:pt>
                  <c:pt idx="293">
                    <c:v>Rolling Mean (30 Minute)</c:v>
                  </c:pt>
                  <c:pt idx="294">
                    <c:v>Rolling Mean (30 Minute)</c:v>
                  </c:pt>
                  <c:pt idx="295">
                    <c:v>Rolling Mean (30 Minute)</c:v>
                  </c:pt>
                  <c:pt idx="296">
                    <c:v>Rolling Mean (30 Minute)</c:v>
                  </c:pt>
                  <c:pt idx="297">
                    <c:v>Rolling Mean (30 Minute)</c:v>
                  </c:pt>
                  <c:pt idx="298">
                    <c:v>Rolling Mean (30 Minute)</c:v>
                  </c:pt>
                  <c:pt idx="299">
                    <c:v>Rolling Mean (30 Minute)</c:v>
                  </c:pt>
                  <c:pt idx="300">
                    <c:v>Rolling Mean (30 Minute)</c:v>
                  </c:pt>
                  <c:pt idx="301">
                    <c:v>Rolling Mean (30 Minute)</c:v>
                  </c:pt>
                  <c:pt idx="302">
                    <c:v>Rolling Mean (30 Minute)</c:v>
                  </c:pt>
                  <c:pt idx="303">
                    <c:v>Rolling Mean (30 Minute)</c:v>
                  </c:pt>
                  <c:pt idx="304">
                    <c:v>Rolling Mean (30 Minute)</c:v>
                  </c:pt>
                  <c:pt idx="305">
                    <c:v>Rolling Mean (30 Minute)</c:v>
                  </c:pt>
                  <c:pt idx="306">
                    <c:v>Rolling Mean (30 Minute)</c:v>
                  </c:pt>
                  <c:pt idx="307">
                    <c:v>Rolling Mean (30 Minute)</c:v>
                  </c:pt>
                  <c:pt idx="308">
                    <c:v>Rolling Mean (30 Minute)</c:v>
                  </c:pt>
                  <c:pt idx="309">
                    <c:v>Rolling Mean (30 Minute)</c:v>
                  </c:pt>
                  <c:pt idx="310">
                    <c:v>Rolling Mean (30 Minute)</c:v>
                  </c:pt>
                  <c:pt idx="311">
                    <c:v>Rolling Mean (30 Minute)</c:v>
                  </c:pt>
                  <c:pt idx="312">
                    <c:v>Rolling Mean (30 Minute)</c:v>
                  </c:pt>
                  <c:pt idx="313">
                    <c:v>Rolling Mean (30 Minute)</c:v>
                  </c:pt>
                  <c:pt idx="314">
                    <c:v>Rolling Mean (30 Minute)</c:v>
                  </c:pt>
                  <c:pt idx="315">
                    <c:v>Rolling Mean (30 Minute)</c:v>
                  </c:pt>
                  <c:pt idx="316">
                    <c:v>Rolling Mean (30 Minute)</c:v>
                  </c:pt>
                  <c:pt idx="317">
                    <c:v>Rolling Mean (30 Minute)</c:v>
                  </c:pt>
                  <c:pt idx="318">
                    <c:v>Rolling Mean (30 Minute)</c:v>
                  </c:pt>
                  <c:pt idx="319">
                    <c:v>Rolling Mean (30 Minute)</c:v>
                  </c:pt>
                  <c:pt idx="320">
                    <c:v>Rolling Mean (30 Minute)</c:v>
                  </c:pt>
                  <c:pt idx="321">
                    <c:v>Rolling Mean (30 Minute)</c:v>
                  </c:pt>
                  <c:pt idx="322">
                    <c:v>Rolling Mean (30 Minute)</c:v>
                  </c:pt>
                  <c:pt idx="323">
                    <c:v>Rolling Mean (30 Minute)</c:v>
                  </c:pt>
                  <c:pt idx="324">
                    <c:v>Rolling Mean (30 Minute)</c:v>
                  </c:pt>
                  <c:pt idx="325">
                    <c:v>Rolling Mean (30 Minute)</c:v>
                  </c:pt>
                  <c:pt idx="326">
                    <c:v>Rolling Mean (30 Minute)</c:v>
                  </c:pt>
                  <c:pt idx="327">
                    <c:v>Rolling Mean (30 Minute)</c:v>
                  </c:pt>
                  <c:pt idx="328">
                    <c:v>Rolling Mean (30 Minute)</c:v>
                  </c:pt>
                  <c:pt idx="329">
                    <c:v>Rolling Mean (30 Minute)</c:v>
                  </c:pt>
                  <c:pt idx="330">
                    <c:v>Rolling Mean (30 Minute)</c:v>
                  </c:pt>
                  <c:pt idx="331">
                    <c:v>Rolling Mean (30 Minute)</c:v>
                  </c:pt>
                  <c:pt idx="332">
                    <c:v>Rolling Mean (30 Minute)</c:v>
                  </c:pt>
                  <c:pt idx="333">
                    <c:v>Rolling Mean (30 Minute)</c:v>
                  </c:pt>
                  <c:pt idx="334">
                    <c:v>Rolling Mean (30 Minute)</c:v>
                  </c:pt>
                  <c:pt idx="335">
                    <c:v>Rolling Mean (30 Minute)</c:v>
                  </c:pt>
                  <c:pt idx="336">
                    <c:v>Rolling Mean (30 Minute)</c:v>
                  </c:pt>
                  <c:pt idx="337">
                    <c:v>Rolling Mean (30 Minute)</c:v>
                  </c:pt>
                  <c:pt idx="338">
                    <c:v>Rolling Mean (30 Minute)</c:v>
                  </c:pt>
                  <c:pt idx="339">
                    <c:v>Rolling Mean (30 Minute)</c:v>
                  </c:pt>
                  <c:pt idx="340">
                    <c:v>Rolling Mean (30 Minute)</c:v>
                  </c:pt>
                  <c:pt idx="341">
                    <c:v>Rolling Mean (30 Minute)</c:v>
                  </c:pt>
                  <c:pt idx="342">
                    <c:v>Rolling Mean (30 Minute)</c:v>
                  </c:pt>
                  <c:pt idx="343">
                    <c:v>Rolling Mean (30 Minute)</c:v>
                  </c:pt>
                  <c:pt idx="344">
                    <c:v>Rolling Mean (30 Minute)</c:v>
                  </c:pt>
                  <c:pt idx="345">
                    <c:v>Rolling Mean (30 Minute)</c:v>
                  </c:pt>
                  <c:pt idx="346">
                    <c:v>Rolling Mean (30 Minute)</c:v>
                  </c:pt>
                  <c:pt idx="347">
                    <c:v>Rolling Mean (30 Minute)</c:v>
                  </c:pt>
                  <c:pt idx="348">
                    <c:v>Rolling Mean (30 Minute)</c:v>
                  </c:pt>
                  <c:pt idx="349">
                    <c:v>Rolling Mean (30 Minute)</c:v>
                  </c:pt>
                  <c:pt idx="350">
                    <c:v>Rolling Mean (30 Minute)</c:v>
                  </c:pt>
                  <c:pt idx="351">
                    <c:v>Rolling Mean (30 Minute)</c:v>
                  </c:pt>
                  <c:pt idx="352">
                    <c:v>Rolling Mean (30 Minute)</c:v>
                  </c:pt>
                  <c:pt idx="353">
                    <c:v>Rolling Mean (30 Minute)</c:v>
                  </c:pt>
                  <c:pt idx="354">
                    <c:v>Rolling Mean (30 Minute)</c:v>
                  </c:pt>
                  <c:pt idx="355">
                    <c:v>Rolling Mean (30 Minute)</c:v>
                  </c:pt>
                  <c:pt idx="356">
                    <c:v>Rolling Mean (30 Minute)</c:v>
                  </c:pt>
                  <c:pt idx="357">
                    <c:v>Rolling Mean (30 Minute)</c:v>
                  </c:pt>
                  <c:pt idx="358">
                    <c:v>Rolling Mean (30 Minute)</c:v>
                  </c:pt>
                  <c:pt idx="359">
                    <c:v>Rolling Mean (30 Minute)</c:v>
                  </c:pt>
                  <c:pt idx="360">
                    <c:v>Rolling Mean (30 Minute)</c:v>
                  </c:pt>
                  <c:pt idx="361">
                    <c:v>Rolling Mean (30 Minute)</c:v>
                  </c:pt>
                  <c:pt idx="362">
                    <c:v>Rolling Mean (30 Minute)</c:v>
                  </c:pt>
                  <c:pt idx="363">
                    <c:v>Rolling Mean (30 Minute)</c:v>
                  </c:pt>
                  <c:pt idx="364">
                    <c:v>Rolling Mean (30 Minute)</c:v>
                  </c:pt>
                  <c:pt idx="365">
                    <c:v>Rolling Mean (30 Minute)</c:v>
                  </c:pt>
                  <c:pt idx="366">
                    <c:v>Rolling Mean (30 Minute)</c:v>
                  </c:pt>
                  <c:pt idx="367">
                    <c:v>Rolling Mean (30 Minute)</c:v>
                  </c:pt>
                  <c:pt idx="368">
                    <c:v>Rolling Mean (30 Minute)</c:v>
                  </c:pt>
                  <c:pt idx="369">
                    <c:v>Rolling Mean (30 Minute)</c:v>
                  </c:pt>
                  <c:pt idx="370">
                    <c:v>Rolling Mean (30 Minute)</c:v>
                  </c:pt>
                  <c:pt idx="371">
                    <c:v>Rolling Mean (30 Minute)</c:v>
                  </c:pt>
                  <c:pt idx="372">
                    <c:v>Rolling Mean (30 Minute)</c:v>
                  </c:pt>
                  <c:pt idx="373">
                    <c:v>Rolling Mean (30 Minute)</c:v>
                  </c:pt>
                  <c:pt idx="374">
                    <c:v>Rolling Mean (30 Minute)</c:v>
                  </c:pt>
                  <c:pt idx="375">
                    <c:v>Rolling Mean (30 Minute)</c:v>
                  </c:pt>
                  <c:pt idx="376">
                    <c:v>Rolling Mean (30 Minute)</c:v>
                  </c:pt>
                  <c:pt idx="377">
                    <c:v>Rolling Mean (30 Minute)</c:v>
                  </c:pt>
                  <c:pt idx="378">
                    <c:v>Rolling Mean (30 Minute)</c:v>
                  </c:pt>
                  <c:pt idx="379">
                    <c:v>Rolling Mean (30 Minute)</c:v>
                  </c:pt>
                  <c:pt idx="380">
                    <c:v>Rolling Mean (30 Minute)</c:v>
                  </c:pt>
                  <c:pt idx="381">
                    <c:v>Rolling Mean (30 Minute)</c:v>
                  </c:pt>
                  <c:pt idx="382">
                    <c:v>Rolling Mean (30 Minute)</c:v>
                  </c:pt>
                  <c:pt idx="383">
                    <c:v>Rolling Mean (30 Minute)</c:v>
                  </c:pt>
                  <c:pt idx="384">
                    <c:v>Rolling Mean (30 Minute)</c:v>
                  </c:pt>
                  <c:pt idx="385">
                    <c:v>Rolling Mean (30 Minute)</c:v>
                  </c:pt>
                  <c:pt idx="386">
                    <c:v>Rolling Mean (30 Minute)</c:v>
                  </c:pt>
                  <c:pt idx="387">
                    <c:v>Rolling Mean (30 Minute)</c:v>
                  </c:pt>
                  <c:pt idx="388">
                    <c:v>Rolling Mean (30 Minute)</c:v>
                  </c:pt>
                  <c:pt idx="389">
                    <c:v>Rolling Mean (30 Minute)</c:v>
                  </c:pt>
                  <c:pt idx="390">
                    <c:v>Rolling Mean (30 Minute)</c:v>
                  </c:pt>
                  <c:pt idx="391">
                    <c:v>Rolling Mean (30 Minute)</c:v>
                  </c:pt>
                  <c:pt idx="392">
                    <c:v>Rolling Mean (30 Minute)</c:v>
                  </c:pt>
                  <c:pt idx="393">
                    <c:v>Rolling Mean (30 Minute)</c:v>
                  </c:pt>
                  <c:pt idx="394">
                    <c:v>Rolling Mean (30 Minute)</c:v>
                  </c:pt>
                  <c:pt idx="395">
                    <c:v>Rolling Mean (30 Minute)</c:v>
                  </c:pt>
                  <c:pt idx="396">
                    <c:v>Rolling Mean (30 Minute)</c:v>
                  </c:pt>
                  <c:pt idx="397">
                    <c:v>Rolling Mean (30 Minute)</c:v>
                  </c:pt>
                  <c:pt idx="398">
                    <c:v>Rolling Mean (30 Minute)</c:v>
                  </c:pt>
                  <c:pt idx="399">
                    <c:v>Rolling Mean (30 Minute)</c:v>
                  </c:pt>
                  <c:pt idx="400">
                    <c:v>Rolling Mean (30 Minute)</c:v>
                  </c:pt>
                  <c:pt idx="401">
                    <c:v>Rolling Mean (30 Minute)</c:v>
                  </c:pt>
                  <c:pt idx="402">
                    <c:v>Rolling Mean (30 Minute)</c:v>
                  </c:pt>
                  <c:pt idx="403">
                    <c:v>Rolling Mean (30 Minute)</c:v>
                  </c:pt>
                  <c:pt idx="404">
                    <c:v>Rolling Mean (30 Minute)</c:v>
                  </c:pt>
                  <c:pt idx="405">
                    <c:v>Rolling Mean (30 Minute)</c:v>
                  </c:pt>
                  <c:pt idx="406">
                    <c:v>Rolling Mean (30 Minute)</c:v>
                  </c:pt>
                  <c:pt idx="407">
                    <c:v>Rolling Mean (30 Minute)</c:v>
                  </c:pt>
                  <c:pt idx="408">
                    <c:v>Rolling Mean (30 Minute)</c:v>
                  </c:pt>
                  <c:pt idx="409">
                    <c:v>Rolling Mean (30 Minute)</c:v>
                  </c:pt>
                  <c:pt idx="410">
                    <c:v>Rolling Mean (30 Minute)</c:v>
                  </c:pt>
                  <c:pt idx="411">
                    <c:v>Rolling Mean (30 Minute)</c:v>
                  </c:pt>
                  <c:pt idx="412">
                    <c:v>Rolling Mean (30 Minute)</c:v>
                  </c:pt>
                  <c:pt idx="413">
                    <c:v>Rolling Mean (30 Minute)</c:v>
                  </c:pt>
                  <c:pt idx="414">
                    <c:v>Rolling Mean (30 Minute)</c:v>
                  </c:pt>
                  <c:pt idx="415">
                    <c:v>Rolling Mean (30 Minute)</c:v>
                  </c:pt>
                  <c:pt idx="416">
                    <c:v>Rolling Mean (30 Minute)</c:v>
                  </c:pt>
                  <c:pt idx="417">
                    <c:v>Rolling Mean (30 Minute)</c:v>
                  </c:pt>
                  <c:pt idx="418">
                    <c:v>Rolling Mean (30 Minute)</c:v>
                  </c:pt>
                  <c:pt idx="419">
                    <c:v>Rolling Mean (30 Minute)</c:v>
                  </c:pt>
                  <c:pt idx="420">
                    <c:v>Rolling Mean (30 Minute)</c:v>
                  </c:pt>
                  <c:pt idx="421">
                    <c:v>Rolling Mean (30 Minute)</c:v>
                  </c:pt>
                  <c:pt idx="422">
                    <c:v>Rolling Mean (30 Minute)</c:v>
                  </c:pt>
                  <c:pt idx="423">
                    <c:v>Rolling Mean (30 Minute)</c:v>
                  </c:pt>
                  <c:pt idx="424">
                    <c:v>Rolling Mean (30 Minute)</c:v>
                  </c:pt>
                  <c:pt idx="425">
                    <c:v>Rolling Mean (30 Minute)</c:v>
                  </c:pt>
                  <c:pt idx="426">
                    <c:v>Rolling Mean (30 Minute)</c:v>
                  </c:pt>
                  <c:pt idx="427">
                    <c:v>Rolling Mean (30 Minute)</c:v>
                  </c:pt>
                  <c:pt idx="428">
                    <c:v>Rolling Mean (30 Minute)</c:v>
                  </c:pt>
                  <c:pt idx="429">
                    <c:v>Rolling Mean (30 Minute)</c:v>
                  </c:pt>
                  <c:pt idx="430">
                    <c:v>Rolling Mean (30 Minute)</c:v>
                  </c:pt>
                  <c:pt idx="431">
                    <c:v>Rolling Mean (30 Minute)</c:v>
                  </c:pt>
                  <c:pt idx="432">
                    <c:v>Rolling Mean (30 Minute)</c:v>
                  </c:pt>
                  <c:pt idx="433">
                    <c:v>Rolling Mean (30 Minute)</c:v>
                  </c:pt>
                  <c:pt idx="434">
                    <c:v>Rolling Mean (30 Minute)</c:v>
                  </c:pt>
                  <c:pt idx="435">
                    <c:v>Rolling Mean (30 Minute)</c:v>
                  </c:pt>
                  <c:pt idx="436">
                    <c:v>Rolling Mean (30 Minute)</c:v>
                  </c:pt>
                  <c:pt idx="437">
                    <c:v>Rolling Mean (30 Minute)</c:v>
                  </c:pt>
                  <c:pt idx="438">
                    <c:v>Rolling Mean (30 Minute)</c:v>
                  </c:pt>
                  <c:pt idx="439">
                    <c:v>Rolling Mean (30 Minute)</c:v>
                  </c:pt>
                  <c:pt idx="440">
                    <c:v>Rolling Mean (30 Minute)</c:v>
                  </c:pt>
                  <c:pt idx="441">
                    <c:v>Rolling Mean (30 Minute)</c:v>
                  </c:pt>
                  <c:pt idx="442">
                    <c:v>Rolling Mean (30 Minute)</c:v>
                  </c:pt>
                  <c:pt idx="443">
                    <c:v>Rolling Mean (30 Minute)</c:v>
                  </c:pt>
                  <c:pt idx="444">
                    <c:v>Rolling Mean (30 Minute)</c:v>
                  </c:pt>
                  <c:pt idx="445">
                    <c:v>Rolling Mean (30 Minute)</c:v>
                  </c:pt>
                  <c:pt idx="446">
                    <c:v>Rolling Mean (30 Minute)</c:v>
                  </c:pt>
                  <c:pt idx="447">
                    <c:v>Rolling Mean (30 Minute)</c:v>
                  </c:pt>
                  <c:pt idx="448">
                    <c:v>Rolling Mean (30 Minute)</c:v>
                  </c:pt>
                  <c:pt idx="449">
                    <c:v>Rolling Mean (30 Minute)</c:v>
                  </c:pt>
                  <c:pt idx="450">
                    <c:v>Rolling Mean (30 Minute)</c:v>
                  </c:pt>
                  <c:pt idx="451">
                    <c:v>Rolling Mean (30 Minute)</c:v>
                  </c:pt>
                  <c:pt idx="452">
                    <c:v>Rolling Mean (30 Minute)</c:v>
                  </c:pt>
                  <c:pt idx="453">
                    <c:v>Rolling Mean (30 Minute)</c:v>
                  </c:pt>
                  <c:pt idx="454">
                    <c:v>Rolling Mean (30 Minute)</c:v>
                  </c:pt>
                  <c:pt idx="455">
                    <c:v>Rolling Mean (30 Minute)</c:v>
                  </c:pt>
                  <c:pt idx="456">
                    <c:v>Rolling Mean (30 Minute)</c:v>
                  </c:pt>
                  <c:pt idx="457">
                    <c:v>Rolling Mean (30 Minute)</c:v>
                  </c:pt>
                  <c:pt idx="458">
                    <c:v>Rolling Mean (30 Minute)</c:v>
                  </c:pt>
                  <c:pt idx="459">
                    <c:v>Rolling Mean (30 Minute)</c:v>
                  </c:pt>
                  <c:pt idx="460">
                    <c:v>Rolling Mean (30 Minute)</c:v>
                  </c:pt>
                  <c:pt idx="461">
                    <c:v>Rolling Mean (30 Minute)</c:v>
                  </c:pt>
                  <c:pt idx="462">
                    <c:v>Rolling Mean (30 Minute)</c:v>
                  </c:pt>
                  <c:pt idx="463">
                    <c:v>Rolling Mean (30 Minute)</c:v>
                  </c:pt>
                  <c:pt idx="464">
                    <c:v>Rolling Mean (30 Minute)</c:v>
                  </c:pt>
                  <c:pt idx="465">
                    <c:v>Rolling Mean (30 Minute)</c:v>
                  </c:pt>
                  <c:pt idx="466">
                    <c:v>Rolling Mean (30 Minute)</c:v>
                  </c:pt>
                  <c:pt idx="467">
                    <c:v>Rolling Mean (30 Minute)</c:v>
                  </c:pt>
                  <c:pt idx="468">
                    <c:v>Rolling Mean (30 Minute)</c:v>
                  </c:pt>
                  <c:pt idx="469">
                    <c:v>Rolling Mean (30 Minute)</c:v>
                  </c:pt>
                  <c:pt idx="470">
                    <c:v>Rolling Mean (30 Minute)</c:v>
                  </c:pt>
                  <c:pt idx="471">
                    <c:v>Rolling Mean (30 Minute)</c:v>
                  </c:pt>
                  <c:pt idx="472">
                    <c:v>Rolling Mean (30 Minute)</c:v>
                  </c:pt>
                  <c:pt idx="473">
                    <c:v>Rolling Mean (30 Minute)</c:v>
                  </c:pt>
                  <c:pt idx="474">
                    <c:v>Rolling Mean (30 Minute)</c:v>
                  </c:pt>
                  <c:pt idx="475">
                    <c:v>Rolling Mean (30 Minute)</c:v>
                  </c:pt>
                  <c:pt idx="476">
                    <c:v>Rolling Mean (30 Minute)</c:v>
                  </c:pt>
                  <c:pt idx="477">
                    <c:v>Rolling Mean (30 Minute)</c:v>
                  </c:pt>
                  <c:pt idx="478">
                    <c:v>Rolling Mean (30 Minute)</c:v>
                  </c:pt>
                  <c:pt idx="479">
                    <c:v>Rolling Mean (30 Minute)</c:v>
                  </c:pt>
                  <c:pt idx="480">
                    <c:v>Rolling Mean (30 Minute)</c:v>
                  </c:pt>
                  <c:pt idx="481">
                    <c:v>Rolling Mean (30 Minute)</c:v>
                  </c:pt>
                  <c:pt idx="482">
                    <c:v>Rolling Mean (30 Minute)</c:v>
                  </c:pt>
                  <c:pt idx="483">
                    <c:v>Rolling Mean (30 Minute)</c:v>
                  </c:pt>
                  <c:pt idx="484">
                    <c:v>Rolling Mean (30 Minute)</c:v>
                  </c:pt>
                  <c:pt idx="485">
                    <c:v>Rolling Mean (30 Minute)</c:v>
                  </c:pt>
                  <c:pt idx="486">
                    <c:v>Rolling Mean (30 Minute)</c:v>
                  </c:pt>
                  <c:pt idx="487">
                    <c:v>Rolling Mean (30 Minute)</c:v>
                  </c:pt>
                  <c:pt idx="488">
                    <c:v>Rolling Mean (30 Minute)</c:v>
                  </c:pt>
                  <c:pt idx="489">
                    <c:v>Rolling Mean (30 Minute)</c:v>
                  </c:pt>
                  <c:pt idx="490">
                    <c:v>Rolling Mean (30 Minute)</c:v>
                  </c:pt>
                  <c:pt idx="491">
                    <c:v>Rolling Mean (30 Minute)</c:v>
                  </c:pt>
                  <c:pt idx="492">
                    <c:v>Rolling Mean (30 Minute)</c:v>
                  </c:pt>
                  <c:pt idx="493">
                    <c:v>Rolling Mean (30 Minute)</c:v>
                  </c:pt>
                  <c:pt idx="494">
                    <c:v>Rolling Mean (30 Minute)</c:v>
                  </c:pt>
                  <c:pt idx="495">
                    <c:v>Rolling Mean (30 Minute)</c:v>
                  </c:pt>
                  <c:pt idx="496">
                    <c:v>Rolling Mean (30 Minute)</c:v>
                  </c:pt>
                  <c:pt idx="497">
                    <c:v>Rolling Mean (30 Minute)</c:v>
                  </c:pt>
                  <c:pt idx="498">
                    <c:v>Rolling Mean (30 Minute)</c:v>
                  </c:pt>
                  <c:pt idx="499">
                    <c:v>Rolling Mean (30 Minute)</c:v>
                  </c:pt>
                  <c:pt idx="500">
                    <c:v>Rolling Mean (30 Minute)</c:v>
                  </c:pt>
                  <c:pt idx="501">
                    <c:v>Rolling Mean (30 Minute)</c:v>
                  </c:pt>
                  <c:pt idx="502">
                    <c:v>Rolling Mean (30 Minute)</c:v>
                  </c:pt>
                  <c:pt idx="503">
                    <c:v>Rolling Mean (30 Minute)</c:v>
                  </c:pt>
                  <c:pt idx="504">
                    <c:v>Rolling Mean (30 Minute)</c:v>
                  </c:pt>
                  <c:pt idx="505">
                    <c:v>Rolling Mean (30 Minute)</c:v>
                  </c:pt>
                  <c:pt idx="506">
                    <c:v>Rolling Mean (30 Minute)</c:v>
                  </c:pt>
                  <c:pt idx="507">
                    <c:v>Rolling Mean (30 Minute)</c:v>
                  </c:pt>
                  <c:pt idx="508">
                    <c:v>Rolling Mean (30 Minute)</c:v>
                  </c:pt>
                  <c:pt idx="509">
                    <c:v>Rolling Mean (30 Minute)</c:v>
                  </c:pt>
                  <c:pt idx="510">
                    <c:v>Rolling Mean (30 Minute)</c:v>
                  </c:pt>
                  <c:pt idx="511">
                    <c:v>Rolling Mean (30 Minute)</c:v>
                  </c:pt>
                  <c:pt idx="512">
                    <c:v>Rolling Mean (30 Minute)</c:v>
                  </c:pt>
                  <c:pt idx="513">
                    <c:v>Rolling Mean (30 Minute)</c:v>
                  </c:pt>
                  <c:pt idx="514">
                    <c:v>Rolling Mean (30 Minute)</c:v>
                  </c:pt>
                  <c:pt idx="515">
                    <c:v>Rolling Mean (30 Minute)</c:v>
                  </c:pt>
                  <c:pt idx="516">
                    <c:v>Rolling Mean (30 Minute)</c:v>
                  </c:pt>
                  <c:pt idx="517">
                    <c:v>Rolling Mean (30 Minute)</c:v>
                  </c:pt>
                  <c:pt idx="518">
                    <c:v>Rolling Mean (30 Minute)</c:v>
                  </c:pt>
                  <c:pt idx="519">
                    <c:v>Rolling Mean (30 Minute)</c:v>
                  </c:pt>
                  <c:pt idx="520">
                    <c:v>Rolling Mean (30 Minute)</c:v>
                  </c:pt>
                  <c:pt idx="521">
                    <c:v>Rolling Mean (30 Minute)</c:v>
                  </c:pt>
                  <c:pt idx="522">
                    <c:v>Rolling Mean (30 Minute)</c:v>
                  </c:pt>
                  <c:pt idx="523">
                    <c:v>Rolling Mean (30 Minute)</c:v>
                  </c:pt>
                  <c:pt idx="524">
                    <c:v>Rolling Mean (30 Minute)</c:v>
                  </c:pt>
                  <c:pt idx="525">
                    <c:v>Rolling Mean (30 Minute)</c:v>
                  </c:pt>
                  <c:pt idx="526">
                    <c:v>Rolling Mean (30 Minute)</c:v>
                  </c:pt>
                  <c:pt idx="527">
                    <c:v>Rolling Mean (30 Minute)</c:v>
                  </c:pt>
                  <c:pt idx="528">
                    <c:v>Rolling Mean (30 Minute)</c:v>
                  </c:pt>
                  <c:pt idx="529">
                    <c:v>Rolling Mean (30 Minute)</c:v>
                  </c:pt>
                  <c:pt idx="530">
                    <c:v>Rolling Mean (30 Minute)</c:v>
                  </c:pt>
                  <c:pt idx="531">
                    <c:v>Rolling Mean (30 Minute)</c:v>
                  </c:pt>
                  <c:pt idx="532">
                    <c:v>Rolling Mean (30 Minute)</c:v>
                  </c:pt>
                  <c:pt idx="533">
                    <c:v>Rolling Mean (30 Minute)</c:v>
                  </c:pt>
                  <c:pt idx="534">
                    <c:v>Rolling Mean (30 Minute)</c:v>
                  </c:pt>
                  <c:pt idx="535">
                    <c:v>Rolling Mean (30 Minute)</c:v>
                  </c:pt>
                  <c:pt idx="536">
                    <c:v>Rolling Mean (30 Minute)</c:v>
                  </c:pt>
                  <c:pt idx="537">
                    <c:v>Rolling Mean (30 Minute)</c:v>
                  </c:pt>
                  <c:pt idx="538">
                    <c:v>Rolling Mean (30 Minute)</c:v>
                  </c:pt>
                  <c:pt idx="539">
                    <c:v>Rolling Mean (30 Minute)</c:v>
                  </c:pt>
                  <c:pt idx="540">
                    <c:v>Rolling Mean (30 Minute)</c:v>
                  </c:pt>
                  <c:pt idx="541">
                    <c:v>Rolling Mean (30 Minute)</c:v>
                  </c:pt>
                  <c:pt idx="542">
                    <c:v>Rolling Mean (30 Minute)</c:v>
                  </c:pt>
                  <c:pt idx="543">
                    <c:v>Rolling Mean (30 Minute)</c:v>
                  </c:pt>
                  <c:pt idx="544">
                    <c:v>Rolling Mean (30 Minute)</c:v>
                  </c:pt>
                  <c:pt idx="545">
                    <c:v>Rolling Mean (30 Minute)</c:v>
                  </c:pt>
                  <c:pt idx="546">
                    <c:v>Rolling Mean (30 Minute)</c:v>
                  </c:pt>
                  <c:pt idx="547">
                    <c:v>Rolling Mean (30 Minute)</c:v>
                  </c:pt>
                  <c:pt idx="548">
                    <c:v>Rolling Mean (30 Minute)</c:v>
                  </c:pt>
                  <c:pt idx="549">
                    <c:v>Rolling Mean (30 Minute)</c:v>
                  </c:pt>
                  <c:pt idx="550">
                    <c:v>Rolling Mean (30 Minute)</c:v>
                  </c:pt>
                  <c:pt idx="551">
                    <c:v>Rolling Mean (30 Minute)</c:v>
                  </c:pt>
                  <c:pt idx="552">
                    <c:v>Rolling Mean (30 Minute)</c:v>
                  </c:pt>
                  <c:pt idx="553">
                    <c:v>Rolling Mean (30 Minute)</c:v>
                  </c:pt>
                  <c:pt idx="554">
                    <c:v>Rolling Mean (30 Minute)</c:v>
                  </c:pt>
                  <c:pt idx="555">
                    <c:v>Rolling Mean (30 Minute)</c:v>
                  </c:pt>
                  <c:pt idx="556">
                    <c:v>Rolling Mean (30 Minute)</c:v>
                  </c:pt>
                  <c:pt idx="557">
                    <c:v>Rolling Mean (30 Minute)</c:v>
                  </c:pt>
                  <c:pt idx="558">
                    <c:v>Rolling Mean (30 Minute)</c:v>
                  </c:pt>
                  <c:pt idx="559">
                    <c:v>Rolling Mean (30 Minute)</c:v>
                  </c:pt>
                  <c:pt idx="560">
                    <c:v>Rolling Mean (30 Minute)</c:v>
                  </c:pt>
                  <c:pt idx="561">
                    <c:v>Rolling Mean (30 Minute)</c:v>
                  </c:pt>
                  <c:pt idx="562">
                    <c:v>Rolling Mean (30 Minute)</c:v>
                  </c:pt>
                  <c:pt idx="563">
                    <c:v>Rolling Mean (30 Minute)</c:v>
                  </c:pt>
                  <c:pt idx="564">
                    <c:v>Rolling Mean (30 Minute)</c:v>
                  </c:pt>
                  <c:pt idx="565">
                    <c:v>Rolling Mean (30 Minute)</c:v>
                  </c:pt>
                  <c:pt idx="566">
                    <c:v>Rolling Mean (30 Minute)</c:v>
                  </c:pt>
                  <c:pt idx="567">
                    <c:v>Rolling Mean (30 Minute)</c:v>
                  </c:pt>
                  <c:pt idx="568">
                    <c:v>Rolling Mean (30 Minute)</c:v>
                  </c:pt>
                  <c:pt idx="569">
                    <c:v>Rolling Mean (30 Minute)</c:v>
                  </c:pt>
                  <c:pt idx="570">
                    <c:v>Rolling Mean (30 Minute)</c:v>
                  </c:pt>
                  <c:pt idx="571">
                    <c:v>Rolling Mean (30 Minute)</c:v>
                  </c:pt>
                  <c:pt idx="572">
                    <c:v>Rolling Mean (30 Minute)</c:v>
                  </c:pt>
                  <c:pt idx="573">
                    <c:v>Rolling Mean (30 Minute)</c:v>
                  </c:pt>
                  <c:pt idx="574">
                    <c:v>Rolling Mean (30 Minute)</c:v>
                  </c:pt>
                  <c:pt idx="575">
                    <c:v>Rolling Mean (30 Minute)</c:v>
                  </c:pt>
                  <c:pt idx="576">
                    <c:v>Rolling Mean (30 Minute)</c:v>
                  </c:pt>
                  <c:pt idx="577">
                    <c:v>Rolling Mean (30 Minute)</c:v>
                  </c:pt>
                  <c:pt idx="578">
                    <c:v>Rolling Mean (30 Minute)</c:v>
                  </c:pt>
                  <c:pt idx="579">
                    <c:v>Rolling Mean (30 Minute)</c:v>
                  </c:pt>
                  <c:pt idx="580">
                    <c:v>Rolling Mean (30 Minute)</c:v>
                  </c:pt>
                  <c:pt idx="581">
                    <c:v>Rolling Mean (30 Minute)</c:v>
                  </c:pt>
                  <c:pt idx="582">
                    <c:v>Rolling Mean (30 Minute)</c:v>
                  </c:pt>
                  <c:pt idx="583">
                    <c:v>Rolling Mean (30 Minute)</c:v>
                  </c:pt>
                  <c:pt idx="584">
                    <c:v>Rolling Mean (30 Minute)</c:v>
                  </c:pt>
                  <c:pt idx="585">
                    <c:v>Rolling Mean (30 Minute)</c:v>
                  </c:pt>
                  <c:pt idx="586">
                    <c:v>Rolling Mean (30 Minute)</c:v>
                  </c:pt>
                  <c:pt idx="587">
                    <c:v>Rolling Mean (30 Minute)</c:v>
                  </c:pt>
                  <c:pt idx="588">
                    <c:v>Rolling Mean (30 Minute)</c:v>
                  </c:pt>
                  <c:pt idx="589">
                    <c:v>Rolling Mean (30 Minute)</c:v>
                  </c:pt>
                  <c:pt idx="590">
                    <c:v>Rolling Mean (30 Minute)</c:v>
                  </c:pt>
                  <c:pt idx="591">
                    <c:v>Rolling Mean (30 Minute)</c:v>
                  </c:pt>
                  <c:pt idx="592">
                    <c:v>Rolling Mean (30 Minute)</c:v>
                  </c:pt>
                  <c:pt idx="593">
                    <c:v>Rolling Mean (30 Minute)</c:v>
                  </c:pt>
                  <c:pt idx="594">
                    <c:v>Rolling Mean (30 Minute)</c:v>
                  </c:pt>
                  <c:pt idx="595">
                    <c:v>Rolling Mean (30 Minute)</c:v>
                  </c:pt>
                  <c:pt idx="596">
                    <c:v>Rolling Mean (30 Minute)</c:v>
                  </c:pt>
                  <c:pt idx="597">
                    <c:v>Rolling Mean (30 Minute)</c:v>
                  </c:pt>
                  <c:pt idx="598">
                    <c:v>Rolling Mean (30 Minute)</c:v>
                  </c:pt>
                  <c:pt idx="599">
                    <c:v>Rolling Mean (30 Minute)</c:v>
                  </c:pt>
                  <c:pt idx="600">
                    <c:v>Rolling Mean (30 Minute)</c:v>
                  </c:pt>
                  <c:pt idx="601">
                    <c:v>Rolling Mean (30 Minute)</c:v>
                  </c:pt>
                  <c:pt idx="602">
                    <c:v>Rolling Mean (30 Minute)</c:v>
                  </c:pt>
                  <c:pt idx="603">
                    <c:v>Rolling Mean (30 Minute)</c:v>
                  </c:pt>
                  <c:pt idx="604">
                    <c:v>Rolling Mean (30 Minute)</c:v>
                  </c:pt>
                  <c:pt idx="605">
                    <c:v>Rolling Mean (30 Minute)</c:v>
                  </c:pt>
                  <c:pt idx="606">
                    <c:v>Rolling Mean (30 Minute)</c:v>
                  </c:pt>
                  <c:pt idx="607">
                    <c:v>Rolling Mean (30 Minute)</c:v>
                  </c:pt>
                  <c:pt idx="608">
                    <c:v>Rolling Mean (30 Minute)</c:v>
                  </c:pt>
                  <c:pt idx="609">
                    <c:v>Rolling Mean (30 Minute)</c:v>
                  </c:pt>
                  <c:pt idx="610">
                    <c:v>Rolling Mean (30 Minute)</c:v>
                  </c:pt>
                  <c:pt idx="611">
                    <c:v>Rolling Mean (30 Minute)</c:v>
                  </c:pt>
                  <c:pt idx="612">
                    <c:v>Rolling Mean (30 Minute)</c:v>
                  </c:pt>
                  <c:pt idx="613">
                    <c:v>Rolling Mean (30 Minute)</c:v>
                  </c:pt>
                  <c:pt idx="614">
                    <c:v>Rolling Mean (30 Minute)</c:v>
                  </c:pt>
                  <c:pt idx="615">
                    <c:v>Rolling Mean (30 Minute)</c:v>
                  </c:pt>
                  <c:pt idx="616">
                    <c:v>Rolling Mean (30 Minute)</c:v>
                  </c:pt>
                  <c:pt idx="617">
                    <c:v>Rolling Mean (30 Minute)</c:v>
                  </c:pt>
                  <c:pt idx="618">
                    <c:v>Rolling Mean (30 Minute)</c:v>
                  </c:pt>
                  <c:pt idx="619">
                    <c:v>Rolling Mean (30 Minute)</c:v>
                  </c:pt>
                  <c:pt idx="620">
                    <c:v>Rolling Mean (30 Minute)</c:v>
                  </c:pt>
                  <c:pt idx="621">
                    <c:v>Rolling Mean (30 Minute)</c:v>
                  </c:pt>
                  <c:pt idx="622">
                    <c:v>Rolling Mean (30 Minute)</c:v>
                  </c:pt>
                  <c:pt idx="623">
                    <c:v>Rolling Mean (30 Minute)</c:v>
                  </c:pt>
                  <c:pt idx="624">
                    <c:v>Rolling Mean (30 Minute)</c:v>
                  </c:pt>
                  <c:pt idx="625">
                    <c:v>Rolling Mean (30 Minute)</c:v>
                  </c:pt>
                  <c:pt idx="626">
                    <c:v>Rolling Mean (30 Minute)</c:v>
                  </c:pt>
                  <c:pt idx="627">
                    <c:v>Rolling Mean (30 Minute)</c:v>
                  </c:pt>
                  <c:pt idx="628">
                    <c:v>Rolling Mean (30 Minute)</c:v>
                  </c:pt>
                  <c:pt idx="629">
                    <c:v>Rolling Mean (30 Minute)</c:v>
                  </c:pt>
                  <c:pt idx="630">
                    <c:v>Rolling Mean (30 Minute)</c:v>
                  </c:pt>
                  <c:pt idx="631">
                    <c:v>Rolling Mean (30 Minute)</c:v>
                  </c:pt>
                  <c:pt idx="632">
                    <c:v>Rolling Mean (30 Minute)</c:v>
                  </c:pt>
                  <c:pt idx="633">
                    <c:v>Rolling Mean (30 Minute)</c:v>
                  </c:pt>
                  <c:pt idx="634">
                    <c:v>Rolling Mean (30 Minute)</c:v>
                  </c:pt>
                  <c:pt idx="635">
                    <c:v>Rolling Mean (30 Minute)</c:v>
                  </c:pt>
                  <c:pt idx="636">
                    <c:v>Rolling Mean (30 Minute)</c:v>
                  </c:pt>
                  <c:pt idx="637">
                    <c:v>Rolling Mean (30 Minute)</c:v>
                  </c:pt>
                  <c:pt idx="638">
                    <c:v>Rolling Mean (30 Minute)</c:v>
                  </c:pt>
                  <c:pt idx="639">
                    <c:v>Rolling Mean (30 Minute)</c:v>
                  </c:pt>
                  <c:pt idx="640">
                    <c:v>Rolling Mean (30 Minute)</c:v>
                  </c:pt>
                  <c:pt idx="641">
                    <c:v>Rolling Mean (30 Minute)</c:v>
                  </c:pt>
                  <c:pt idx="642">
                    <c:v>Rolling Mean (30 Minute)</c:v>
                  </c:pt>
                  <c:pt idx="643">
                    <c:v>Rolling Mean (30 Minute)</c:v>
                  </c:pt>
                  <c:pt idx="644">
                    <c:v>Rolling Mean (30 Minute)</c:v>
                  </c:pt>
                  <c:pt idx="645">
                    <c:v>Rolling Mean (30 Minute)</c:v>
                  </c:pt>
                  <c:pt idx="646">
                    <c:v>Rolling Mean (30 Minute)</c:v>
                  </c:pt>
                  <c:pt idx="647">
                    <c:v>Rolling Mean (30 Minute)</c:v>
                  </c:pt>
                  <c:pt idx="648">
                    <c:v>Rolling Mean (30 Minute)</c:v>
                  </c:pt>
                  <c:pt idx="649">
                    <c:v>Rolling Mean (30 Minute)</c:v>
                  </c:pt>
                  <c:pt idx="650">
                    <c:v>Rolling Mean (30 Minute)</c:v>
                  </c:pt>
                  <c:pt idx="651">
                    <c:v>Rolling Mean (30 Minute)</c:v>
                  </c:pt>
                  <c:pt idx="652">
                    <c:v>Rolling Mean (30 Minute)</c:v>
                  </c:pt>
                  <c:pt idx="653">
                    <c:v>Rolling Mean (30 Minute)</c:v>
                  </c:pt>
                  <c:pt idx="654">
                    <c:v>Rolling Mean (30 Minute)</c:v>
                  </c:pt>
                  <c:pt idx="655">
                    <c:v>Rolling Mean (30 Minute)</c:v>
                  </c:pt>
                  <c:pt idx="656">
                    <c:v>Rolling Mean (30 Minute)</c:v>
                  </c:pt>
                  <c:pt idx="657">
                    <c:v>Rolling Mean (30 Minute)</c:v>
                  </c:pt>
                  <c:pt idx="658">
                    <c:v>Rolling Mean (30 Minute)</c:v>
                  </c:pt>
                  <c:pt idx="659">
                    <c:v>Rolling Mean (30 Minute)</c:v>
                  </c:pt>
                  <c:pt idx="660">
                    <c:v>Rolling Mean (30 Minute)</c:v>
                  </c:pt>
                  <c:pt idx="661">
                    <c:v>Rolling Mean (30 Minute)</c:v>
                  </c:pt>
                  <c:pt idx="662">
                    <c:v>Rolling Mean (30 Minute)</c:v>
                  </c:pt>
                  <c:pt idx="663">
                    <c:v>Rolling Mean (30 Minute)</c:v>
                  </c:pt>
                  <c:pt idx="664">
                    <c:v>Rolling Mean (30 Minute)</c:v>
                  </c:pt>
                  <c:pt idx="665">
                    <c:v>Rolling Mean (30 Minute)</c:v>
                  </c:pt>
                  <c:pt idx="666">
                    <c:v>Rolling Mean (30 Minute)</c:v>
                  </c:pt>
                  <c:pt idx="667">
                    <c:v>Rolling Mean (30 Minute)</c:v>
                  </c:pt>
                  <c:pt idx="668">
                    <c:v>Rolling Mean (30 Minute)</c:v>
                  </c:pt>
                  <c:pt idx="669">
                    <c:v>Rolling Mean (30 Minute)</c:v>
                  </c:pt>
                  <c:pt idx="670">
                    <c:v>Rolling Mean (30 Minute)</c:v>
                  </c:pt>
                  <c:pt idx="671">
                    <c:v>Rolling Mean (30 Minute)</c:v>
                  </c:pt>
                  <c:pt idx="672">
                    <c:v>Rolling Mean (30 Minute)</c:v>
                  </c:pt>
                  <c:pt idx="673">
                    <c:v>Rolling Mean (30 Minute)</c:v>
                  </c:pt>
                  <c:pt idx="674">
                    <c:v>Rolling Mean (30 Minute)</c:v>
                  </c:pt>
                  <c:pt idx="675">
                    <c:v>Rolling Mean (30 Minute)</c:v>
                  </c:pt>
                  <c:pt idx="676">
                    <c:v>Rolling Mean (30 Minute)</c:v>
                  </c:pt>
                  <c:pt idx="677">
                    <c:v>Rolling Mean (30 Minute)</c:v>
                  </c:pt>
                  <c:pt idx="678">
                    <c:v>Rolling Mean (30 Minute)</c:v>
                  </c:pt>
                  <c:pt idx="679">
                    <c:v>Rolling Mean (30 Minute)</c:v>
                  </c:pt>
                  <c:pt idx="680">
                    <c:v>Rolling Mean (30 Minute)</c:v>
                  </c:pt>
                  <c:pt idx="681">
                    <c:v>Rolling Mean (30 Minute)</c:v>
                  </c:pt>
                  <c:pt idx="682">
                    <c:v>Rolling Mean (30 Minute)</c:v>
                  </c:pt>
                  <c:pt idx="683">
                    <c:v>Rolling Mean (30 Minute)</c:v>
                  </c:pt>
                  <c:pt idx="684">
                    <c:v>Rolling Mean (30 Minute)</c:v>
                  </c:pt>
                  <c:pt idx="685">
                    <c:v>Rolling Mean (30 Minute)</c:v>
                  </c:pt>
                  <c:pt idx="686">
                    <c:v>Rolling Mean (30 Minute)</c:v>
                  </c:pt>
                  <c:pt idx="687">
                    <c:v>Rolling Mean (30 Minute)</c:v>
                  </c:pt>
                  <c:pt idx="688">
                    <c:v>Rolling Mean (30 Minute)</c:v>
                  </c:pt>
                  <c:pt idx="689">
                    <c:v>Rolling Mean (30 Minute)</c:v>
                  </c:pt>
                  <c:pt idx="690">
                    <c:v>Rolling Mean (30 Minute)</c:v>
                  </c:pt>
                  <c:pt idx="691">
                    <c:v>Rolling Mean (30 Minute)</c:v>
                  </c:pt>
                  <c:pt idx="692">
                    <c:v>Rolling Mean (30 Minute)</c:v>
                  </c:pt>
                  <c:pt idx="693">
                    <c:v>Rolling Mean (30 Minute)</c:v>
                  </c:pt>
                  <c:pt idx="694">
                    <c:v>Rolling Mean (30 Minute)</c:v>
                  </c:pt>
                  <c:pt idx="695">
                    <c:v>Rolling Mean (30 Minute)</c:v>
                  </c:pt>
                  <c:pt idx="696">
                    <c:v>Rolling Mean (30 Minute)</c:v>
                  </c:pt>
                  <c:pt idx="697">
                    <c:v>Rolling Mean (30 Minute)</c:v>
                  </c:pt>
                  <c:pt idx="698">
                    <c:v>Rolling Mean (30 Minute)</c:v>
                  </c:pt>
                  <c:pt idx="699">
                    <c:v>Rolling Mean (30 Minute)</c:v>
                  </c:pt>
                  <c:pt idx="700">
                    <c:v>Rolling Mean (30 Minute)</c:v>
                  </c:pt>
                  <c:pt idx="701">
                    <c:v>Rolling Mean (30 Minute)</c:v>
                  </c:pt>
                  <c:pt idx="702">
                    <c:v>Rolling Mean (30 Minute)</c:v>
                  </c:pt>
                  <c:pt idx="703">
                    <c:v>Rolling Mean (30 Minute)</c:v>
                  </c:pt>
                  <c:pt idx="704">
                    <c:v>Rolling Mean (30 Minute)</c:v>
                  </c:pt>
                  <c:pt idx="705">
                    <c:v>Rolling Mean (30 Minute)</c:v>
                  </c:pt>
                  <c:pt idx="706">
                    <c:v>Rolling Mean (30 Minute)</c:v>
                  </c:pt>
                  <c:pt idx="707">
                    <c:v>Rolling Mean (30 Minute)</c:v>
                  </c:pt>
                  <c:pt idx="708">
                    <c:v>Rolling Mean (30 Minute)</c:v>
                  </c:pt>
                  <c:pt idx="709">
                    <c:v>Rolling Mean (30 Minute)</c:v>
                  </c:pt>
                  <c:pt idx="710">
                    <c:v>Rolling Mean (30 Minute)</c:v>
                  </c:pt>
                  <c:pt idx="711">
                    <c:v>Rolling Mean (30 Minute)</c:v>
                  </c:pt>
                  <c:pt idx="712">
                    <c:v>Rolling Mean (30 Minute)</c:v>
                  </c:pt>
                  <c:pt idx="713">
                    <c:v>Rolling Mean (30 Minute)</c:v>
                  </c:pt>
                  <c:pt idx="714">
                    <c:v>Rolling Mean (30 Minute)</c:v>
                  </c:pt>
                  <c:pt idx="715">
                    <c:v>Rolling Mean (30 Minute)</c:v>
                  </c:pt>
                  <c:pt idx="716">
                    <c:v>Rolling Mean (30 Minute)</c:v>
                  </c:pt>
                  <c:pt idx="717">
                    <c:v>Rolling Mean (30 Minute)</c:v>
                  </c:pt>
                  <c:pt idx="718">
                    <c:v>Rolling Mean (30 Minute)</c:v>
                  </c:pt>
                  <c:pt idx="719">
                    <c:v>Rolling Mean (30 Minute)</c:v>
                  </c:pt>
                  <c:pt idx="720">
                    <c:v>Rolling Mean (30 Minute)</c:v>
                  </c:pt>
                  <c:pt idx="721">
                    <c:v>Rolling Mean (30 Minute)</c:v>
                  </c:pt>
                  <c:pt idx="722">
                    <c:v>Rolling Mean (30 Minute)</c:v>
                  </c:pt>
                  <c:pt idx="723">
                    <c:v>Rolling Mean (30 Minute)</c:v>
                  </c:pt>
                  <c:pt idx="724">
                    <c:v>Rolling Mean (30 Minute)</c:v>
                  </c:pt>
                  <c:pt idx="725">
                    <c:v>Rolling Mean (30 Minute)</c:v>
                  </c:pt>
                  <c:pt idx="726">
                    <c:v>Rolling Mean (30 Minute)</c:v>
                  </c:pt>
                  <c:pt idx="727">
                    <c:v>Rolling Mean (30 Minute)</c:v>
                  </c:pt>
                  <c:pt idx="728">
                    <c:v>Rolling Mean (30 Minute)</c:v>
                  </c:pt>
                  <c:pt idx="729">
                    <c:v>Rolling Mean (30 Minute)</c:v>
                  </c:pt>
                  <c:pt idx="730">
                    <c:v>Rolling Mean (30 Minute)</c:v>
                  </c:pt>
                  <c:pt idx="731">
                    <c:v>Rolling Mean (30 Minute)</c:v>
                  </c:pt>
                  <c:pt idx="732">
                    <c:v>Rolling Mean (30 Minute)</c:v>
                  </c:pt>
                  <c:pt idx="733">
                    <c:v>Rolling Mean (30 Minute)</c:v>
                  </c:pt>
                  <c:pt idx="734">
                    <c:v>Rolling Mean (30 Minute)</c:v>
                  </c:pt>
                  <c:pt idx="735">
                    <c:v>Rolling Mean (30 Minute)</c:v>
                  </c:pt>
                  <c:pt idx="736">
                    <c:v>Rolling Mean (30 Minute)</c:v>
                  </c:pt>
                  <c:pt idx="737">
                    <c:v>Rolling Mean (30 Minute)</c:v>
                  </c:pt>
                  <c:pt idx="738">
                    <c:v>Rolling Mean (30 Minute)</c:v>
                  </c:pt>
                  <c:pt idx="739">
                    <c:v>Rolling Mean (30 Minute)</c:v>
                  </c:pt>
                  <c:pt idx="740">
                    <c:v>Rolling Mean (30 Minute)</c:v>
                  </c:pt>
                  <c:pt idx="741">
                    <c:v>Rolling Mean (30 Minute)</c:v>
                  </c:pt>
                  <c:pt idx="742">
                    <c:v>Rolling Mean (30 Minute)</c:v>
                  </c:pt>
                  <c:pt idx="743">
                    <c:v>Rolling Mean (30 Minute)</c:v>
                  </c:pt>
                  <c:pt idx="744">
                    <c:v>Rolling Mean (30 Minute)</c:v>
                  </c:pt>
                  <c:pt idx="745">
                    <c:v>Rolling Mean (30 Minute)</c:v>
                  </c:pt>
                  <c:pt idx="746">
                    <c:v>Rolling Mean (30 Minute)</c:v>
                  </c:pt>
                  <c:pt idx="747">
                    <c:v>Rolling Mean (30 Minute)</c:v>
                  </c:pt>
                  <c:pt idx="748">
                    <c:v>Rolling Mean (30 Minute)</c:v>
                  </c:pt>
                  <c:pt idx="749">
                    <c:v>Rolling Mean (30 Minute)</c:v>
                  </c:pt>
                  <c:pt idx="750">
                    <c:v>Rolling Mean (30 Minute)</c:v>
                  </c:pt>
                  <c:pt idx="751">
                    <c:v>Rolling Mean (30 Minute)</c:v>
                  </c:pt>
                  <c:pt idx="752">
                    <c:v>Rolling Mean (30 Minute)</c:v>
                  </c:pt>
                  <c:pt idx="753">
                    <c:v>Rolling Mean (30 Minute)</c:v>
                  </c:pt>
                  <c:pt idx="754">
                    <c:v>Rolling Mean (30 Minute)</c:v>
                  </c:pt>
                  <c:pt idx="755">
                    <c:v>Rolling Mean (30 Minute)</c:v>
                  </c:pt>
                  <c:pt idx="756">
                    <c:v>Rolling Mean (30 Minute)</c:v>
                  </c:pt>
                  <c:pt idx="757">
                    <c:v>Rolling Mean (30 Minute)</c:v>
                  </c:pt>
                  <c:pt idx="758">
                    <c:v>Rolling Mean (30 Minute)</c:v>
                  </c:pt>
                  <c:pt idx="759">
                    <c:v>Rolling Mean (30 Minute)</c:v>
                  </c:pt>
                  <c:pt idx="760">
                    <c:v>Rolling Mean (30 Minute)</c:v>
                  </c:pt>
                  <c:pt idx="761">
                    <c:v>Rolling Mean (30 Minute)</c:v>
                  </c:pt>
                  <c:pt idx="762">
                    <c:v>Rolling Mean (30 Minute)</c:v>
                  </c:pt>
                  <c:pt idx="763">
                    <c:v>Rolling Mean (30 Minute)</c:v>
                  </c:pt>
                  <c:pt idx="764">
                    <c:v>Rolling Mean (30 Minute)</c:v>
                  </c:pt>
                  <c:pt idx="765">
                    <c:v>Rolling Mean (30 Minute)</c:v>
                  </c:pt>
                  <c:pt idx="766">
                    <c:v>Rolling Mean (30 Minute)</c:v>
                  </c:pt>
                  <c:pt idx="767">
                    <c:v>Rolling Mean (30 Minute)</c:v>
                  </c:pt>
                  <c:pt idx="768">
                    <c:v>Rolling Mean (30 Minute)</c:v>
                  </c:pt>
                  <c:pt idx="769">
                    <c:v>Rolling Mean (30 Minute)</c:v>
                  </c:pt>
                  <c:pt idx="770">
                    <c:v>Rolling Mean (30 Minute)</c:v>
                  </c:pt>
                  <c:pt idx="771">
                    <c:v>Rolling Mean (30 Minute)</c:v>
                  </c:pt>
                  <c:pt idx="772">
                    <c:v>Rolling Mean (30 Minute)</c:v>
                  </c:pt>
                  <c:pt idx="773">
                    <c:v>Rolling Mean (30 Minute)</c:v>
                  </c:pt>
                  <c:pt idx="774">
                    <c:v>Rolling Mean (30 Minute)</c:v>
                  </c:pt>
                  <c:pt idx="775">
                    <c:v>Rolling Mean (30 Minute)</c:v>
                  </c:pt>
                  <c:pt idx="776">
                    <c:v>Rolling Mean (30 Minute)</c:v>
                  </c:pt>
                  <c:pt idx="777">
                    <c:v>Rolling Mean (30 Minute)</c:v>
                  </c:pt>
                  <c:pt idx="778">
                    <c:v>Rolling Mean (30 Minute)</c:v>
                  </c:pt>
                  <c:pt idx="779">
                    <c:v>Rolling Mean (30 Minute)</c:v>
                  </c:pt>
                  <c:pt idx="780">
                    <c:v>Rolling Mean (30 Minute)</c:v>
                  </c:pt>
                  <c:pt idx="781">
                    <c:v>Rolling Mean (30 Minute)</c:v>
                  </c:pt>
                  <c:pt idx="782">
                    <c:v>Rolling Mean (30 Minute)</c:v>
                  </c:pt>
                  <c:pt idx="783">
                    <c:v>Rolling Mean (30 Minute)</c:v>
                  </c:pt>
                  <c:pt idx="784">
                    <c:v>Rolling Mean (30 Minute)</c:v>
                  </c:pt>
                  <c:pt idx="785">
                    <c:v>Rolling Mean (30 Minute)</c:v>
                  </c:pt>
                  <c:pt idx="786">
                    <c:v>Rolling Mean (30 Minute)</c:v>
                  </c:pt>
                  <c:pt idx="787">
                    <c:v>Rolling Mean (30 Minute)</c:v>
                  </c:pt>
                  <c:pt idx="788">
                    <c:v>Rolling Mean (30 Minute)</c:v>
                  </c:pt>
                  <c:pt idx="789">
                    <c:v>Rolling Mean (30 Minute)</c:v>
                  </c:pt>
                  <c:pt idx="790">
                    <c:v>Rolling Mean (30 Minute)</c:v>
                  </c:pt>
                  <c:pt idx="791">
                    <c:v>Rolling Mean (30 Minute)</c:v>
                  </c:pt>
                  <c:pt idx="792">
                    <c:v>Rolling Mean (30 Minute)</c:v>
                  </c:pt>
                  <c:pt idx="793">
                    <c:v>Rolling Mean (30 Minute)</c:v>
                  </c:pt>
                  <c:pt idx="794">
                    <c:v>Rolling Mean (30 Minute)</c:v>
                  </c:pt>
                  <c:pt idx="795">
                    <c:v>Rolling Mean (30 Minute)</c:v>
                  </c:pt>
                  <c:pt idx="796">
                    <c:v>Rolling Mean (30 Minute)</c:v>
                  </c:pt>
                  <c:pt idx="797">
                    <c:v>Rolling Mean (30 Minute)</c:v>
                  </c:pt>
                  <c:pt idx="798">
                    <c:v>Rolling Mean (30 Minute)</c:v>
                  </c:pt>
                  <c:pt idx="799">
                    <c:v>Rolling Mean (30 Minute)</c:v>
                  </c:pt>
                  <c:pt idx="800">
                    <c:v>Rolling Mean (30 Minute)</c:v>
                  </c:pt>
                  <c:pt idx="801">
                    <c:v>Rolling Mean (30 Minute)</c:v>
                  </c:pt>
                  <c:pt idx="802">
                    <c:v>Rolling Mean (30 Minute)</c:v>
                  </c:pt>
                  <c:pt idx="803">
                    <c:v>Rolling Mean (30 Minute)</c:v>
                  </c:pt>
                  <c:pt idx="804">
                    <c:v>Rolling Mean (30 Minute)</c:v>
                  </c:pt>
                  <c:pt idx="805">
                    <c:v>Rolling Mean (30 Minute)</c:v>
                  </c:pt>
                  <c:pt idx="806">
                    <c:v>Rolling Mean (30 Minute)</c:v>
                  </c:pt>
                  <c:pt idx="807">
                    <c:v>Rolling Mean (30 Minute)</c:v>
                  </c:pt>
                  <c:pt idx="808">
                    <c:v>Rolling Mean (30 Minute)</c:v>
                  </c:pt>
                  <c:pt idx="809">
                    <c:v>Rolling Mean (30 Minute)</c:v>
                  </c:pt>
                  <c:pt idx="810">
                    <c:v>Rolling Mean (30 Minute)</c:v>
                  </c:pt>
                  <c:pt idx="811">
                    <c:v>Rolling Mean (30 Minute)</c:v>
                  </c:pt>
                  <c:pt idx="812">
                    <c:v>Rolling Mean (30 Minute)</c:v>
                  </c:pt>
                  <c:pt idx="813">
                    <c:v>Rolling Mean (30 Minute)</c:v>
                  </c:pt>
                  <c:pt idx="814">
                    <c:v>Rolling Mean (30 Minute)</c:v>
                  </c:pt>
                  <c:pt idx="815">
                    <c:v>Rolling Mean (30 Minute)</c:v>
                  </c:pt>
                  <c:pt idx="816">
                    <c:v>Rolling Mean (30 Minute)</c:v>
                  </c:pt>
                  <c:pt idx="817">
                    <c:v>Rolling Mean (30 Minute)</c:v>
                  </c:pt>
                  <c:pt idx="818">
                    <c:v>Rolling Mean (30 Minute)</c:v>
                  </c:pt>
                  <c:pt idx="819">
                    <c:v>Rolling Mean (30 Minute)</c:v>
                  </c:pt>
                  <c:pt idx="820">
                    <c:v>Rolling Mean (30 Minute)</c:v>
                  </c:pt>
                  <c:pt idx="821">
                    <c:v>Rolling Mean (30 Minute)</c:v>
                  </c:pt>
                  <c:pt idx="822">
                    <c:v>Rolling Mean (30 Minute)</c:v>
                  </c:pt>
                  <c:pt idx="823">
                    <c:v>Rolling Mean (30 Minute)</c:v>
                  </c:pt>
                  <c:pt idx="824">
                    <c:v>Rolling Mean (30 Minute)</c:v>
                  </c:pt>
                  <c:pt idx="825">
                    <c:v>Rolling Mean (30 Minute)</c:v>
                  </c:pt>
                  <c:pt idx="826">
                    <c:v>Rolling Mean (30 Minute)</c:v>
                  </c:pt>
                  <c:pt idx="827">
                    <c:v>Rolling Mean (30 Minute)</c:v>
                  </c:pt>
                  <c:pt idx="828">
                    <c:v>Rolling Mean (30 Minute)</c:v>
                  </c:pt>
                  <c:pt idx="829">
                    <c:v>Rolling Mean (30 Minute)</c:v>
                  </c:pt>
                  <c:pt idx="830">
                    <c:v>Rolling Mean (30 Minute)</c:v>
                  </c:pt>
                  <c:pt idx="831">
                    <c:v>Rolling Mean (30 Minute)</c:v>
                  </c:pt>
                  <c:pt idx="832">
                    <c:v>Rolling Mean (30 Minute)</c:v>
                  </c:pt>
                  <c:pt idx="833">
                    <c:v>Rolling Mean (30 Minute)</c:v>
                  </c:pt>
                  <c:pt idx="834">
                    <c:v>Rolling Mean (30 Minute)</c:v>
                  </c:pt>
                  <c:pt idx="835">
                    <c:v>Rolling Mean (30 Minute)</c:v>
                  </c:pt>
                  <c:pt idx="836">
                    <c:v>Rolling Mean (30 Minute)</c:v>
                  </c:pt>
                  <c:pt idx="837">
                    <c:v>Rolling Mean (30 Minute)</c:v>
                  </c:pt>
                  <c:pt idx="838">
                    <c:v>Rolling Mean (30 Minute)</c:v>
                  </c:pt>
                  <c:pt idx="839">
                    <c:v>Rolling Mean (30 Minute)</c:v>
                  </c:pt>
                  <c:pt idx="840">
                    <c:v>Rolling Mean (30 Minute)</c:v>
                  </c:pt>
                  <c:pt idx="841">
                    <c:v>Rolling Mean (30 Minute)</c:v>
                  </c:pt>
                  <c:pt idx="842">
                    <c:v>Rolling Mean (30 Minute)</c:v>
                  </c:pt>
                  <c:pt idx="843">
                    <c:v>Rolling Mean (30 Minute)</c:v>
                  </c:pt>
                  <c:pt idx="844">
                    <c:v>Rolling Mean (30 Minute)</c:v>
                  </c:pt>
                  <c:pt idx="845">
                    <c:v>Rolling Mean (30 Minute)</c:v>
                  </c:pt>
                  <c:pt idx="846">
                    <c:v>Rolling Mean (30 Minute)</c:v>
                  </c:pt>
                  <c:pt idx="847">
                    <c:v>Rolling Mean (30 Minute)</c:v>
                  </c:pt>
                  <c:pt idx="848">
                    <c:v>Rolling Mean (30 Minute)</c:v>
                  </c:pt>
                  <c:pt idx="849">
                    <c:v>Rolling Mean (30 Minute)</c:v>
                  </c:pt>
                  <c:pt idx="850">
                    <c:v>Rolling Mean (30 Minute)</c:v>
                  </c:pt>
                  <c:pt idx="851">
                    <c:v>Rolling Mean (30 Minute)</c:v>
                  </c:pt>
                  <c:pt idx="852">
                    <c:v>Rolling Mean (30 Minute)</c:v>
                  </c:pt>
                  <c:pt idx="853">
                    <c:v>Rolling Mean (30 Minute)</c:v>
                  </c:pt>
                  <c:pt idx="854">
                    <c:v>Rolling Mean (30 Minute)</c:v>
                  </c:pt>
                  <c:pt idx="855">
                    <c:v>Rolling Mean (30 Minute)</c:v>
                  </c:pt>
                  <c:pt idx="856">
                    <c:v>Rolling Mean (30 Minute)</c:v>
                  </c:pt>
                  <c:pt idx="857">
                    <c:v>Rolling Mean (30 Minute)</c:v>
                  </c:pt>
                  <c:pt idx="858">
                    <c:v>Rolling Mean (30 Minute)</c:v>
                  </c:pt>
                  <c:pt idx="859">
                    <c:v>Rolling Mean (30 Minute)</c:v>
                  </c:pt>
                  <c:pt idx="860">
                    <c:v>Rolling Mean (30 Minute)</c:v>
                  </c:pt>
                  <c:pt idx="861">
                    <c:v>Rolling Mean (30 Minute)</c:v>
                  </c:pt>
                  <c:pt idx="862">
                    <c:v>Rolling Mean (30 Minute)</c:v>
                  </c:pt>
                  <c:pt idx="863">
                    <c:v>Rolling Mean (30 Minute)</c:v>
                  </c:pt>
                  <c:pt idx="864">
                    <c:v>Rolling Mean (30 Minute)</c:v>
                  </c:pt>
                  <c:pt idx="865">
                    <c:v>Rolling Mean (30 Minute)</c:v>
                  </c:pt>
                  <c:pt idx="866">
                    <c:v>Rolling Mean (30 Minute)</c:v>
                  </c:pt>
                  <c:pt idx="867">
                    <c:v>Rolling Mean (30 Minute)</c:v>
                  </c:pt>
                  <c:pt idx="868">
                    <c:v>Rolling Mean (30 Minute)</c:v>
                  </c:pt>
                  <c:pt idx="869">
                    <c:v>Rolling Mean (30 Minute)</c:v>
                  </c:pt>
                  <c:pt idx="870">
                    <c:v>Rolling Mean (30 Minute)</c:v>
                  </c:pt>
                  <c:pt idx="871">
                    <c:v>Rolling Mean (30 Minute)</c:v>
                  </c:pt>
                  <c:pt idx="872">
                    <c:v>Rolling Mean (30 Minute)</c:v>
                  </c:pt>
                  <c:pt idx="873">
                    <c:v>Rolling Mean (30 Minute)</c:v>
                  </c:pt>
                  <c:pt idx="874">
                    <c:v>Rolling Mean (30 Minute)</c:v>
                  </c:pt>
                  <c:pt idx="875">
                    <c:v>Rolling Mean (30 Minute)</c:v>
                  </c:pt>
                  <c:pt idx="876">
                    <c:v>Rolling Mean (30 Minute)</c:v>
                  </c:pt>
                  <c:pt idx="877">
                    <c:v>Rolling Mean (30 Minute)</c:v>
                  </c:pt>
                  <c:pt idx="878">
                    <c:v>Rolling Mean (30 Minute)</c:v>
                  </c:pt>
                  <c:pt idx="879">
                    <c:v>Rolling Mean (30 Minute)</c:v>
                  </c:pt>
                  <c:pt idx="880">
                    <c:v>Rolling Mean (30 Minute)</c:v>
                  </c:pt>
                  <c:pt idx="881">
                    <c:v>Rolling Mean (30 Minute)</c:v>
                  </c:pt>
                  <c:pt idx="882">
                    <c:v>Rolling Mean (30 Minute)</c:v>
                  </c:pt>
                  <c:pt idx="883">
                    <c:v>Rolling Mean (30 Minute)</c:v>
                  </c:pt>
                  <c:pt idx="884">
                    <c:v>Rolling Mean (30 Minute)</c:v>
                  </c:pt>
                  <c:pt idx="885">
                    <c:v>Rolling Mean (30 Minute)</c:v>
                  </c:pt>
                  <c:pt idx="886">
                    <c:v>Rolling Mean (30 Minute)</c:v>
                  </c:pt>
                  <c:pt idx="887">
                    <c:v>Rolling Mean (30 Minute)</c:v>
                  </c:pt>
                  <c:pt idx="888">
                    <c:v>Rolling Mean (30 Minute)</c:v>
                  </c:pt>
                  <c:pt idx="889">
                    <c:v>Rolling Mean (30 Minute)</c:v>
                  </c:pt>
                  <c:pt idx="890">
                    <c:v>Rolling Mean (30 Minute)</c:v>
                  </c:pt>
                  <c:pt idx="891">
                    <c:v>Rolling Mean (30 Minute)</c:v>
                  </c:pt>
                  <c:pt idx="892">
                    <c:v>Rolling Mean (30 Minute)</c:v>
                  </c:pt>
                  <c:pt idx="893">
                    <c:v>Rolling Mean (30 Minute)</c:v>
                  </c:pt>
                  <c:pt idx="894">
                    <c:v>Rolling Mean (30 Minute)</c:v>
                  </c:pt>
                  <c:pt idx="895">
                    <c:v>Rolling Mean (30 Minute)</c:v>
                  </c:pt>
                  <c:pt idx="896">
                    <c:v>Rolling Mean (30 Minute)</c:v>
                  </c:pt>
                  <c:pt idx="897">
                    <c:v>Rolling Mean (30 Minute)</c:v>
                  </c:pt>
                  <c:pt idx="898">
                    <c:v>Rolling Mean (30 Minute)</c:v>
                  </c:pt>
                  <c:pt idx="899">
                    <c:v>Rolling Mean (30 Minute)</c:v>
                  </c:pt>
                  <c:pt idx="900">
                    <c:v>Rolling Mean (30 Minute)</c:v>
                  </c:pt>
                  <c:pt idx="901">
                    <c:v>Rolling Mean (30 Minute)</c:v>
                  </c:pt>
                  <c:pt idx="902">
                    <c:v>Rolling Mean (30 Minute)</c:v>
                  </c:pt>
                  <c:pt idx="903">
                    <c:v>Rolling Mean (30 Minute)</c:v>
                  </c:pt>
                  <c:pt idx="904">
                    <c:v>Rolling Mean (30 Minute)</c:v>
                  </c:pt>
                  <c:pt idx="905">
                    <c:v>Rolling Mean (30 Minute)</c:v>
                  </c:pt>
                  <c:pt idx="906">
                    <c:v>Rolling Mean (30 Minute)</c:v>
                  </c:pt>
                  <c:pt idx="907">
                    <c:v>Rolling Mean (30 Minute)</c:v>
                  </c:pt>
                  <c:pt idx="908">
                    <c:v>Rolling Mean (30 Minute)</c:v>
                  </c:pt>
                  <c:pt idx="909">
                    <c:v>Rolling Mean (30 Minute)</c:v>
                  </c:pt>
                  <c:pt idx="910">
                    <c:v>Rolling Mean (30 Minute)</c:v>
                  </c:pt>
                  <c:pt idx="911">
                    <c:v>Rolling Mean (30 Minute)</c:v>
                  </c:pt>
                  <c:pt idx="912">
                    <c:v>Rolling Mean (30 Minute)</c:v>
                  </c:pt>
                  <c:pt idx="913">
                    <c:v>Rolling Mean (30 Minute)</c:v>
                  </c:pt>
                  <c:pt idx="914">
                    <c:v>Rolling Mean (30 Minute)</c:v>
                  </c:pt>
                  <c:pt idx="915">
                    <c:v>Rolling Mean (30 Minute)</c:v>
                  </c:pt>
                  <c:pt idx="916">
                    <c:v>Rolling Mean (30 Minute)</c:v>
                  </c:pt>
                  <c:pt idx="917">
                    <c:v>Rolling Mean (30 Minute)</c:v>
                  </c:pt>
                  <c:pt idx="918">
                    <c:v>Rolling Mean (30 Minute)</c:v>
                  </c:pt>
                  <c:pt idx="919">
                    <c:v>Rolling Mean (30 Minute)</c:v>
                  </c:pt>
                  <c:pt idx="920">
                    <c:v>Rolling Mean (30 Minute)</c:v>
                  </c:pt>
                  <c:pt idx="921">
                    <c:v>Rolling Mean (30 Minute)</c:v>
                  </c:pt>
                  <c:pt idx="922">
                    <c:v>Rolling Mean (30 Minute)</c:v>
                  </c:pt>
                  <c:pt idx="923">
                    <c:v>Rolling Mean (30 Minute)</c:v>
                  </c:pt>
                  <c:pt idx="924">
                    <c:v>Rolling Mean (30 Minute)</c:v>
                  </c:pt>
                  <c:pt idx="925">
                    <c:v>Rolling Mean (30 Minute)</c:v>
                  </c:pt>
                  <c:pt idx="926">
                    <c:v>Rolling Mean (30 Minute)</c:v>
                  </c:pt>
                  <c:pt idx="927">
                    <c:v>Rolling Mean (30 Minute)</c:v>
                  </c:pt>
                  <c:pt idx="928">
                    <c:v>Rolling Mean (30 Minute)</c:v>
                  </c:pt>
                  <c:pt idx="929">
                    <c:v>Rolling Mean (30 Minute)</c:v>
                  </c:pt>
                  <c:pt idx="930">
                    <c:v>Rolling Mean (30 Minute)</c:v>
                  </c:pt>
                  <c:pt idx="931">
                    <c:v>Rolling Mean (30 Minute)</c:v>
                  </c:pt>
                  <c:pt idx="932">
                    <c:v>Rolling Mean (30 Minute)</c:v>
                  </c:pt>
                  <c:pt idx="933">
                    <c:v>Rolling Mean (30 Minute)</c:v>
                  </c:pt>
                  <c:pt idx="934">
                    <c:v>Rolling Mean (30 Minute)</c:v>
                  </c:pt>
                  <c:pt idx="935">
                    <c:v>Rolling Mean (30 Minute)</c:v>
                  </c:pt>
                  <c:pt idx="936">
                    <c:v>Rolling Mean (30 Minute)</c:v>
                  </c:pt>
                  <c:pt idx="937">
                    <c:v>Rolling Mean (30 Minute)</c:v>
                  </c:pt>
                  <c:pt idx="938">
                    <c:v>Rolling Mean (30 Minute)</c:v>
                  </c:pt>
                  <c:pt idx="939">
                    <c:v>Rolling Mean (30 Minute)</c:v>
                  </c:pt>
                  <c:pt idx="940">
                    <c:v>Rolling Mean (30 Minute)</c:v>
                  </c:pt>
                  <c:pt idx="941">
                    <c:v>Rolling Mean (30 Minute)</c:v>
                  </c:pt>
                  <c:pt idx="942">
                    <c:v>Rolling Mean (30 Minute)</c:v>
                  </c:pt>
                  <c:pt idx="943">
                    <c:v>Rolling Mean (30 Minute)</c:v>
                  </c:pt>
                  <c:pt idx="944">
                    <c:v>Rolling Mean (30 Minute)</c:v>
                  </c:pt>
                  <c:pt idx="945">
                    <c:v>Rolling Mean (30 Minute)</c:v>
                  </c:pt>
                  <c:pt idx="946">
                    <c:v>Rolling Mean (30 Minute)</c:v>
                  </c:pt>
                  <c:pt idx="947">
                    <c:v>Rolling Mean (30 Minute)</c:v>
                  </c:pt>
                  <c:pt idx="948">
                    <c:v>Rolling Mean (30 Minute)</c:v>
                  </c:pt>
                  <c:pt idx="949">
                    <c:v>Rolling Mean (30 Minute)</c:v>
                  </c:pt>
                  <c:pt idx="950">
                    <c:v>Rolling Mean (30 Minute)</c:v>
                  </c:pt>
                  <c:pt idx="951">
                    <c:v>Rolling Mean (30 Minute)</c:v>
                  </c:pt>
                  <c:pt idx="952">
                    <c:v>Rolling Mean (30 Minute)</c:v>
                  </c:pt>
                  <c:pt idx="953">
                    <c:v>Rolling Mean (30 Minute)</c:v>
                  </c:pt>
                  <c:pt idx="954">
                    <c:v>Rolling Mean (30 Minute)</c:v>
                  </c:pt>
                  <c:pt idx="955">
                    <c:v>Rolling Mean (30 Minute)</c:v>
                  </c:pt>
                  <c:pt idx="956">
                    <c:v>Rolling Mean (30 Minute)</c:v>
                  </c:pt>
                  <c:pt idx="957">
                    <c:v>Rolling Mean (30 Minute)</c:v>
                  </c:pt>
                  <c:pt idx="958">
                    <c:v>Rolling Mean (30 Minute)</c:v>
                  </c:pt>
                  <c:pt idx="959">
                    <c:v>Rolling Mean (30 Minute)</c:v>
                  </c:pt>
                  <c:pt idx="960">
                    <c:v>Rolling Mean (30 Minute)</c:v>
                  </c:pt>
                  <c:pt idx="961">
                    <c:v>Rolling Mean (30 Minute)</c:v>
                  </c:pt>
                  <c:pt idx="962">
                    <c:v>Rolling Mean (30 Minute)</c:v>
                  </c:pt>
                  <c:pt idx="963">
                    <c:v>Rolling Mean (30 Minute)</c:v>
                  </c:pt>
                  <c:pt idx="964">
                    <c:v>Rolling Mean (30 Minute)</c:v>
                  </c:pt>
                  <c:pt idx="965">
                    <c:v>Rolling Mean (30 Minute)</c:v>
                  </c:pt>
                  <c:pt idx="966">
                    <c:v>Rolling Mean (30 Minute)</c:v>
                  </c:pt>
                  <c:pt idx="967">
                    <c:v>Rolling Mean (30 Minute)</c:v>
                  </c:pt>
                  <c:pt idx="968">
                    <c:v>Rolling Mean (30 Minute)</c:v>
                  </c:pt>
                  <c:pt idx="969">
                    <c:v>Rolling Mean (30 Minute)</c:v>
                  </c:pt>
                  <c:pt idx="970">
                    <c:v>Rolling Mean (30 Minute)</c:v>
                  </c:pt>
                  <c:pt idx="971">
                    <c:v>Rolling Mean (30 Minute)</c:v>
                  </c:pt>
                  <c:pt idx="972">
                    <c:v>Rolling Mean (30 Minute)</c:v>
                  </c:pt>
                  <c:pt idx="973">
                    <c:v>Rolling Mean (30 Minute)</c:v>
                  </c:pt>
                  <c:pt idx="974">
                    <c:v>Rolling Mean (30 Minute)</c:v>
                  </c:pt>
                  <c:pt idx="975">
                    <c:v>Rolling Mean (30 Minute)</c:v>
                  </c:pt>
                  <c:pt idx="976">
                    <c:v>Rolling Mean (30 Minute)</c:v>
                  </c:pt>
                  <c:pt idx="977">
                    <c:v>Rolling Mean (30 Minute)</c:v>
                  </c:pt>
                  <c:pt idx="978">
                    <c:v>Rolling Mean (30 Minute)</c:v>
                  </c:pt>
                  <c:pt idx="979">
                    <c:v>Rolling Mean (30 Minute)</c:v>
                  </c:pt>
                  <c:pt idx="980">
                    <c:v>Rolling Mean (30 Minute)</c:v>
                  </c:pt>
                  <c:pt idx="981">
                    <c:v>Rolling Mean (30 Minute)</c:v>
                  </c:pt>
                  <c:pt idx="982">
                    <c:v>Rolling Mean (30 Minute)</c:v>
                  </c:pt>
                  <c:pt idx="983">
                    <c:v>Rolling Mean (30 Minute)</c:v>
                  </c:pt>
                  <c:pt idx="984">
                    <c:v>Rolling Mean (30 Minute)</c:v>
                  </c:pt>
                  <c:pt idx="985">
                    <c:v>Rolling Mean (30 Minute)</c:v>
                  </c:pt>
                  <c:pt idx="986">
                    <c:v>Rolling Mean (30 Minute)</c:v>
                  </c:pt>
                  <c:pt idx="987">
                    <c:v>Rolling Mean (30 Minute)</c:v>
                  </c:pt>
                  <c:pt idx="988">
                    <c:v>Rolling Mean (30 Minute)</c:v>
                  </c:pt>
                  <c:pt idx="989">
                    <c:v>Rolling Mean (30 Minute)</c:v>
                  </c:pt>
                  <c:pt idx="990">
                    <c:v>Rolling Mean (30 Minute)</c:v>
                  </c:pt>
                  <c:pt idx="991">
                    <c:v>Rolling Mean (30 Minute)</c:v>
                  </c:pt>
                  <c:pt idx="992">
                    <c:v>Rolling Mean (30 Minute)</c:v>
                  </c:pt>
                  <c:pt idx="993">
                    <c:v>Rolling Mean (30 Minute)</c:v>
                  </c:pt>
                  <c:pt idx="994">
                    <c:v>Rolling Mean (30 Minute)</c:v>
                  </c:pt>
                  <c:pt idx="995">
                    <c:v>Rolling Mean (30 Minute)</c:v>
                  </c:pt>
                  <c:pt idx="996">
                    <c:v>Rolling Mean (30 Minute)</c:v>
                  </c:pt>
                  <c:pt idx="997">
                    <c:v>Rolling Mean (30 Minute)</c:v>
                  </c:pt>
                  <c:pt idx="998">
                    <c:v>Rolling Mean (30 Minute)</c:v>
                  </c:pt>
                  <c:pt idx="999">
                    <c:v>Rolling Mean (30 Minute)</c:v>
                  </c:pt>
                  <c:pt idx="1000">
                    <c:v>Rolling Mean (30 Minute)</c:v>
                  </c:pt>
                  <c:pt idx="1001">
                    <c:v>Rolling Mean (30 Minute)</c:v>
                  </c:pt>
                  <c:pt idx="1002">
                    <c:v>Rolling Mean (30 Minute)</c:v>
                  </c:pt>
                  <c:pt idx="1003">
                    <c:v>Rolling Mean (30 Minute)</c:v>
                  </c:pt>
                  <c:pt idx="1004">
                    <c:v>Rolling Mean (30 Minute)</c:v>
                  </c:pt>
                  <c:pt idx="1005">
                    <c:v>Rolling Mean (30 Minute)</c:v>
                  </c:pt>
                  <c:pt idx="1006">
                    <c:v>Rolling Mean (30 Minute)</c:v>
                  </c:pt>
                  <c:pt idx="1007">
                    <c:v>Rolling Mean (30 Minute)</c:v>
                  </c:pt>
                  <c:pt idx="1008">
                    <c:v>Rolling Mean (30 Minute)</c:v>
                  </c:pt>
                  <c:pt idx="1009">
                    <c:v>Rolling Mean (30 Minute)</c:v>
                  </c:pt>
                  <c:pt idx="1010">
                    <c:v>Rolling Mean (30 Minute)</c:v>
                  </c:pt>
                  <c:pt idx="1011">
                    <c:v>Rolling Mean (30 Minute)</c:v>
                  </c:pt>
                  <c:pt idx="1012">
                    <c:v>Rolling Mean (30 Minute)</c:v>
                  </c:pt>
                  <c:pt idx="1013">
                    <c:v>Rolling Mean (30 Minute)</c:v>
                  </c:pt>
                  <c:pt idx="1014">
                    <c:v>Rolling Mean (30 Minute)</c:v>
                  </c:pt>
                  <c:pt idx="1015">
                    <c:v>Rolling Mean (30 Minute)</c:v>
                  </c:pt>
                  <c:pt idx="1016">
                    <c:v>Rolling Mean (30 Minute)</c:v>
                  </c:pt>
                  <c:pt idx="1017">
                    <c:v>Rolling Mean (30 Minute)</c:v>
                  </c:pt>
                  <c:pt idx="1018">
                    <c:v>Rolling Mean (30 Minute)</c:v>
                  </c:pt>
                  <c:pt idx="1019">
                    <c:v>Rolling Mean (30 Minute)</c:v>
                  </c:pt>
                  <c:pt idx="1020">
                    <c:v>Rolling Mean (30 Minute)</c:v>
                  </c:pt>
                  <c:pt idx="1021">
                    <c:v>Rolling Mean (30 Minute)</c:v>
                  </c:pt>
                  <c:pt idx="1022">
                    <c:v>Rolling Mean (30 Minute)</c:v>
                  </c:pt>
                  <c:pt idx="1023">
                    <c:v>Rolling Mean (30 Minute)</c:v>
                  </c:pt>
                  <c:pt idx="1024">
                    <c:v>Rolling Mean (30 Minute)</c:v>
                  </c:pt>
                  <c:pt idx="1025">
                    <c:v>Rolling Mean (30 Minute)</c:v>
                  </c:pt>
                  <c:pt idx="1026">
                    <c:v>Rolling Mean (30 Minute)</c:v>
                  </c:pt>
                  <c:pt idx="1027">
                    <c:v>Rolling Mean (30 Minute)</c:v>
                  </c:pt>
                  <c:pt idx="1028">
                    <c:v>Rolling Mean (30 Minute)</c:v>
                  </c:pt>
                  <c:pt idx="1029">
                    <c:v>Rolling Mean (30 Minute)</c:v>
                  </c:pt>
                  <c:pt idx="1030">
                    <c:v>Rolling Mean (30 Minute)</c:v>
                  </c:pt>
                  <c:pt idx="1031">
                    <c:v>Rolling Mean (30 Minute)</c:v>
                  </c:pt>
                  <c:pt idx="1032">
                    <c:v>Rolling Mean (30 Minute)</c:v>
                  </c:pt>
                  <c:pt idx="1033">
                    <c:v>Rolling Mean (30 Minute)</c:v>
                  </c:pt>
                  <c:pt idx="1034">
                    <c:v>Rolling Mean (30 Minute)</c:v>
                  </c:pt>
                  <c:pt idx="1035">
                    <c:v>Rolling Mean (30 Minute)</c:v>
                  </c:pt>
                  <c:pt idx="1036">
                    <c:v>Rolling Mean (30 Minute)</c:v>
                  </c:pt>
                  <c:pt idx="1037">
                    <c:v>Rolling Mean (30 Minute)</c:v>
                  </c:pt>
                  <c:pt idx="1038">
                    <c:v>Rolling Mean (30 Minute)</c:v>
                  </c:pt>
                  <c:pt idx="1039">
                    <c:v>Rolling Mean (30 Minute)</c:v>
                  </c:pt>
                  <c:pt idx="1040">
                    <c:v>Rolling Mean (30 Minute)</c:v>
                  </c:pt>
                  <c:pt idx="1041">
                    <c:v>Rolling Mean (30 Minute)</c:v>
                  </c:pt>
                  <c:pt idx="1042">
                    <c:v>Rolling Mean (30 Minute)</c:v>
                  </c:pt>
                  <c:pt idx="1043">
                    <c:v>Rolling Mean (30 Minute)</c:v>
                  </c:pt>
                  <c:pt idx="1044">
                    <c:v>Rolling Mean (30 Minute)</c:v>
                  </c:pt>
                  <c:pt idx="1045">
                    <c:v>Rolling Mean (30 Minute)</c:v>
                  </c:pt>
                  <c:pt idx="1046">
                    <c:v>Rolling Mean (30 Minute)</c:v>
                  </c:pt>
                  <c:pt idx="1047">
                    <c:v>Rolling Mean (30 Minute)</c:v>
                  </c:pt>
                  <c:pt idx="1048">
                    <c:v>Rolling Mean (30 Minute)</c:v>
                  </c:pt>
                  <c:pt idx="1049">
                    <c:v>Rolling Mean (30 Minute)</c:v>
                  </c:pt>
                  <c:pt idx="1050">
                    <c:v>Rolling Mean (30 Minute)</c:v>
                  </c:pt>
                  <c:pt idx="1051">
                    <c:v>Rolling Mean (30 Minute)</c:v>
                  </c:pt>
                  <c:pt idx="1052">
                    <c:v>Rolling Mean (30 Minute)</c:v>
                  </c:pt>
                  <c:pt idx="1053">
                    <c:v>Rolling Mean (30 Minute)</c:v>
                  </c:pt>
                  <c:pt idx="1054">
                    <c:v>Rolling Mean (30 Minute)</c:v>
                  </c:pt>
                  <c:pt idx="1055">
                    <c:v>Rolling Mean (30 Minute)</c:v>
                  </c:pt>
                  <c:pt idx="1056">
                    <c:v>Rolling Mean (30 Minute)</c:v>
                  </c:pt>
                  <c:pt idx="1057">
                    <c:v>Rolling Mean (30 Minute)</c:v>
                  </c:pt>
                  <c:pt idx="1058">
                    <c:v>Rolling Mean (30 Minute)</c:v>
                  </c:pt>
                  <c:pt idx="1059">
                    <c:v>Rolling Mean (30 Minute)</c:v>
                  </c:pt>
                  <c:pt idx="1060">
                    <c:v>Rolling Mean (30 Minute)</c:v>
                  </c:pt>
                  <c:pt idx="1061">
                    <c:v>Rolling Mean (30 Minute)</c:v>
                  </c:pt>
                  <c:pt idx="1062">
                    <c:v>Rolling Mean (30 Minute)</c:v>
                  </c:pt>
                  <c:pt idx="1063">
                    <c:v>Rolling Mean (30 Minute)</c:v>
                  </c:pt>
                  <c:pt idx="1064">
                    <c:v>Rolling Mean (30 Minute)</c:v>
                  </c:pt>
                  <c:pt idx="1065">
                    <c:v>Rolling Mean (30 Minute)</c:v>
                  </c:pt>
                  <c:pt idx="1066">
                    <c:v>Rolling Mean (30 Minute)</c:v>
                  </c:pt>
                  <c:pt idx="1067">
                    <c:v>Rolling Mean (30 Minute)</c:v>
                  </c:pt>
                  <c:pt idx="1068">
                    <c:v>Rolling Mean (30 Minute)</c:v>
                  </c:pt>
                  <c:pt idx="1069">
                    <c:v>Rolling Mean (30 Minute)</c:v>
                  </c:pt>
                  <c:pt idx="1070">
                    <c:v>Rolling Mean (30 Minute)</c:v>
                  </c:pt>
                  <c:pt idx="1071">
                    <c:v>Rolling Mean (30 Minute)</c:v>
                  </c:pt>
                  <c:pt idx="1072">
                    <c:v>Rolling Mean (30 Minute)</c:v>
                  </c:pt>
                  <c:pt idx="1073">
                    <c:v>Rolling Mean (30 Minute)</c:v>
                  </c:pt>
                  <c:pt idx="1074">
                    <c:v>Rolling Mean (30 Minute)</c:v>
                  </c:pt>
                  <c:pt idx="1075">
                    <c:v>Rolling Mean (30 Minute)</c:v>
                  </c:pt>
                  <c:pt idx="1076">
                    <c:v>Rolling Mean (30 Minute)</c:v>
                  </c:pt>
                  <c:pt idx="1077">
                    <c:v>Rolling Mean (30 Minute)</c:v>
                  </c:pt>
                  <c:pt idx="1078">
                    <c:v>Rolling Mean (30 Minute)</c:v>
                  </c:pt>
                  <c:pt idx="1079">
                    <c:v>Rolling Mean (30 Minute)</c:v>
                  </c:pt>
                  <c:pt idx="1080">
                    <c:v>Rolling Mean (30 Minute)</c:v>
                  </c:pt>
                  <c:pt idx="1081">
                    <c:v>Rolling Mean (30 Minute)</c:v>
                  </c:pt>
                  <c:pt idx="1082">
                    <c:v>Rolling Mean (30 Minute)</c:v>
                  </c:pt>
                  <c:pt idx="1083">
                    <c:v>Rolling Mean (30 Minute)</c:v>
                  </c:pt>
                  <c:pt idx="1084">
                    <c:v>Rolling Mean (30 Minute)</c:v>
                  </c:pt>
                  <c:pt idx="1085">
                    <c:v>Rolling Mean (30 Minute)</c:v>
                  </c:pt>
                  <c:pt idx="1086">
                    <c:v>Rolling Mean (30 Minute)</c:v>
                  </c:pt>
                  <c:pt idx="1087">
                    <c:v>Rolling Mean (30 Minute)</c:v>
                  </c:pt>
                  <c:pt idx="1088">
                    <c:v>Rolling Mean (30 Minute)</c:v>
                  </c:pt>
                  <c:pt idx="1089">
                    <c:v>Rolling Mean (30 Minute)</c:v>
                  </c:pt>
                  <c:pt idx="1090">
                    <c:v>Rolling Mean (30 Minute)</c:v>
                  </c:pt>
                  <c:pt idx="1091">
                    <c:v>Rolling Mean (30 Minute)</c:v>
                  </c:pt>
                  <c:pt idx="1092">
                    <c:v>Rolling Mean (30 Minute)</c:v>
                  </c:pt>
                  <c:pt idx="1093">
                    <c:v>Rolling Mean (30 Minute)</c:v>
                  </c:pt>
                  <c:pt idx="1094">
                    <c:v>Rolling Mean (30 Minute)</c:v>
                  </c:pt>
                  <c:pt idx="1095">
                    <c:v>Rolling Mean (30 Minute)</c:v>
                  </c:pt>
                  <c:pt idx="1096">
                    <c:v>Rolling Mean (30 Minute)</c:v>
                  </c:pt>
                  <c:pt idx="1097">
                    <c:v>Rolling Mean (30 Minute)</c:v>
                  </c:pt>
                  <c:pt idx="1098">
                    <c:v>Rolling Mean (30 Minute)</c:v>
                  </c:pt>
                  <c:pt idx="1099">
                    <c:v>Rolling Mean (30 Minute)</c:v>
                  </c:pt>
                  <c:pt idx="1100">
                    <c:v>Rolling Mean (30 Minute)</c:v>
                  </c:pt>
                  <c:pt idx="1101">
                    <c:v>Rolling Mean (30 Minute)</c:v>
                  </c:pt>
                  <c:pt idx="1102">
                    <c:v>Rolling Mean (30 Minute)</c:v>
                  </c:pt>
                  <c:pt idx="1103">
                    <c:v>Rolling Mean (30 Minute)</c:v>
                  </c:pt>
                  <c:pt idx="1104">
                    <c:v>Rolling Mean (30 Minute)</c:v>
                  </c:pt>
                  <c:pt idx="1105">
                    <c:v>Rolling Mean (30 Minute)</c:v>
                  </c:pt>
                  <c:pt idx="1106">
                    <c:v>Rolling Mean (30 Minute)</c:v>
                  </c:pt>
                  <c:pt idx="1107">
                    <c:v>Rolling Mean (30 Minute)</c:v>
                  </c:pt>
                  <c:pt idx="1108">
                    <c:v>Rolling Mean (30 Minute)</c:v>
                  </c:pt>
                  <c:pt idx="1109">
                    <c:v>Rolling Mean (30 Minute)</c:v>
                  </c:pt>
                  <c:pt idx="1110">
                    <c:v>Rolling Mean (30 Minute)</c:v>
                  </c:pt>
                  <c:pt idx="1111">
                    <c:v>Rolling Mean (30 Minute)</c:v>
                  </c:pt>
                  <c:pt idx="1112">
                    <c:v>Rolling Mean (30 Minute)</c:v>
                  </c:pt>
                  <c:pt idx="1113">
                    <c:v>Rolling Mean (30 Minute)</c:v>
                  </c:pt>
                  <c:pt idx="1114">
                    <c:v>Rolling Mean (30 Minute)</c:v>
                  </c:pt>
                  <c:pt idx="1115">
                    <c:v>Rolling Mean (30 Minute)</c:v>
                  </c:pt>
                  <c:pt idx="1116">
                    <c:v>Rolling Mean (30 Minute)</c:v>
                  </c:pt>
                  <c:pt idx="1117">
                    <c:v>Rolling Mean (30 Minute)</c:v>
                  </c:pt>
                  <c:pt idx="1118">
                    <c:v>Rolling Mean (30 Minute)</c:v>
                  </c:pt>
                  <c:pt idx="1119">
                    <c:v>Rolling Mean (30 Minute)</c:v>
                  </c:pt>
                  <c:pt idx="1120">
                    <c:v>Rolling Mean (30 Minute)</c:v>
                  </c:pt>
                  <c:pt idx="1121">
                    <c:v>Rolling Mean (30 Minute)</c:v>
                  </c:pt>
                  <c:pt idx="1122">
                    <c:v>Rolling Mean (30 Minute)</c:v>
                  </c:pt>
                  <c:pt idx="1123">
                    <c:v>Rolling Mean (30 Minute)</c:v>
                  </c:pt>
                  <c:pt idx="1124">
                    <c:v>Rolling Mean (30 Minute)</c:v>
                  </c:pt>
                  <c:pt idx="1125">
                    <c:v>Rolling Mean (30 Minute)</c:v>
                  </c:pt>
                  <c:pt idx="1126">
                    <c:v>Rolling Mean (30 Minute)</c:v>
                  </c:pt>
                  <c:pt idx="1127">
                    <c:v>Rolling Mean (30 Minute)</c:v>
                  </c:pt>
                  <c:pt idx="1128">
                    <c:v>Rolling Mean (30 Minute)</c:v>
                  </c:pt>
                  <c:pt idx="1129">
                    <c:v>Rolling Mean (30 Minute)</c:v>
                  </c:pt>
                  <c:pt idx="1130">
                    <c:v>Rolling Mean (30 Minute)</c:v>
                  </c:pt>
                  <c:pt idx="1131">
                    <c:v>Rolling Mean (30 Minute)</c:v>
                  </c:pt>
                  <c:pt idx="1132">
                    <c:v>Rolling Mean (30 Minute)</c:v>
                  </c:pt>
                  <c:pt idx="1133">
                    <c:v>Rolling Mean (30 Minute)</c:v>
                  </c:pt>
                  <c:pt idx="1134">
                    <c:v>Rolling Mean (30 Minute)</c:v>
                  </c:pt>
                  <c:pt idx="1135">
                    <c:v>Rolling Mean (30 Minute)</c:v>
                  </c:pt>
                  <c:pt idx="1136">
                    <c:v>Rolling Mean (30 Minute)</c:v>
                  </c:pt>
                  <c:pt idx="1137">
                    <c:v>Rolling Mean (30 Minute)</c:v>
                  </c:pt>
                  <c:pt idx="1138">
                    <c:v>Rolling Mean (30 Minute)</c:v>
                  </c:pt>
                  <c:pt idx="1139">
                    <c:v>Rolling Mean (30 Minute)</c:v>
                  </c:pt>
                  <c:pt idx="1140">
                    <c:v>Rolling Mean (30 Minute)</c:v>
                  </c:pt>
                  <c:pt idx="1141">
                    <c:v>Rolling Mean (30 Minute)</c:v>
                  </c:pt>
                  <c:pt idx="1142">
                    <c:v>Rolling Mean (30 Minute)</c:v>
                  </c:pt>
                  <c:pt idx="1143">
                    <c:v>Rolling Mean (30 Minute)</c:v>
                  </c:pt>
                  <c:pt idx="1144">
                    <c:v>Rolling Mean (30 Minute)</c:v>
                  </c:pt>
                  <c:pt idx="1145">
                    <c:v>Rolling Mean (30 Minute)</c:v>
                  </c:pt>
                  <c:pt idx="1146">
                    <c:v>Rolling Mean (30 Minute)</c:v>
                  </c:pt>
                  <c:pt idx="1147">
                    <c:v>Rolling Mean (30 Minute)</c:v>
                  </c:pt>
                  <c:pt idx="1148">
                    <c:v>Rolling Mean (30 Minute)</c:v>
                  </c:pt>
                  <c:pt idx="1149">
                    <c:v>Rolling Mean (30 Minute)</c:v>
                  </c:pt>
                  <c:pt idx="1150">
                    <c:v>Rolling Mean (30 Minute)</c:v>
                  </c:pt>
                  <c:pt idx="1151">
                    <c:v>Rolling Mean (30 Minute)</c:v>
                  </c:pt>
                  <c:pt idx="1152">
                    <c:v>Rolling Mean (30 Minute)</c:v>
                  </c:pt>
                  <c:pt idx="1153">
                    <c:v>Rolling Mean (30 Minute)</c:v>
                  </c:pt>
                  <c:pt idx="1154">
                    <c:v>Rolling Mean (30 Minute)</c:v>
                  </c:pt>
                  <c:pt idx="1155">
                    <c:v>Rolling Mean (30 Minute)</c:v>
                  </c:pt>
                  <c:pt idx="1156">
                    <c:v>Rolling Mean (30 Minute)</c:v>
                  </c:pt>
                  <c:pt idx="1157">
                    <c:v>Rolling Mean (30 Minute)</c:v>
                  </c:pt>
                  <c:pt idx="1158">
                    <c:v>Rolling Mean (30 Minute)</c:v>
                  </c:pt>
                  <c:pt idx="1159">
                    <c:v>Rolling Mean (30 Minute)</c:v>
                  </c:pt>
                  <c:pt idx="1160">
                    <c:v>Rolling Mean (30 Minute)</c:v>
                  </c:pt>
                  <c:pt idx="1161">
                    <c:v>Rolling Mean (30 Minute)</c:v>
                  </c:pt>
                  <c:pt idx="1162">
                    <c:v>Rolling Mean (30 Minute)</c:v>
                  </c:pt>
                  <c:pt idx="1163">
                    <c:v>Rolling Mean (30 Minute)</c:v>
                  </c:pt>
                  <c:pt idx="1164">
                    <c:v>Rolling Mean (30 Minute)</c:v>
                  </c:pt>
                  <c:pt idx="1165">
                    <c:v>Rolling Mean (30 Minute)</c:v>
                  </c:pt>
                  <c:pt idx="1166">
                    <c:v>Rolling Mean (30 Minute)</c:v>
                  </c:pt>
                  <c:pt idx="1167">
                    <c:v>Rolling Mean (30 Minute)</c:v>
                  </c:pt>
                  <c:pt idx="1168">
                    <c:v>Rolling Mean (30 Minute)</c:v>
                  </c:pt>
                  <c:pt idx="1169">
                    <c:v>Rolling Mean (30 Minute)</c:v>
                  </c:pt>
                  <c:pt idx="1170">
                    <c:v>Rolling Mean (30 Minute)</c:v>
                  </c:pt>
                  <c:pt idx="1171">
                    <c:v>Rolling Mean (30 Minute)</c:v>
                  </c:pt>
                  <c:pt idx="1172">
                    <c:v>Rolling Mean (30 Minute)</c:v>
                  </c:pt>
                  <c:pt idx="1173">
                    <c:v>Rolling Mean (30 Minute)</c:v>
                  </c:pt>
                  <c:pt idx="1174">
                    <c:v>Rolling Mean (30 Minute)</c:v>
                  </c:pt>
                  <c:pt idx="1175">
                    <c:v>Rolling Mean (30 Minute)</c:v>
                  </c:pt>
                  <c:pt idx="1176">
                    <c:v>Rolling Mean (30 Minute)</c:v>
                  </c:pt>
                  <c:pt idx="1177">
                    <c:v>Rolling Mean (30 Minute)</c:v>
                  </c:pt>
                  <c:pt idx="1178">
                    <c:v>Rolling Mean (30 Minute)</c:v>
                  </c:pt>
                  <c:pt idx="1179">
                    <c:v>Rolling Mean (30 Minute)</c:v>
                  </c:pt>
                  <c:pt idx="1180">
                    <c:v>Rolling Mean (30 Minute)</c:v>
                  </c:pt>
                  <c:pt idx="1181">
                    <c:v>Rolling Mean (30 Minute)</c:v>
                  </c:pt>
                  <c:pt idx="1182">
                    <c:v>Rolling Mean (30 Minute)</c:v>
                  </c:pt>
                  <c:pt idx="1183">
                    <c:v>Rolling Mean (30 Minute)</c:v>
                  </c:pt>
                  <c:pt idx="1184">
                    <c:v>Rolling Mean (30 Minute)</c:v>
                  </c:pt>
                  <c:pt idx="1185">
                    <c:v>Rolling Mean (30 Minute)</c:v>
                  </c:pt>
                  <c:pt idx="1186">
                    <c:v>Rolling Mean (30 Minute)</c:v>
                  </c:pt>
                  <c:pt idx="1187">
                    <c:v>Rolling Mean (30 Minute)</c:v>
                  </c:pt>
                  <c:pt idx="1188">
                    <c:v>Rolling Mean (30 Minute)</c:v>
                  </c:pt>
                  <c:pt idx="1189">
                    <c:v>Rolling Mean (30 Minute)</c:v>
                  </c:pt>
                  <c:pt idx="1190">
                    <c:v>Rolling Mean (30 Minute)</c:v>
                  </c:pt>
                  <c:pt idx="1191">
                    <c:v>Rolling Mean (30 Minute)</c:v>
                  </c:pt>
                  <c:pt idx="1192">
                    <c:v>Rolling Mean (30 Minute)</c:v>
                  </c:pt>
                  <c:pt idx="1193">
                    <c:v>Rolling Mean (30 Minute)</c:v>
                  </c:pt>
                  <c:pt idx="1194">
                    <c:v>Rolling Mean (30 Minute)</c:v>
                  </c:pt>
                  <c:pt idx="1195">
                    <c:v>Rolling Mean (30 Minute)</c:v>
                  </c:pt>
                  <c:pt idx="1196">
                    <c:v>Rolling Mean (30 Minute)</c:v>
                  </c:pt>
                  <c:pt idx="1197">
                    <c:v>Rolling Mean (30 Minute)</c:v>
                  </c:pt>
                  <c:pt idx="1198">
                    <c:v>Rolling Mean (30 Minute)</c:v>
                  </c:pt>
                  <c:pt idx="1199">
                    <c:v>Rolling Mean (30 Minute)</c:v>
                  </c:pt>
                  <c:pt idx="1200">
                    <c:v>Rolling Mean (30 Minute)</c:v>
                  </c:pt>
                  <c:pt idx="1201">
                    <c:v>Rolling Mean (30 Minute)</c:v>
                  </c:pt>
                  <c:pt idx="1202">
                    <c:v>Rolling Mean (30 Minute)</c:v>
                  </c:pt>
                  <c:pt idx="1203">
                    <c:v>Rolling Mean (30 Minute)</c:v>
                  </c:pt>
                  <c:pt idx="1204">
                    <c:v>Rolling Mean (30 Minute)</c:v>
                  </c:pt>
                  <c:pt idx="1205">
                    <c:v>Rolling Mean (30 Minute)</c:v>
                  </c:pt>
                  <c:pt idx="1206">
                    <c:v>Rolling Mean (30 Minute)</c:v>
                  </c:pt>
                  <c:pt idx="1207">
                    <c:v>Rolling Mean (30 Minute)</c:v>
                  </c:pt>
                  <c:pt idx="1208">
                    <c:v>Rolling Mean (30 Minute)</c:v>
                  </c:pt>
                  <c:pt idx="1209">
                    <c:v>Rolling Mean (30 Minute)</c:v>
                  </c:pt>
                  <c:pt idx="1210">
                    <c:v>Rolling Mean (30 Minute)</c:v>
                  </c:pt>
                  <c:pt idx="1211">
                    <c:v>Rolling Mean (30 Minute)</c:v>
                  </c:pt>
                  <c:pt idx="1212">
                    <c:v>Rolling Mean (30 Minute)</c:v>
                  </c:pt>
                  <c:pt idx="1213">
                    <c:v>Rolling Mean (30 Minute)</c:v>
                  </c:pt>
                  <c:pt idx="1214">
                    <c:v>Rolling Mean (30 Minute)</c:v>
                  </c:pt>
                  <c:pt idx="1215">
                    <c:v>Rolling Mean (30 Minute)</c:v>
                  </c:pt>
                  <c:pt idx="1216">
                    <c:v>Rolling Mean (30 Minute)</c:v>
                  </c:pt>
                  <c:pt idx="1217">
                    <c:v>Rolling Mean (30 Minute)</c:v>
                  </c:pt>
                  <c:pt idx="1218">
                    <c:v>Rolling Mean (30 Minute)</c:v>
                  </c:pt>
                  <c:pt idx="1219">
                    <c:v>Rolling Mean (30 Minute)</c:v>
                  </c:pt>
                  <c:pt idx="1220">
                    <c:v>Rolling Mean (30 Minute)</c:v>
                  </c:pt>
                  <c:pt idx="1221">
                    <c:v>Rolling Mean (30 Minute)</c:v>
                  </c:pt>
                  <c:pt idx="1222">
                    <c:v>Rolling Mean (30 Minute)</c:v>
                  </c:pt>
                  <c:pt idx="1223">
                    <c:v>Rolling Mean (30 Minute)</c:v>
                  </c:pt>
                  <c:pt idx="1224">
                    <c:v>Rolling Mean (30 Minute)</c:v>
                  </c:pt>
                  <c:pt idx="1225">
                    <c:v>Rolling Mean (30 Minute)</c:v>
                  </c:pt>
                  <c:pt idx="1226">
                    <c:v>Rolling Mean (30 Minute)</c:v>
                  </c:pt>
                  <c:pt idx="1227">
                    <c:v>Rolling Mean (30 Minute)</c:v>
                  </c:pt>
                  <c:pt idx="1228">
                    <c:v>Rolling Mean (30 Minute)</c:v>
                  </c:pt>
                  <c:pt idx="1229">
                    <c:v>Rolling Mean (30 Minute)</c:v>
                  </c:pt>
                  <c:pt idx="1230">
                    <c:v>Rolling Mean (30 Minute)</c:v>
                  </c:pt>
                  <c:pt idx="1231">
                    <c:v>Rolling Mean (30 Minute)</c:v>
                  </c:pt>
                  <c:pt idx="1232">
                    <c:v>Rolling Mean (30 Minute)</c:v>
                  </c:pt>
                  <c:pt idx="1233">
                    <c:v>Rolling Mean (30 Minute)</c:v>
                  </c:pt>
                  <c:pt idx="1234">
                    <c:v>Rolling Mean (30 Minute)</c:v>
                  </c:pt>
                  <c:pt idx="1235">
                    <c:v>Rolling Mean (30 Minute)</c:v>
                  </c:pt>
                  <c:pt idx="1236">
                    <c:v>Rolling Mean (30 Minute)</c:v>
                  </c:pt>
                  <c:pt idx="1237">
                    <c:v>Rolling Mean (30 Minute)</c:v>
                  </c:pt>
                  <c:pt idx="1238">
                    <c:v>Rolling Mean (30 Minute)</c:v>
                  </c:pt>
                  <c:pt idx="1239">
                    <c:v>Rolling Mean (30 Minute)</c:v>
                  </c:pt>
                  <c:pt idx="1240">
                    <c:v>Rolling Mean (30 Minute)</c:v>
                  </c:pt>
                  <c:pt idx="1241">
                    <c:v>Rolling Mean (30 Minute)</c:v>
                  </c:pt>
                  <c:pt idx="1242">
                    <c:v>Rolling Mean (30 Minute)</c:v>
                  </c:pt>
                  <c:pt idx="1243">
                    <c:v>Rolling Mean (30 Minute)</c:v>
                  </c:pt>
                  <c:pt idx="1244">
                    <c:v>Rolling Mean (30 Minute)</c:v>
                  </c:pt>
                  <c:pt idx="1245">
                    <c:v>Rolling Mean (30 Minute)</c:v>
                  </c:pt>
                  <c:pt idx="1246">
                    <c:v>Rolling Mean (30 Minute)</c:v>
                  </c:pt>
                  <c:pt idx="1247">
                    <c:v>Rolling Mean (30 Minute)</c:v>
                  </c:pt>
                  <c:pt idx="1248">
                    <c:v>Rolling Mean (30 Minute)</c:v>
                  </c:pt>
                  <c:pt idx="1249">
                    <c:v>Rolling Mean (30 Minute)</c:v>
                  </c:pt>
                  <c:pt idx="1250">
                    <c:v>Rolling Mean (30 Minute)</c:v>
                  </c:pt>
                  <c:pt idx="1251">
                    <c:v>Rolling Mean (30 Minute)</c:v>
                  </c:pt>
                  <c:pt idx="1252">
                    <c:v>Rolling Mean (30 Minute)</c:v>
                  </c:pt>
                  <c:pt idx="1253">
                    <c:v>Rolling Mean (30 Minute)</c:v>
                  </c:pt>
                  <c:pt idx="1254">
                    <c:v>Rolling Mean (30 Minute)</c:v>
                  </c:pt>
                  <c:pt idx="1255">
                    <c:v>Rolling Mean (30 Minute)</c:v>
                  </c:pt>
                  <c:pt idx="1256">
                    <c:v>Rolling Mean (30 Minute)</c:v>
                  </c:pt>
                  <c:pt idx="1257">
                    <c:v>Rolling Mean (30 Minute)</c:v>
                  </c:pt>
                  <c:pt idx="1258">
                    <c:v>Rolling Mean (30 Minute)</c:v>
                  </c:pt>
                  <c:pt idx="1259">
                    <c:v>Rolling Mean (30 Minute)</c:v>
                  </c:pt>
                  <c:pt idx="1260">
                    <c:v>Rolling Mean (30 Minute)</c:v>
                  </c:pt>
                  <c:pt idx="1261">
                    <c:v>Rolling Mean (30 Minute)</c:v>
                  </c:pt>
                  <c:pt idx="1262">
                    <c:v>Rolling Mean (30 Minute)</c:v>
                  </c:pt>
                  <c:pt idx="1263">
                    <c:v>Rolling Mean (30 Minute)</c:v>
                  </c:pt>
                  <c:pt idx="1264">
                    <c:v>Rolling Mean (30 Minute)</c:v>
                  </c:pt>
                  <c:pt idx="1265">
                    <c:v>Rolling Mean (30 Minute)</c:v>
                  </c:pt>
                  <c:pt idx="1266">
                    <c:v>Rolling Mean (30 Minute)</c:v>
                  </c:pt>
                  <c:pt idx="1267">
                    <c:v>Rolling Mean (30 Minute)</c:v>
                  </c:pt>
                  <c:pt idx="1268">
                    <c:v>Rolling Mean (30 Minute)</c:v>
                  </c:pt>
                  <c:pt idx="1269">
                    <c:v>Rolling Mean (30 Minute)</c:v>
                  </c:pt>
                  <c:pt idx="1270">
                    <c:v>Rolling Mean (30 Minute)</c:v>
                  </c:pt>
                  <c:pt idx="1271">
                    <c:v>Rolling Mean (30 Minute)</c:v>
                  </c:pt>
                  <c:pt idx="1272">
                    <c:v>Rolling Mean (30 Minute)</c:v>
                  </c:pt>
                  <c:pt idx="1273">
                    <c:v>Rolling Mean (30 Minute)</c:v>
                  </c:pt>
                  <c:pt idx="1274">
                    <c:v>Rolling Mean (30 Minute)</c:v>
                  </c:pt>
                  <c:pt idx="1275">
                    <c:v>Rolling Mean (30 Minute)</c:v>
                  </c:pt>
                  <c:pt idx="1276">
                    <c:v>Rolling Mean (30 Minute)</c:v>
                  </c:pt>
                  <c:pt idx="1277">
                    <c:v>Rolling Mean (30 Minute)</c:v>
                  </c:pt>
                  <c:pt idx="1278">
                    <c:v>Rolling Mean (30 Minute)</c:v>
                  </c:pt>
                  <c:pt idx="1279">
                    <c:v>Rolling Mean (30 Minute)</c:v>
                  </c:pt>
                  <c:pt idx="1280">
                    <c:v>Rolling Mean (30 Minute)</c:v>
                  </c:pt>
                  <c:pt idx="1281">
                    <c:v>Rolling Mean (30 Minute)</c:v>
                  </c:pt>
                  <c:pt idx="1282">
                    <c:v>Rolling Mean (30 Minute)</c:v>
                  </c:pt>
                  <c:pt idx="1283">
                    <c:v>Rolling Mean (30 Minute)</c:v>
                  </c:pt>
                  <c:pt idx="1284">
                    <c:v>Rolling Mean (30 Minute)</c:v>
                  </c:pt>
                  <c:pt idx="1285">
                    <c:v>Rolling Mean (30 Minute)</c:v>
                  </c:pt>
                  <c:pt idx="1286">
                    <c:v>Rolling Mean (30 Minute)</c:v>
                  </c:pt>
                  <c:pt idx="1287">
                    <c:v>Rolling Mean (30 Minute)</c:v>
                  </c:pt>
                  <c:pt idx="1288">
                    <c:v>Rolling Mean (30 Minute)</c:v>
                  </c:pt>
                  <c:pt idx="1289">
                    <c:v>Rolling Mean (30 Minute)</c:v>
                  </c:pt>
                  <c:pt idx="1290">
                    <c:v>Rolling Mean (30 Minute)</c:v>
                  </c:pt>
                  <c:pt idx="1291">
                    <c:v>Rolling Mean (30 Minute)</c:v>
                  </c:pt>
                  <c:pt idx="1292">
                    <c:v>Rolling Mean (30 Minute)</c:v>
                  </c:pt>
                  <c:pt idx="1293">
                    <c:v>Rolling Mean (30 Minute)</c:v>
                  </c:pt>
                  <c:pt idx="1294">
                    <c:v>Rolling Mean (30 Minute)</c:v>
                  </c:pt>
                  <c:pt idx="1295">
                    <c:v>Rolling Mean (30 Minute)</c:v>
                  </c:pt>
                  <c:pt idx="1296">
                    <c:v>Rolling Mean (30 Minute)</c:v>
                  </c:pt>
                  <c:pt idx="1297">
                    <c:v>Rolling Mean (30 Minute)</c:v>
                  </c:pt>
                  <c:pt idx="1298">
                    <c:v>Rolling Mean (30 Minute)</c:v>
                  </c:pt>
                  <c:pt idx="1299">
                    <c:v>Rolling Mean (30 Minute)</c:v>
                  </c:pt>
                  <c:pt idx="1300">
                    <c:v>Rolling Mean (30 Minute)</c:v>
                  </c:pt>
                  <c:pt idx="1301">
                    <c:v>Rolling Mean (30 Minute)</c:v>
                  </c:pt>
                  <c:pt idx="1302">
                    <c:v>Rolling Mean (30 Minute)</c:v>
                  </c:pt>
                  <c:pt idx="1303">
                    <c:v>Rolling Mean (30 Minute)</c:v>
                  </c:pt>
                  <c:pt idx="1304">
                    <c:v>Rolling Mean (30 Minute)</c:v>
                  </c:pt>
                  <c:pt idx="1305">
                    <c:v>Rolling Mean (30 Minute)</c:v>
                  </c:pt>
                  <c:pt idx="1306">
                    <c:v>Rolling Mean (30 Minute)</c:v>
                  </c:pt>
                  <c:pt idx="1307">
                    <c:v>Rolling Mean (30 Minute)</c:v>
                  </c:pt>
                  <c:pt idx="1308">
                    <c:v>Rolling Mean (30 Minute)</c:v>
                  </c:pt>
                  <c:pt idx="1309">
                    <c:v>Rolling Mean (30 Minute)</c:v>
                  </c:pt>
                  <c:pt idx="1310">
                    <c:v>Rolling Mean (30 Minute)</c:v>
                  </c:pt>
                  <c:pt idx="1311">
                    <c:v>Rolling Mean (30 Minute)</c:v>
                  </c:pt>
                  <c:pt idx="1312">
                    <c:v>Rolling Mean (30 Minute)</c:v>
                  </c:pt>
                  <c:pt idx="1313">
                    <c:v>Rolling Mean (30 Minute)</c:v>
                  </c:pt>
                  <c:pt idx="1314">
                    <c:v>Rolling Mean (30 Minute)</c:v>
                  </c:pt>
                  <c:pt idx="1315">
                    <c:v>Rolling Mean (30 Minute)</c:v>
                  </c:pt>
                  <c:pt idx="1316">
                    <c:v>Rolling Mean (30 Minute)</c:v>
                  </c:pt>
                  <c:pt idx="1317">
                    <c:v>Rolling Mean (30 Minute)</c:v>
                  </c:pt>
                  <c:pt idx="1318">
                    <c:v>Rolling Mean (30 Minute)</c:v>
                  </c:pt>
                  <c:pt idx="1319">
                    <c:v>Rolling Mean (30 Minute)</c:v>
                  </c:pt>
                  <c:pt idx="1320">
                    <c:v>Rolling Mean (30 Minute)</c:v>
                  </c:pt>
                  <c:pt idx="1321">
                    <c:v>Rolling Mean (30 Minute)</c:v>
                  </c:pt>
                  <c:pt idx="1322">
                    <c:v>Rolling Mean (30 Minute)</c:v>
                  </c:pt>
                  <c:pt idx="1323">
                    <c:v>Rolling Mean (30 Minute)</c:v>
                  </c:pt>
                  <c:pt idx="1324">
                    <c:v>Rolling Mean (30 Minute)</c:v>
                  </c:pt>
                  <c:pt idx="1325">
                    <c:v>Rolling Mean (30 Minute)</c:v>
                  </c:pt>
                  <c:pt idx="1326">
                    <c:v>Rolling Mean (30 Minute)</c:v>
                  </c:pt>
                  <c:pt idx="1327">
                    <c:v>Rolling Mean (30 Minute)</c:v>
                  </c:pt>
                  <c:pt idx="1328">
                    <c:v>Rolling Mean (30 Minute)</c:v>
                  </c:pt>
                  <c:pt idx="1329">
                    <c:v>Rolling Mean (30 Minute)</c:v>
                  </c:pt>
                  <c:pt idx="1330">
                    <c:v>Rolling Mean (30 Minute)</c:v>
                  </c:pt>
                  <c:pt idx="1331">
                    <c:v>Rolling Mean (30 Minute)</c:v>
                  </c:pt>
                  <c:pt idx="1332">
                    <c:v>Rolling Mean (30 Minute)</c:v>
                  </c:pt>
                  <c:pt idx="1333">
                    <c:v>Rolling Mean (30 Minute)</c:v>
                  </c:pt>
                  <c:pt idx="1334">
                    <c:v>Rolling Mean (30 Minute)</c:v>
                  </c:pt>
                  <c:pt idx="1335">
                    <c:v>Rolling Mean (30 Minute)</c:v>
                  </c:pt>
                  <c:pt idx="1336">
                    <c:v>Rolling Mean (30 Minute)</c:v>
                  </c:pt>
                  <c:pt idx="1337">
                    <c:v>Rolling Mean (30 Minute)</c:v>
                  </c:pt>
                  <c:pt idx="1338">
                    <c:v>Rolling Mean (30 Minute)</c:v>
                  </c:pt>
                  <c:pt idx="1339">
                    <c:v>Rolling Mean (30 Minute)</c:v>
                  </c:pt>
                  <c:pt idx="1340">
                    <c:v>Rolling Mean (30 Minute)</c:v>
                  </c:pt>
                  <c:pt idx="1341">
                    <c:v>Rolling Mean (30 Minute)</c:v>
                  </c:pt>
                  <c:pt idx="1342">
                    <c:v>Rolling Mean (30 Minute)</c:v>
                  </c:pt>
                  <c:pt idx="1343">
                    <c:v>Rolling Mean (30 Minute)</c:v>
                  </c:pt>
                  <c:pt idx="1344">
                    <c:v>Rolling Mean (30 Minute)</c:v>
                  </c:pt>
                  <c:pt idx="1345">
                    <c:v>Rolling Mean (30 Minute)</c:v>
                  </c:pt>
                  <c:pt idx="1346">
                    <c:v>Rolling Mean (30 Minute)</c:v>
                  </c:pt>
                  <c:pt idx="1347">
                    <c:v>Rolling Mean (30 Minute)</c:v>
                  </c:pt>
                  <c:pt idx="1348">
                    <c:v>Rolling Mean (30 Minute)</c:v>
                  </c:pt>
                  <c:pt idx="1349">
                    <c:v>Rolling Mean (30 Minute)</c:v>
                  </c:pt>
                  <c:pt idx="1350">
                    <c:v>Rolling Mean (30 Minute)</c:v>
                  </c:pt>
                  <c:pt idx="1351">
                    <c:v>Rolling Mean (30 Minute)</c:v>
                  </c:pt>
                  <c:pt idx="1352">
                    <c:v>Rolling Mean (30 Minute)</c:v>
                  </c:pt>
                  <c:pt idx="1353">
                    <c:v>Rolling Mean (30 Minute)</c:v>
                  </c:pt>
                  <c:pt idx="1354">
                    <c:v>Rolling Mean (30 Minute)</c:v>
                  </c:pt>
                  <c:pt idx="1355">
                    <c:v>Rolling Mean (30 Minute)</c:v>
                  </c:pt>
                  <c:pt idx="1356">
                    <c:v>Rolling Mean (30 Minute)</c:v>
                  </c:pt>
                  <c:pt idx="1357">
                    <c:v>Rolling Mean (30 Minute)</c:v>
                  </c:pt>
                  <c:pt idx="1358">
                    <c:v>Rolling Mean (30 Minute)</c:v>
                  </c:pt>
                  <c:pt idx="1359">
                    <c:v>Rolling Mean (30 Minute)</c:v>
                  </c:pt>
                  <c:pt idx="1360">
                    <c:v>Rolling Mean (30 Minute)</c:v>
                  </c:pt>
                  <c:pt idx="1361">
                    <c:v>Rolling Mean (30 Minute)</c:v>
                  </c:pt>
                  <c:pt idx="1362">
                    <c:v>Rolling Mean (30 Minute)</c:v>
                  </c:pt>
                  <c:pt idx="1363">
                    <c:v>Rolling Mean (30 Minute)</c:v>
                  </c:pt>
                  <c:pt idx="1364">
                    <c:v>Rolling Mean (30 Minute)</c:v>
                  </c:pt>
                  <c:pt idx="1365">
                    <c:v>Rolling Mean (30 Minute)</c:v>
                  </c:pt>
                  <c:pt idx="1366">
                    <c:v>Rolling Mean (30 Minute)</c:v>
                  </c:pt>
                  <c:pt idx="1367">
                    <c:v>Rolling Mean (30 Minute)</c:v>
                  </c:pt>
                  <c:pt idx="1368">
                    <c:v>Rolling Mean (30 Minute)</c:v>
                  </c:pt>
                  <c:pt idx="1369">
                    <c:v>Rolling Mean (30 Minute)</c:v>
                  </c:pt>
                  <c:pt idx="1370">
                    <c:v>Rolling Mean (30 Minute)</c:v>
                  </c:pt>
                  <c:pt idx="1371">
                    <c:v>Rolling Mean (30 Minute)</c:v>
                  </c:pt>
                  <c:pt idx="1372">
                    <c:v>Rolling Mean (30 Minute)</c:v>
                  </c:pt>
                  <c:pt idx="1373">
                    <c:v>Rolling Mean (30 Minute)</c:v>
                  </c:pt>
                  <c:pt idx="1374">
                    <c:v>Rolling Mean (30 Minute)</c:v>
                  </c:pt>
                  <c:pt idx="1375">
                    <c:v>Rolling Mean (30 Minute)</c:v>
                  </c:pt>
                  <c:pt idx="1376">
                    <c:v>Rolling Mean (30 Minute)</c:v>
                  </c:pt>
                  <c:pt idx="1377">
                    <c:v>Rolling Mean (30 Minute)</c:v>
                  </c:pt>
                  <c:pt idx="1378">
                    <c:v>Rolling Mean (30 Minute)</c:v>
                  </c:pt>
                  <c:pt idx="1379">
                    <c:v>Rolling Mean (30 Minute)</c:v>
                  </c:pt>
                  <c:pt idx="1380">
                    <c:v>Rolling Mean (30 Minute)</c:v>
                  </c:pt>
                  <c:pt idx="1381">
                    <c:v>Rolling Mean (30 Minute)</c:v>
                  </c:pt>
                  <c:pt idx="1382">
                    <c:v>Rolling Mean (30 Minute)</c:v>
                  </c:pt>
                  <c:pt idx="1383">
                    <c:v>Rolling Mean (30 Minute)</c:v>
                  </c:pt>
                  <c:pt idx="1384">
                    <c:v>Rolling Mean (30 Minute)</c:v>
                  </c:pt>
                  <c:pt idx="1385">
                    <c:v>Rolling Mean (30 Minute)</c:v>
                  </c:pt>
                  <c:pt idx="1386">
                    <c:v>Rolling Mean (30 Minute)</c:v>
                  </c:pt>
                  <c:pt idx="1387">
                    <c:v>Rolling Mean (30 Minute)</c:v>
                  </c:pt>
                  <c:pt idx="1388">
                    <c:v>Rolling Mean (30 Minute)</c:v>
                  </c:pt>
                  <c:pt idx="1389">
                    <c:v>Rolling Mean (30 Minute)</c:v>
                  </c:pt>
                  <c:pt idx="1390">
                    <c:v>Rolling Mean (30 Minute)</c:v>
                  </c:pt>
                  <c:pt idx="1391">
                    <c:v>Rolling Mean (30 Minute)</c:v>
                  </c:pt>
                  <c:pt idx="1392">
                    <c:v>Rolling Mean (30 Minute)</c:v>
                  </c:pt>
                  <c:pt idx="1393">
                    <c:v>Rolling Mean (30 Minute)</c:v>
                  </c:pt>
                  <c:pt idx="1394">
                    <c:v>Rolling Mean (30 Minute)</c:v>
                  </c:pt>
                  <c:pt idx="1395">
                    <c:v>Rolling Mean (30 Minute)</c:v>
                  </c:pt>
                  <c:pt idx="1396">
                    <c:v>Rolling Mean (30 Minute)</c:v>
                  </c:pt>
                  <c:pt idx="1397">
                    <c:v>Rolling Mean (30 Minute)</c:v>
                  </c:pt>
                  <c:pt idx="1398">
                    <c:v>Rolling Mean (30 Minute)</c:v>
                  </c:pt>
                  <c:pt idx="1399">
                    <c:v>Rolling Mean (30 Minute)</c:v>
                  </c:pt>
                  <c:pt idx="1400">
                    <c:v>Rolling Mean (30 Minute)</c:v>
                  </c:pt>
                  <c:pt idx="1401">
                    <c:v>Rolling Mean (30 Minute)</c:v>
                  </c:pt>
                  <c:pt idx="1402">
                    <c:v>Rolling Mean (30 Minute)</c:v>
                  </c:pt>
                  <c:pt idx="1403">
                    <c:v>Rolling Mean (30 Minute)</c:v>
                  </c:pt>
                  <c:pt idx="1404">
                    <c:v>Rolling Mean (30 Minute)</c:v>
                  </c:pt>
                  <c:pt idx="1405">
                    <c:v>Rolling Mean (30 Minute)</c:v>
                  </c:pt>
                  <c:pt idx="1406">
                    <c:v>Rolling Mean (30 Minute)</c:v>
                  </c:pt>
                  <c:pt idx="1407">
                    <c:v>Rolling Mean (30 Minute)</c:v>
                  </c:pt>
                  <c:pt idx="1408">
                    <c:v>Rolling Mean (30 Minute)</c:v>
                  </c:pt>
                  <c:pt idx="1409">
                    <c:v>Rolling Mean (30 Minute)</c:v>
                  </c:pt>
                  <c:pt idx="1410">
                    <c:v>Rolling Mean (30 Minute)</c:v>
                  </c:pt>
                  <c:pt idx="1411">
                    <c:v>Rolling Mean (30 Minute)</c:v>
                  </c:pt>
                  <c:pt idx="1412">
                    <c:v>Rolling Mean (30 Minute)</c:v>
                  </c:pt>
                  <c:pt idx="1413">
                    <c:v>Rolling Mean (30 Minute)</c:v>
                  </c:pt>
                  <c:pt idx="1414">
                    <c:v>Rolling Mean (30 Minute)</c:v>
                  </c:pt>
                  <c:pt idx="1415">
                    <c:v>Rolling Mean (30 Minute)</c:v>
                  </c:pt>
                  <c:pt idx="1416">
                    <c:v>Rolling Mean (30 Minute)</c:v>
                  </c:pt>
                  <c:pt idx="1417">
                    <c:v>Rolling Mean (30 Minute)</c:v>
                  </c:pt>
                  <c:pt idx="1418">
                    <c:v>Rolling Mean (30 Minute)</c:v>
                  </c:pt>
                  <c:pt idx="1419">
                    <c:v>Rolling Mean (30 Minute)</c:v>
                  </c:pt>
                  <c:pt idx="1420">
                    <c:v>Rolling Mean (30 Minute)</c:v>
                  </c:pt>
                  <c:pt idx="1421">
                    <c:v>Rolling Mean (30 Minute)</c:v>
                  </c:pt>
                  <c:pt idx="1422">
                    <c:v>Rolling Mean (30 Minute)</c:v>
                  </c:pt>
                  <c:pt idx="1423">
                    <c:v>Rolling Mean (30 Minute)</c:v>
                  </c:pt>
                  <c:pt idx="1424">
                    <c:v>Rolling Mean (30 Minute)</c:v>
                  </c:pt>
                  <c:pt idx="1425">
                    <c:v>Rolling Mean (30 Minute)</c:v>
                  </c:pt>
                  <c:pt idx="1426">
                    <c:v>Rolling Mean (30 Minute)</c:v>
                  </c:pt>
                  <c:pt idx="1427">
                    <c:v>Rolling Mean (30 Minute)</c:v>
                  </c:pt>
                  <c:pt idx="1428">
                    <c:v>Rolling Mean (30 Minute)</c:v>
                  </c:pt>
                  <c:pt idx="1429">
                    <c:v>Rolling Mean (30 Minute)</c:v>
                  </c:pt>
                  <c:pt idx="1430">
                    <c:v>Rolling Mean (30 Minute)</c:v>
                  </c:pt>
                  <c:pt idx="1431">
                    <c:v>Rolling Mean (30 Minute)</c:v>
                  </c:pt>
                  <c:pt idx="1432">
                    <c:v>Rolling Mean (30 Minute)</c:v>
                  </c:pt>
                  <c:pt idx="1433">
                    <c:v>Rolling Mean (30 Minute)</c:v>
                  </c:pt>
                  <c:pt idx="1434">
                    <c:v>Rolling Mean (30 Minute)</c:v>
                  </c:pt>
                  <c:pt idx="1435">
                    <c:v>Rolling Mean (30 Minute)</c:v>
                  </c:pt>
                  <c:pt idx="1436">
                    <c:v>Rolling Mean (30 Minute)</c:v>
                  </c:pt>
                  <c:pt idx="1437">
                    <c:v>Rolling Mean (30 Minute)</c:v>
                  </c:pt>
                  <c:pt idx="1438">
                    <c:v>Rolling Mean (30 Minute)</c:v>
                  </c:pt>
                  <c:pt idx="1439">
                    <c:v>Rolling Mean (30 Minute)</c:v>
                  </c:pt>
                  <c:pt idx="1440">
                    <c:v>Rolling Mean (30 Minute)</c:v>
                  </c:pt>
                  <c:pt idx="1441">
                    <c:v>Rolling Mean (30 Minute)</c:v>
                  </c:pt>
                  <c:pt idx="1442">
                    <c:v>Rolling Mean (30 Minute)</c:v>
                  </c:pt>
                  <c:pt idx="1443">
                    <c:v>Rolling Mean (30 Minute)</c:v>
                  </c:pt>
                  <c:pt idx="1444">
                    <c:v>Rolling Mean (30 Minute)</c:v>
                  </c:pt>
                  <c:pt idx="1445">
                    <c:v>Rolling Mean (30 Minute)</c:v>
                  </c:pt>
                  <c:pt idx="1446">
                    <c:v>Rolling Mean (30 Minute)</c:v>
                  </c:pt>
                  <c:pt idx="1447">
                    <c:v>Rolling Mean (30 Minute)</c:v>
                  </c:pt>
                  <c:pt idx="1448">
                    <c:v>Rolling Mean (30 Minute)</c:v>
                  </c:pt>
                  <c:pt idx="1449">
                    <c:v>Rolling Mean (30 Minute)</c:v>
                  </c:pt>
                  <c:pt idx="1450">
                    <c:v>Rolling Mean (30 Minute)</c:v>
                  </c:pt>
                  <c:pt idx="1451">
                    <c:v>Rolling Mean (30 Minute)</c:v>
                  </c:pt>
                  <c:pt idx="1452">
                    <c:v>Rolling Mean (30 Minute)</c:v>
                  </c:pt>
                  <c:pt idx="1453">
                    <c:v>Rolling Mean (30 Minute)</c:v>
                  </c:pt>
                  <c:pt idx="1454">
                    <c:v>Rolling Mean (30 Minute)</c:v>
                  </c:pt>
                  <c:pt idx="1455">
                    <c:v>Rolling Mean (30 Minute)</c:v>
                  </c:pt>
                  <c:pt idx="1456">
                    <c:v>Rolling Mean (30 Minute)</c:v>
                  </c:pt>
                  <c:pt idx="1457">
                    <c:v>Rolling Mean (30 Minute)</c:v>
                  </c:pt>
                  <c:pt idx="1458">
                    <c:v>Rolling Mean (30 Minute)</c:v>
                  </c:pt>
                  <c:pt idx="1459">
                    <c:v>Rolling Mean (30 Minute)</c:v>
                  </c:pt>
                  <c:pt idx="1460">
                    <c:v>Rolling Mean (30 Minute)</c:v>
                  </c:pt>
                  <c:pt idx="1461">
                    <c:v>Rolling Mean (30 Minute)</c:v>
                  </c:pt>
                  <c:pt idx="1462">
                    <c:v>Rolling Mean (30 Minute)</c:v>
                  </c:pt>
                  <c:pt idx="1463">
                    <c:v>Rolling Mean (30 Minute)</c:v>
                  </c:pt>
                  <c:pt idx="1464">
                    <c:v>Rolling Mean (30 Minute)</c:v>
                  </c:pt>
                  <c:pt idx="1465">
                    <c:v>Rolling Mean (30 Minute)</c:v>
                  </c:pt>
                  <c:pt idx="1466">
                    <c:v>Rolling Mean (30 Minute)</c:v>
                  </c:pt>
                  <c:pt idx="1467">
                    <c:v>Rolling Mean (30 Minute)</c:v>
                  </c:pt>
                  <c:pt idx="1468">
                    <c:v>Rolling Mean (30 Minute)</c:v>
                  </c:pt>
                  <c:pt idx="1469">
                    <c:v>Rolling Mean (30 Minute)</c:v>
                  </c:pt>
                  <c:pt idx="1470">
                    <c:v>Rolling Mean (30 Minute)</c:v>
                  </c:pt>
                  <c:pt idx="1471">
                    <c:v>Rolling Mean (30 Minute)</c:v>
                  </c:pt>
                  <c:pt idx="1472">
                    <c:v>Rolling Mean (30 Minute)</c:v>
                  </c:pt>
                  <c:pt idx="1473">
                    <c:v>Rolling Mean (30 Minute)</c:v>
                  </c:pt>
                  <c:pt idx="1474">
                    <c:v>Rolling Mean (30 Minute)</c:v>
                  </c:pt>
                  <c:pt idx="1475">
                    <c:v>Rolling Mean (30 Minute)</c:v>
                  </c:pt>
                  <c:pt idx="1476">
                    <c:v>Rolling Mean (30 Minute)</c:v>
                  </c:pt>
                  <c:pt idx="1477">
                    <c:v>Rolling Mean (30 Minute)</c:v>
                  </c:pt>
                  <c:pt idx="1478">
                    <c:v>Rolling Mean (30 Minute)</c:v>
                  </c:pt>
                  <c:pt idx="1479">
                    <c:v>Rolling Mean (30 Minute)</c:v>
                  </c:pt>
                  <c:pt idx="1480">
                    <c:v>Rolling Mean (30 Minute)</c:v>
                  </c:pt>
                  <c:pt idx="1481">
                    <c:v>Rolling Mean (30 Minute)</c:v>
                  </c:pt>
                  <c:pt idx="1482">
                    <c:v>Rolling Mean (30 Minute)</c:v>
                  </c:pt>
                  <c:pt idx="1483">
                    <c:v>Rolling Mean (30 Minute)</c:v>
                  </c:pt>
                  <c:pt idx="1484">
                    <c:v>Rolling Mean (30 Minute)</c:v>
                  </c:pt>
                  <c:pt idx="1485">
                    <c:v>Rolling Mean (30 Minute)</c:v>
                  </c:pt>
                  <c:pt idx="1486">
                    <c:v>Rolling Mean (30 Minute)</c:v>
                  </c:pt>
                  <c:pt idx="1487">
                    <c:v>Rolling Mean (30 Minute)</c:v>
                  </c:pt>
                  <c:pt idx="1488">
                    <c:v>Rolling Mean (30 Minute)</c:v>
                  </c:pt>
                  <c:pt idx="1489">
                    <c:v>Rolling Mean (30 Minute)</c:v>
                  </c:pt>
                  <c:pt idx="1490">
                    <c:v>Rolling Mean (30 Minute)</c:v>
                  </c:pt>
                  <c:pt idx="1491">
                    <c:v>Rolling Mean (30 Minute)</c:v>
                  </c:pt>
                  <c:pt idx="1492">
                    <c:v>Rolling Mean (30 Minute)</c:v>
                  </c:pt>
                  <c:pt idx="1493">
                    <c:v>Rolling Mean (30 Minute)</c:v>
                  </c:pt>
                  <c:pt idx="1494">
                    <c:v>Rolling Mean (30 Minute)</c:v>
                  </c:pt>
                  <c:pt idx="1495">
                    <c:v>Rolling Mean (30 Minute)</c:v>
                  </c:pt>
                  <c:pt idx="1496">
                    <c:v>Rolling Mean (30 Minute)</c:v>
                  </c:pt>
                  <c:pt idx="1497">
                    <c:v>Rolling Mean (30 Minute)</c:v>
                  </c:pt>
                  <c:pt idx="1498">
                    <c:v>Rolling Mean (30 Minute)</c:v>
                  </c:pt>
                  <c:pt idx="1499">
                    <c:v>Rolling Mean (30 Minute)</c:v>
                  </c:pt>
                  <c:pt idx="1500">
                    <c:v>Rolling Mean (30 Minute)</c:v>
                  </c:pt>
                  <c:pt idx="1501">
                    <c:v>Rolling Mean (30 Minute)</c:v>
                  </c:pt>
                  <c:pt idx="1502">
                    <c:v>Rolling Mean (30 Minute)</c:v>
                  </c:pt>
                  <c:pt idx="1503">
                    <c:v>Rolling Mean (30 Minute)</c:v>
                  </c:pt>
                  <c:pt idx="1504">
                    <c:v>Rolling Mean (30 Minute)</c:v>
                  </c:pt>
                  <c:pt idx="1505">
                    <c:v>Rolling Mean (30 Minute)</c:v>
                  </c:pt>
                  <c:pt idx="1506">
                    <c:v>Rolling Mean (30 Minute)</c:v>
                  </c:pt>
                  <c:pt idx="1507">
                    <c:v>Rolling Mean (30 Minute)</c:v>
                  </c:pt>
                  <c:pt idx="1508">
                    <c:v>Rolling Mean (30 Minute)</c:v>
                  </c:pt>
                  <c:pt idx="1509">
                    <c:v>Rolling Mean (30 Minute)</c:v>
                  </c:pt>
                  <c:pt idx="1510">
                    <c:v>Rolling Mean (30 Minute)</c:v>
                  </c:pt>
                  <c:pt idx="1511">
                    <c:v>Rolling Mean (30 Minute)</c:v>
                  </c:pt>
                  <c:pt idx="1512">
                    <c:v>Rolling Mean (30 Minute)</c:v>
                  </c:pt>
                  <c:pt idx="1513">
                    <c:v>Rolling Mean (30 Minute)</c:v>
                  </c:pt>
                  <c:pt idx="1514">
                    <c:v>Rolling Mean (30 Minute)</c:v>
                  </c:pt>
                  <c:pt idx="1515">
                    <c:v>Rolling Mean (30 Minute)</c:v>
                  </c:pt>
                  <c:pt idx="1516">
                    <c:v>Rolling Mean (30 Minute)</c:v>
                  </c:pt>
                  <c:pt idx="1517">
                    <c:v>Rolling Mean (30 Minute)</c:v>
                  </c:pt>
                  <c:pt idx="1518">
                    <c:v>Rolling Mean (30 Minute)</c:v>
                  </c:pt>
                  <c:pt idx="1519">
                    <c:v>Rolling Mean (30 Minute)</c:v>
                  </c:pt>
                  <c:pt idx="1520">
                    <c:v>Rolling Mean (30 Minute)</c:v>
                  </c:pt>
                  <c:pt idx="1521">
                    <c:v>Rolling Mean (30 Minute)</c:v>
                  </c:pt>
                  <c:pt idx="1522">
                    <c:v>Rolling Mean (30 Minute)</c:v>
                  </c:pt>
                  <c:pt idx="1523">
                    <c:v>Rolling Mean (30 Minute)</c:v>
                  </c:pt>
                  <c:pt idx="1524">
                    <c:v>Rolling Mean (30 Minute)</c:v>
                  </c:pt>
                  <c:pt idx="1525">
                    <c:v>Rolling Mean (30 Minute)</c:v>
                  </c:pt>
                  <c:pt idx="1526">
                    <c:v>Rolling Mean (30 Minute)</c:v>
                  </c:pt>
                  <c:pt idx="1527">
                    <c:v>Rolling Mean (30 Minute)</c:v>
                  </c:pt>
                  <c:pt idx="1528">
                    <c:v>Rolling Mean (30 Minute)</c:v>
                  </c:pt>
                  <c:pt idx="1529">
                    <c:v>Rolling Mean (30 Minute)</c:v>
                  </c:pt>
                  <c:pt idx="1530">
                    <c:v>Rolling Mean (30 Minute)</c:v>
                  </c:pt>
                  <c:pt idx="1531">
                    <c:v>Rolling Mean (30 Minute)</c:v>
                  </c:pt>
                  <c:pt idx="1532">
                    <c:v>Rolling Mean (30 Minute)</c:v>
                  </c:pt>
                  <c:pt idx="1533">
                    <c:v>Rolling Mean (30 Minute)</c:v>
                  </c:pt>
                  <c:pt idx="1534">
                    <c:v>Rolling Mean (30 Minute)</c:v>
                  </c:pt>
                  <c:pt idx="1535">
                    <c:v>Rolling Mean (30 Minute)</c:v>
                  </c:pt>
                  <c:pt idx="1536">
                    <c:v>Rolling Mean (30 Minute)</c:v>
                  </c:pt>
                  <c:pt idx="1537">
                    <c:v>Rolling Mean (30 Minute)</c:v>
                  </c:pt>
                  <c:pt idx="1538">
                    <c:v>Rolling Mean (30 Minute)</c:v>
                  </c:pt>
                  <c:pt idx="1539">
                    <c:v>Rolling Mean (30 Minute)</c:v>
                  </c:pt>
                  <c:pt idx="1540">
                    <c:v>Rolling Mean (30 Minute)</c:v>
                  </c:pt>
                  <c:pt idx="1541">
                    <c:v>Rolling Mean (30 Minute)</c:v>
                  </c:pt>
                  <c:pt idx="1542">
                    <c:v>Rolling Mean (30 Minute)</c:v>
                  </c:pt>
                  <c:pt idx="1543">
                    <c:v>Rolling Mean (30 Minute)</c:v>
                  </c:pt>
                  <c:pt idx="1544">
                    <c:v>Rolling Mean (30 Minute)</c:v>
                  </c:pt>
                  <c:pt idx="1545">
                    <c:v>Rolling Mean (30 Minute)</c:v>
                  </c:pt>
                  <c:pt idx="1546">
                    <c:v>Rolling Mean (30 Minute)</c:v>
                  </c:pt>
                  <c:pt idx="1547">
                    <c:v>Rolling Mean (30 Minute)</c:v>
                  </c:pt>
                  <c:pt idx="1548">
                    <c:v>Rolling Mean (30 Minute)</c:v>
                  </c:pt>
                  <c:pt idx="1549">
                    <c:v>Rolling Mean (30 Minute)</c:v>
                  </c:pt>
                  <c:pt idx="1550">
                    <c:v>Rolling Mean (30 Minute)</c:v>
                  </c:pt>
                  <c:pt idx="1551">
                    <c:v>Rolling Mean (30 Minute)</c:v>
                  </c:pt>
                  <c:pt idx="1552">
                    <c:v>Rolling Mean (30 Minute)</c:v>
                  </c:pt>
                  <c:pt idx="1553">
                    <c:v>Rolling Mean (30 Minute)</c:v>
                  </c:pt>
                  <c:pt idx="1554">
                    <c:v>Rolling Mean (30 Minute)</c:v>
                  </c:pt>
                  <c:pt idx="1555">
                    <c:v>Rolling Mean (30 Minute)</c:v>
                  </c:pt>
                  <c:pt idx="1556">
                    <c:v>Rolling Mean (30 Minute)</c:v>
                  </c:pt>
                  <c:pt idx="1557">
                    <c:v>Rolling Mean (30 Minute)</c:v>
                  </c:pt>
                  <c:pt idx="1558">
                    <c:v>Rolling Mean (30 Minute)</c:v>
                  </c:pt>
                  <c:pt idx="1559">
                    <c:v>Rolling Mean (30 Minute)</c:v>
                  </c:pt>
                  <c:pt idx="1560">
                    <c:v>Rolling Mean (30 Minute)</c:v>
                  </c:pt>
                  <c:pt idx="1561">
                    <c:v>Rolling Mean (30 Minute)</c:v>
                  </c:pt>
                  <c:pt idx="1562">
                    <c:v>Rolling Mean (30 Minute)</c:v>
                  </c:pt>
                  <c:pt idx="1563">
                    <c:v>Rolling Mean (30 Minute)</c:v>
                  </c:pt>
                  <c:pt idx="1564">
                    <c:v>Rolling Mean (30 Minute)</c:v>
                  </c:pt>
                  <c:pt idx="1565">
                    <c:v>Rolling Mean (30 Minute)</c:v>
                  </c:pt>
                  <c:pt idx="1566">
                    <c:v>Rolling Mean (30 Minute)</c:v>
                  </c:pt>
                  <c:pt idx="1567">
                    <c:v>Rolling Mean (30 Minute)</c:v>
                  </c:pt>
                  <c:pt idx="1568">
                    <c:v>Rolling Mean (30 Minute)</c:v>
                  </c:pt>
                  <c:pt idx="1569">
                    <c:v>Rolling Mean (30 Minute)</c:v>
                  </c:pt>
                  <c:pt idx="1570">
                    <c:v>Rolling Mean (30 Minute)</c:v>
                  </c:pt>
                  <c:pt idx="1571">
                    <c:v>Rolling Mean (30 Minute)</c:v>
                  </c:pt>
                  <c:pt idx="1572">
                    <c:v>Rolling Mean (30 Minute)</c:v>
                  </c:pt>
                  <c:pt idx="1573">
                    <c:v>Rolling Mean (30 Minute)</c:v>
                  </c:pt>
                  <c:pt idx="1574">
                    <c:v>Rolling Mean (30 Minute)</c:v>
                  </c:pt>
                  <c:pt idx="1575">
                    <c:v>Rolling Mean (30 Minute)</c:v>
                  </c:pt>
                  <c:pt idx="1576">
                    <c:v>Rolling Mean (30 Minute)</c:v>
                  </c:pt>
                  <c:pt idx="1577">
                    <c:v>Rolling Mean (30 Minute)</c:v>
                  </c:pt>
                  <c:pt idx="1578">
                    <c:v>Rolling Mean (30 Minute)</c:v>
                  </c:pt>
                  <c:pt idx="1579">
                    <c:v>Rolling Mean (30 Minute)</c:v>
                  </c:pt>
                  <c:pt idx="1580">
                    <c:v>Rolling Mean (30 Minute)</c:v>
                  </c:pt>
                  <c:pt idx="1581">
                    <c:v>Rolling Mean (30 Minute)</c:v>
                  </c:pt>
                  <c:pt idx="1582">
                    <c:v>Rolling Mean (30 Minute)</c:v>
                  </c:pt>
                  <c:pt idx="1583">
                    <c:v>Rolling Mean (30 Minute)</c:v>
                  </c:pt>
                  <c:pt idx="1584">
                    <c:v>Rolling Mean (30 Minute)</c:v>
                  </c:pt>
                  <c:pt idx="1585">
                    <c:v>Rolling Mean (30 Minute)</c:v>
                  </c:pt>
                  <c:pt idx="1586">
                    <c:v>Rolling Mean (30 Minute)</c:v>
                  </c:pt>
                  <c:pt idx="1587">
                    <c:v>Rolling Mean (30 Minute)</c:v>
                  </c:pt>
                  <c:pt idx="1588">
                    <c:v>Rolling Mean (30 Minute)</c:v>
                  </c:pt>
                  <c:pt idx="1589">
                    <c:v>Rolling Mean (30 Minute)</c:v>
                  </c:pt>
                  <c:pt idx="1590">
                    <c:v>Rolling Mean (30 Minute)</c:v>
                  </c:pt>
                  <c:pt idx="1591">
                    <c:v>Rolling Mean (30 Minute)</c:v>
                  </c:pt>
                  <c:pt idx="1592">
                    <c:v>Rolling Mean (30 Minute)</c:v>
                  </c:pt>
                  <c:pt idx="1593">
                    <c:v>Rolling Mean (30 Minute)</c:v>
                  </c:pt>
                  <c:pt idx="1594">
                    <c:v>Rolling Mean (30 Minute)</c:v>
                  </c:pt>
                  <c:pt idx="1595">
                    <c:v>Rolling Mean (30 Minute)</c:v>
                  </c:pt>
                  <c:pt idx="1596">
                    <c:v>Rolling Mean (30 Minute)</c:v>
                  </c:pt>
                  <c:pt idx="1597">
                    <c:v>Rolling Mean (30 Minute)</c:v>
                  </c:pt>
                  <c:pt idx="1598">
                    <c:v>Rolling Mean (30 Minute)</c:v>
                  </c:pt>
                  <c:pt idx="1599">
                    <c:v>Rolling Mean (30 Minute)</c:v>
                  </c:pt>
                  <c:pt idx="1600">
                    <c:v>Rolling Mean (30 Minute)</c:v>
                  </c:pt>
                  <c:pt idx="1601">
                    <c:v>Rolling Mean (30 Minute)</c:v>
                  </c:pt>
                  <c:pt idx="1602">
                    <c:v>Rolling Mean (30 Minute)</c:v>
                  </c:pt>
                  <c:pt idx="1603">
                    <c:v>Rolling Mean (30 Minute)</c:v>
                  </c:pt>
                  <c:pt idx="1604">
                    <c:v>Rolling Mean (30 Minute)</c:v>
                  </c:pt>
                  <c:pt idx="1605">
                    <c:v>Rolling Mean (30 Minute)</c:v>
                  </c:pt>
                  <c:pt idx="1606">
                    <c:v>Rolling Mean (30 Minute)</c:v>
                  </c:pt>
                  <c:pt idx="1607">
                    <c:v>Rolling Mean (30 Minute)</c:v>
                  </c:pt>
                  <c:pt idx="1608">
                    <c:v>Rolling Mean (30 Minute)</c:v>
                  </c:pt>
                  <c:pt idx="1609">
                    <c:v>Rolling Mean (30 Minute)</c:v>
                  </c:pt>
                  <c:pt idx="1610">
                    <c:v>Rolling Mean (30 Minute)</c:v>
                  </c:pt>
                  <c:pt idx="1611">
                    <c:v>Rolling Mean (30 Minute)</c:v>
                  </c:pt>
                  <c:pt idx="1612">
                    <c:v>Rolling Mean (30 Minute)</c:v>
                  </c:pt>
                  <c:pt idx="1613">
                    <c:v>Rolling Mean (30 Minute)</c:v>
                  </c:pt>
                  <c:pt idx="1614">
                    <c:v>Rolling Mean (30 Minute)</c:v>
                  </c:pt>
                  <c:pt idx="1615">
                    <c:v>Rolling Mean (30 Minute)</c:v>
                  </c:pt>
                  <c:pt idx="1616">
                    <c:v>Rolling Mean (30 Minute)</c:v>
                  </c:pt>
                  <c:pt idx="1617">
                    <c:v>Rolling Mean (30 Minute)</c:v>
                  </c:pt>
                  <c:pt idx="1618">
                    <c:v>Rolling Mean (30 Minute)</c:v>
                  </c:pt>
                  <c:pt idx="1619">
                    <c:v>Rolling Mean (30 Minute)</c:v>
                  </c:pt>
                  <c:pt idx="1620">
                    <c:v>Rolling Mean (30 Minute)</c:v>
                  </c:pt>
                  <c:pt idx="1621">
                    <c:v>Rolling Mean (30 Minute)</c:v>
                  </c:pt>
                  <c:pt idx="1622">
                    <c:v>Rolling Mean (30 Minute)</c:v>
                  </c:pt>
                  <c:pt idx="1623">
                    <c:v>Rolling Mean (30 Minute)</c:v>
                  </c:pt>
                  <c:pt idx="1624">
                    <c:v>Rolling Mean (30 Minute)</c:v>
                  </c:pt>
                  <c:pt idx="1625">
                    <c:v>Rolling Mean (30 Minute)</c:v>
                  </c:pt>
                  <c:pt idx="1626">
                    <c:v>Rolling Mean (30 Minute)</c:v>
                  </c:pt>
                  <c:pt idx="1627">
                    <c:v>Rolling Mean (30 Minute)</c:v>
                  </c:pt>
                  <c:pt idx="1628">
                    <c:v>Rolling Mean (30 Minute)</c:v>
                  </c:pt>
                  <c:pt idx="1629">
                    <c:v>Rolling Mean (30 Minute)</c:v>
                  </c:pt>
                  <c:pt idx="1630">
                    <c:v>Rolling Mean (30 Minute)</c:v>
                  </c:pt>
                  <c:pt idx="1631">
                    <c:v>Rolling Mean (30 Minute)</c:v>
                  </c:pt>
                  <c:pt idx="1632">
                    <c:v>Rolling Mean (30 Minute)</c:v>
                  </c:pt>
                  <c:pt idx="1633">
                    <c:v>Rolling Mean (30 Minute)</c:v>
                  </c:pt>
                  <c:pt idx="1634">
                    <c:v>Rolling Mean (30 Minute)</c:v>
                  </c:pt>
                  <c:pt idx="1635">
                    <c:v>Rolling Mean (30 Minute)</c:v>
                  </c:pt>
                  <c:pt idx="1636">
                    <c:v>Rolling Mean (30 Minute)</c:v>
                  </c:pt>
                  <c:pt idx="1637">
                    <c:v>Rolling Mean (30 Minute)</c:v>
                  </c:pt>
                  <c:pt idx="1638">
                    <c:v>Rolling Mean (30 Minute)</c:v>
                  </c:pt>
                  <c:pt idx="1639">
                    <c:v>Rolling Mean (30 Minute)</c:v>
                  </c:pt>
                  <c:pt idx="1640">
                    <c:v>Rolling Mean (30 Minute)</c:v>
                  </c:pt>
                  <c:pt idx="1641">
                    <c:v>Rolling Mean (30 Minute)</c:v>
                  </c:pt>
                  <c:pt idx="1642">
                    <c:v>Rolling Mean (30 Minute)</c:v>
                  </c:pt>
                  <c:pt idx="1643">
                    <c:v>Rolling Mean (30 Minute)</c:v>
                  </c:pt>
                  <c:pt idx="1644">
                    <c:v>Rolling Mean (30 Minute)</c:v>
                  </c:pt>
                  <c:pt idx="1645">
                    <c:v>Rolling Mean (30 Minute)</c:v>
                  </c:pt>
                  <c:pt idx="1646">
                    <c:v>Rolling Mean (30 Minute)</c:v>
                  </c:pt>
                  <c:pt idx="1647">
                    <c:v>Rolling Mean (30 Minute)</c:v>
                  </c:pt>
                  <c:pt idx="1648">
                    <c:v>Rolling Mean (30 Minute)</c:v>
                  </c:pt>
                  <c:pt idx="1649">
                    <c:v>Rolling Mean (30 Minute)</c:v>
                  </c:pt>
                  <c:pt idx="1650">
                    <c:v>Rolling Mean (30 Minute)</c:v>
                  </c:pt>
                  <c:pt idx="1651">
                    <c:v>Rolling Mean (30 Minute)</c:v>
                  </c:pt>
                  <c:pt idx="1652">
                    <c:v>Rolling Mean (30 Minute)</c:v>
                  </c:pt>
                  <c:pt idx="1653">
                    <c:v>Rolling Mean (30 Minute)</c:v>
                  </c:pt>
                  <c:pt idx="1654">
                    <c:v>Rolling Mean (30 Minute)</c:v>
                  </c:pt>
                  <c:pt idx="1655">
                    <c:v>Rolling Mean (30 Minute)</c:v>
                  </c:pt>
                  <c:pt idx="1656">
                    <c:v>Rolling Mean (30 Minute)</c:v>
                  </c:pt>
                  <c:pt idx="1657">
                    <c:v>Rolling Mean (30 Minute)</c:v>
                  </c:pt>
                  <c:pt idx="1658">
                    <c:v>Rolling Mean (30 Minute)</c:v>
                  </c:pt>
                  <c:pt idx="1659">
                    <c:v>Rolling Mean (30 Minute)</c:v>
                  </c:pt>
                  <c:pt idx="1660">
                    <c:v>Rolling Mean (30 Minute)</c:v>
                  </c:pt>
                  <c:pt idx="1661">
                    <c:v>Rolling Mean (30 Minute)</c:v>
                  </c:pt>
                  <c:pt idx="1662">
                    <c:v>Rolling Mean (30 Minute)</c:v>
                  </c:pt>
                  <c:pt idx="1663">
                    <c:v>Rolling Mean (30 Minute)</c:v>
                  </c:pt>
                  <c:pt idx="1664">
                    <c:v>Rolling Mean (30 Minute)</c:v>
                  </c:pt>
                  <c:pt idx="1665">
                    <c:v>Rolling Mean (30 Minute)</c:v>
                  </c:pt>
                  <c:pt idx="1666">
                    <c:v>Rolling Mean (30 Minute)</c:v>
                  </c:pt>
                  <c:pt idx="1667">
                    <c:v>Rolling Mean (30 Minute)</c:v>
                  </c:pt>
                  <c:pt idx="1668">
                    <c:v>Rolling Mean (30 Minute)</c:v>
                  </c:pt>
                  <c:pt idx="1669">
                    <c:v>Rolling Mean (30 Minute)</c:v>
                  </c:pt>
                  <c:pt idx="1670">
                    <c:v>Rolling Mean (30 Minute)</c:v>
                  </c:pt>
                  <c:pt idx="1671">
                    <c:v>Rolling Mean (30 Minute)</c:v>
                  </c:pt>
                  <c:pt idx="1672">
                    <c:v>Rolling Mean (30 Minute)</c:v>
                  </c:pt>
                  <c:pt idx="1673">
                    <c:v>Rolling Mean (30 Minute)</c:v>
                  </c:pt>
                  <c:pt idx="1674">
                    <c:v>Rolling Mean (30 Minute)</c:v>
                  </c:pt>
                  <c:pt idx="1675">
                    <c:v>Rolling Mean (30 Minute)</c:v>
                  </c:pt>
                  <c:pt idx="1676">
                    <c:v>Rolling Mean (30 Minute)</c:v>
                  </c:pt>
                  <c:pt idx="1677">
                    <c:v>Rolling Mean (30 Minute)</c:v>
                  </c:pt>
                  <c:pt idx="1678">
                    <c:v>Rolling Mean (30 Minute)</c:v>
                  </c:pt>
                  <c:pt idx="1679">
                    <c:v>Rolling Mean (30 Minute)</c:v>
                  </c:pt>
                  <c:pt idx="1680">
                    <c:v>Rolling Mean (30 Minute)</c:v>
                  </c:pt>
                  <c:pt idx="1681">
                    <c:v>Rolling Mean (30 Minute)</c:v>
                  </c:pt>
                  <c:pt idx="1682">
                    <c:v>Rolling Mean (30 Minute)</c:v>
                  </c:pt>
                  <c:pt idx="1683">
                    <c:v>Rolling Mean (30 Minute)</c:v>
                  </c:pt>
                  <c:pt idx="1684">
                    <c:v>Rolling Mean (30 Minute)</c:v>
                  </c:pt>
                  <c:pt idx="1685">
                    <c:v>Rolling Mean (30 Minute)</c:v>
                  </c:pt>
                  <c:pt idx="1686">
                    <c:v>Rolling Mean (30 Minute)</c:v>
                  </c:pt>
                  <c:pt idx="1687">
                    <c:v>Rolling Mean (30 Minute)</c:v>
                  </c:pt>
                  <c:pt idx="1688">
                    <c:v>Rolling Mean (30 Minute)</c:v>
                  </c:pt>
                  <c:pt idx="1689">
                    <c:v>Rolling Mean (30 Minute)</c:v>
                  </c:pt>
                  <c:pt idx="1690">
                    <c:v>Rolling Mean (30 Minute)</c:v>
                  </c:pt>
                  <c:pt idx="1691">
                    <c:v>Rolling Mean (30 Minute)</c:v>
                  </c:pt>
                  <c:pt idx="1692">
                    <c:v>Rolling Mean (30 Minute)</c:v>
                  </c:pt>
                  <c:pt idx="1693">
                    <c:v>Rolling Mean (30 Minute)</c:v>
                  </c:pt>
                  <c:pt idx="1694">
                    <c:v>Rolling Mean (30 Minute)</c:v>
                  </c:pt>
                  <c:pt idx="1695">
                    <c:v>Rolling Mean (30 Minute)</c:v>
                  </c:pt>
                  <c:pt idx="1696">
                    <c:v>Rolling Mean (30 Minute)</c:v>
                  </c:pt>
                  <c:pt idx="1697">
                    <c:v>Rolling Mean (30 Minute)</c:v>
                  </c:pt>
                  <c:pt idx="1698">
                    <c:v>Rolling Mean (30 Minute)</c:v>
                  </c:pt>
                  <c:pt idx="1699">
                    <c:v>Rolling Mean (30 Minute)</c:v>
                  </c:pt>
                  <c:pt idx="1700">
                    <c:v>Rolling Mean (30 Minute)</c:v>
                  </c:pt>
                  <c:pt idx="1701">
                    <c:v>Rolling Mean (30 Minute)</c:v>
                  </c:pt>
                  <c:pt idx="1702">
                    <c:v>Rolling Mean (30 Minute)</c:v>
                  </c:pt>
                  <c:pt idx="1703">
                    <c:v>Rolling Mean (30 Minute)</c:v>
                  </c:pt>
                  <c:pt idx="1704">
                    <c:v>Rolling Mean (30 Minute)</c:v>
                  </c:pt>
                  <c:pt idx="1705">
                    <c:v>Rolling Mean (30 Minute)</c:v>
                  </c:pt>
                  <c:pt idx="1706">
                    <c:v>Rolling Mean (30 Minute)</c:v>
                  </c:pt>
                  <c:pt idx="1707">
                    <c:v>Rolling Mean (30 Minute)</c:v>
                  </c:pt>
                  <c:pt idx="1708">
                    <c:v>Rolling Mean (30 Minute)</c:v>
                  </c:pt>
                  <c:pt idx="1709">
                    <c:v>Rolling Mean (30 Minute)</c:v>
                  </c:pt>
                  <c:pt idx="1710">
                    <c:v>Rolling Mean (30 Minute)</c:v>
                  </c:pt>
                  <c:pt idx="1711">
                    <c:v>Rolling Mean (30 Minute)</c:v>
                  </c:pt>
                  <c:pt idx="1712">
                    <c:v>Rolling Mean (30 Minute)</c:v>
                  </c:pt>
                  <c:pt idx="1713">
                    <c:v>Rolling Mean (30 Minute)</c:v>
                  </c:pt>
                  <c:pt idx="1714">
                    <c:v>Rolling Mean (30 Minute)</c:v>
                  </c:pt>
                  <c:pt idx="1715">
                    <c:v>Rolling Mean (30 Minute)</c:v>
                  </c:pt>
                  <c:pt idx="1716">
                    <c:v>Rolling Mean (30 Minute)</c:v>
                  </c:pt>
                  <c:pt idx="1717">
                    <c:v>Rolling Mean (30 Minute)</c:v>
                  </c:pt>
                  <c:pt idx="1718">
                    <c:v>Rolling Mean (30 Minute)</c:v>
                  </c:pt>
                  <c:pt idx="1719">
                    <c:v>Rolling Mean (30 Minute)</c:v>
                  </c:pt>
                  <c:pt idx="1720">
                    <c:v>Rolling Mean (30 Minute)</c:v>
                  </c:pt>
                  <c:pt idx="1721">
                    <c:v>Rolling Mean (30 Minute)</c:v>
                  </c:pt>
                  <c:pt idx="1722">
                    <c:v>Rolling Mean (30 Minute)</c:v>
                  </c:pt>
                  <c:pt idx="1723">
                    <c:v>Rolling Mean (30 Minute)</c:v>
                  </c:pt>
                  <c:pt idx="1724">
                    <c:v>Rolling Mean (30 Minute)</c:v>
                  </c:pt>
                  <c:pt idx="1725">
                    <c:v>Rolling Mean (30 Minute)</c:v>
                  </c:pt>
                  <c:pt idx="1726">
                    <c:v>Rolling Mean (30 Minute)</c:v>
                  </c:pt>
                  <c:pt idx="1727">
                    <c:v>Rolling Mean (30 Minute)</c:v>
                  </c:pt>
                  <c:pt idx="1728">
                    <c:v>Rolling Mean (30 Minute)</c:v>
                  </c:pt>
                  <c:pt idx="1729">
                    <c:v>Rolling Mean (30 Minute)</c:v>
                  </c:pt>
                  <c:pt idx="1730">
                    <c:v>Rolling Mean (30 Minute)</c:v>
                  </c:pt>
                  <c:pt idx="1731">
                    <c:v>Rolling Mean (30 Minute)</c:v>
                  </c:pt>
                  <c:pt idx="1732">
                    <c:v>Rolling Mean (30 Minute)</c:v>
                  </c:pt>
                  <c:pt idx="1733">
                    <c:v>Rolling Mean (30 Minute)</c:v>
                  </c:pt>
                  <c:pt idx="1734">
                    <c:v>Rolling Mean (30 Minute)</c:v>
                  </c:pt>
                  <c:pt idx="1735">
                    <c:v>Rolling Mean (30 Minute)</c:v>
                  </c:pt>
                  <c:pt idx="1736">
                    <c:v>Rolling Mean (30 Minute)</c:v>
                  </c:pt>
                  <c:pt idx="1737">
                    <c:v>Rolling Mean (30 Minute)</c:v>
                  </c:pt>
                  <c:pt idx="1738">
                    <c:v>Rolling Mean (30 Minute)</c:v>
                  </c:pt>
                  <c:pt idx="1739">
                    <c:v>Rolling Mean (30 Minute)</c:v>
                  </c:pt>
                  <c:pt idx="1740">
                    <c:v>Rolling Mean (30 Minute)</c:v>
                  </c:pt>
                  <c:pt idx="1741">
                    <c:v>Rolling Mean (30 Minute)</c:v>
                  </c:pt>
                  <c:pt idx="1742">
                    <c:v>Rolling Mean (30 Minute)</c:v>
                  </c:pt>
                  <c:pt idx="1743">
                    <c:v>Rolling Mean (30 Minute)</c:v>
                  </c:pt>
                  <c:pt idx="1744">
                    <c:v>Rolling Mean (30 Minute)</c:v>
                  </c:pt>
                  <c:pt idx="1745">
                    <c:v>Rolling Mean (30 Minute)</c:v>
                  </c:pt>
                  <c:pt idx="1746">
                    <c:v>Rolling Mean (30 Minute)</c:v>
                  </c:pt>
                  <c:pt idx="1747">
                    <c:v>Rolling Mean (30 Minute)</c:v>
                  </c:pt>
                  <c:pt idx="1748">
                    <c:v>Rolling Mean (30 Minute)</c:v>
                  </c:pt>
                  <c:pt idx="1749">
                    <c:v>Rolling Mean (30 Minute)</c:v>
                  </c:pt>
                  <c:pt idx="1750">
                    <c:v>Rolling Mean (30 Minute)</c:v>
                  </c:pt>
                  <c:pt idx="1751">
                    <c:v>Rolling Mean (30 Minute)</c:v>
                  </c:pt>
                  <c:pt idx="1752">
                    <c:v>Rolling Mean (30 Minute)</c:v>
                  </c:pt>
                  <c:pt idx="1753">
                    <c:v>Rolling Mean (30 Minute)</c:v>
                  </c:pt>
                  <c:pt idx="1754">
                    <c:v>Rolling Mean (30 Minute)</c:v>
                  </c:pt>
                  <c:pt idx="1755">
                    <c:v>Rolling Mean (30 Minute)</c:v>
                  </c:pt>
                  <c:pt idx="1756">
                    <c:v>Rolling Mean (30 Minute)</c:v>
                  </c:pt>
                  <c:pt idx="1757">
                    <c:v>Rolling Mean (30 Minute)</c:v>
                  </c:pt>
                  <c:pt idx="1758">
                    <c:v>Rolling Mean (30 Minute)</c:v>
                  </c:pt>
                  <c:pt idx="1759">
                    <c:v>Rolling Mean (30 Minute)</c:v>
                  </c:pt>
                  <c:pt idx="1760">
                    <c:v>Rolling Mean (30 Minute)</c:v>
                  </c:pt>
                  <c:pt idx="1761">
                    <c:v>Rolling Mean (30 Minute)</c:v>
                  </c:pt>
                  <c:pt idx="1762">
                    <c:v>Rolling Mean (30 Minute)</c:v>
                  </c:pt>
                  <c:pt idx="1763">
                    <c:v>Rolling Mean (30 Minute)</c:v>
                  </c:pt>
                  <c:pt idx="1764">
                    <c:v>Rolling Mean (30 Minute)</c:v>
                  </c:pt>
                  <c:pt idx="1765">
                    <c:v>Rolling Mean (30 Minute)</c:v>
                  </c:pt>
                  <c:pt idx="1766">
                    <c:v>Rolling Mean (30 Minute)</c:v>
                  </c:pt>
                  <c:pt idx="1767">
                    <c:v>Rolling Mean (30 Minute)</c:v>
                  </c:pt>
                  <c:pt idx="1768">
                    <c:v>Rolling Mean (30 Minute)</c:v>
                  </c:pt>
                  <c:pt idx="1769">
                    <c:v>Rolling Mean (30 Minute)</c:v>
                  </c:pt>
                  <c:pt idx="1770">
                    <c:v>Rolling Mean (30 Minute)</c:v>
                  </c:pt>
                  <c:pt idx="1771">
                    <c:v>Rolling Mean (30 Minute)</c:v>
                  </c:pt>
                  <c:pt idx="1772">
                    <c:v>Rolling Mean (30 Minute)</c:v>
                  </c:pt>
                  <c:pt idx="1773">
                    <c:v>Rolling Mean (30 Minute)</c:v>
                  </c:pt>
                  <c:pt idx="1774">
                    <c:v>Rolling Mean (30 Minute)</c:v>
                  </c:pt>
                  <c:pt idx="1775">
                    <c:v>Rolling Mean (30 Minute)</c:v>
                  </c:pt>
                  <c:pt idx="1776">
                    <c:v>Rolling Mean (30 Minute)</c:v>
                  </c:pt>
                  <c:pt idx="1777">
                    <c:v>Rolling Mean (30 Minute)</c:v>
                  </c:pt>
                  <c:pt idx="1778">
                    <c:v>Rolling Mean (30 Minute)</c:v>
                  </c:pt>
                  <c:pt idx="1779">
                    <c:v>Rolling Mean (30 Minute)</c:v>
                  </c:pt>
                  <c:pt idx="1780">
                    <c:v>Rolling Mean (30 Minute)</c:v>
                  </c:pt>
                  <c:pt idx="1781">
                    <c:v>Rolling Mean (30 Minute)</c:v>
                  </c:pt>
                  <c:pt idx="1782">
                    <c:v>Rolling Mean (30 Minute)</c:v>
                  </c:pt>
                  <c:pt idx="1783">
                    <c:v>Rolling Mean (30 Minute)</c:v>
                  </c:pt>
                  <c:pt idx="1784">
                    <c:v>Rolling Mean (30 Minute)</c:v>
                  </c:pt>
                  <c:pt idx="1785">
                    <c:v>Rolling Mean (30 Minute)</c:v>
                  </c:pt>
                  <c:pt idx="1786">
                    <c:v>Rolling Mean (30 Minute)</c:v>
                  </c:pt>
                  <c:pt idx="1787">
                    <c:v>Rolling Mean (30 Minute)</c:v>
                  </c:pt>
                  <c:pt idx="1788">
                    <c:v>Rolling Mean (30 Minute)</c:v>
                  </c:pt>
                  <c:pt idx="1789">
                    <c:v>Rolling Mean (30 Minute)</c:v>
                  </c:pt>
                  <c:pt idx="1790">
                    <c:v>Rolling Mean (30 Minute)</c:v>
                  </c:pt>
                  <c:pt idx="1791">
                    <c:v>Rolling Mean (30 Minute)</c:v>
                  </c:pt>
                  <c:pt idx="1792">
                    <c:v>Rolling Mean (30 Minute)</c:v>
                  </c:pt>
                  <c:pt idx="1793">
                    <c:v>Rolling Mean (30 Minute)</c:v>
                  </c:pt>
                  <c:pt idx="1794">
                    <c:v>Rolling Mean (30 Minute)</c:v>
                  </c:pt>
                  <c:pt idx="1795">
                    <c:v>Rolling Mean (30 Minute)</c:v>
                  </c:pt>
                  <c:pt idx="1796">
                    <c:v>Rolling Mean (30 Minute)</c:v>
                  </c:pt>
                  <c:pt idx="1797">
                    <c:v>Rolling Mean (30 Minute)</c:v>
                  </c:pt>
                  <c:pt idx="1798">
                    <c:v>Rolling Mean (30 Minute)</c:v>
                  </c:pt>
                  <c:pt idx="1799">
                    <c:v>Rolling Mean (30 Minute)</c:v>
                  </c:pt>
                  <c:pt idx="1800">
                    <c:v>Rolling Mean (30 Minute)</c:v>
                  </c:pt>
                  <c:pt idx="1801">
                    <c:v>Rolling Mean (30 Minute)</c:v>
                  </c:pt>
                  <c:pt idx="1802">
                    <c:v>Rolling Mean (30 Minute)</c:v>
                  </c:pt>
                  <c:pt idx="1803">
                    <c:v>Rolling Mean (30 Minute)</c:v>
                  </c:pt>
                  <c:pt idx="1804">
                    <c:v>Rolling Mean (30 Minute)</c:v>
                  </c:pt>
                  <c:pt idx="1805">
                    <c:v>Rolling Mean (30 Minute)</c:v>
                  </c:pt>
                  <c:pt idx="1806">
                    <c:v>Rolling Mean (30 Minute)</c:v>
                  </c:pt>
                  <c:pt idx="1807">
                    <c:v>Rolling Mean (30 Minute)</c:v>
                  </c:pt>
                  <c:pt idx="1808">
                    <c:v>Rolling Mean (30 Minute)</c:v>
                  </c:pt>
                  <c:pt idx="1809">
                    <c:v>Rolling Mean (30 Minute)</c:v>
                  </c:pt>
                  <c:pt idx="1810">
                    <c:v>Rolling Mean (30 Minute)</c:v>
                  </c:pt>
                  <c:pt idx="1811">
                    <c:v>Rolling Mean (30 Minute)</c:v>
                  </c:pt>
                  <c:pt idx="1812">
                    <c:v>Rolling Mean (30 Minute)</c:v>
                  </c:pt>
                  <c:pt idx="1813">
                    <c:v>Rolling Mean (30 Minute)</c:v>
                  </c:pt>
                  <c:pt idx="1814">
                    <c:v>Rolling Mean (30 Minute)</c:v>
                  </c:pt>
                  <c:pt idx="1815">
                    <c:v>Rolling Mean (30 Minute)</c:v>
                  </c:pt>
                  <c:pt idx="1816">
                    <c:v>Rolling Mean (30 Minute)</c:v>
                  </c:pt>
                  <c:pt idx="1817">
                    <c:v>Rolling Mean (30 Minute)</c:v>
                  </c:pt>
                  <c:pt idx="1818">
                    <c:v>Rolling Mean (30 Minute)</c:v>
                  </c:pt>
                  <c:pt idx="1819">
                    <c:v>Rolling Mean (30 Minute)</c:v>
                  </c:pt>
                  <c:pt idx="1820">
                    <c:v>Rolling Mean (30 Minute)</c:v>
                  </c:pt>
                  <c:pt idx="1821">
                    <c:v>Rolling Mean (30 Minute)</c:v>
                  </c:pt>
                  <c:pt idx="1822">
                    <c:v>Rolling Mean (30 Minute)</c:v>
                  </c:pt>
                  <c:pt idx="1823">
                    <c:v>Rolling Mean (30 Minute)</c:v>
                  </c:pt>
                  <c:pt idx="1824">
                    <c:v>Rolling Mean (30 Minute)</c:v>
                  </c:pt>
                  <c:pt idx="1825">
                    <c:v>Rolling Mean (30 Minute)</c:v>
                  </c:pt>
                  <c:pt idx="1826">
                    <c:v>Rolling Mean (30 Minute)</c:v>
                  </c:pt>
                  <c:pt idx="1827">
                    <c:v>Rolling Mean (30 Minute)</c:v>
                  </c:pt>
                  <c:pt idx="1828">
                    <c:v>Rolling Mean (30 Minute)</c:v>
                  </c:pt>
                  <c:pt idx="1829">
                    <c:v>Rolling Mean (30 Minute)</c:v>
                  </c:pt>
                  <c:pt idx="1830">
                    <c:v>Rolling Mean (30 Minute)</c:v>
                  </c:pt>
                  <c:pt idx="1831">
                    <c:v>Rolling Mean (30 Minute)</c:v>
                  </c:pt>
                  <c:pt idx="1832">
                    <c:v>Rolling Mean (30 Minute)</c:v>
                  </c:pt>
                  <c:pt idx="1833">
                    <c:v>Rolling Mean (30 Minute)</c:v>
                  </c:pt>
                  <c:pt idx="1834">
                    <c:v>Rolling Mean (30 Minute)</c:v>
                  </c:pt>
                  <c:pt idx="1835">
                    <c:v>Rolling Mean (30 Minute)</c:v>
                  </c:pt>
                  <c:pt idx="1836">
                    <c:v>Rolling Mean (30 Minute)</c:v>
                  </c:pt>
                  <c:pt idx="1837">
                    <c:v>Rolling Mean (30 Minute)</c:v>
                  </c:pt>
                  <c:pt idx="1838">
                    <c:v>Rolling Mean (30 Minute)</c:v>
                  </c:pt>
                  <c:pt idx="1839">
                    <c:v>Rolling Mean (30 Minute)</c:v>
                  </c:pt>
                  <c:pt idx="1840">
                    <c:v>Rolling Mean (30 Minute)</c:v>
                  </c:pt>
                  <c:pt idx="1841">
                    <c:v>Rolling Mean (30 Minute)</c:v>
                  </c:pt>
                  <c:pt idx="1842">
                    <c:v>Rolling Mean (30 Minute)</c:v>
                  </c:pt>
                  <c:pt idx="1843">
                    <c:v>Rolling Mean (30 Minute)</c:v>
                  </c:pt>
                  <c:pt idx="1844">
                    <c:v>Rolling Mean (30 Minute)</c:v>
                  </c:pt>
                  <c:pt idx="1845">
                    <c:v>Rolling Mean (30 Minute)</c:v>
                  </c:pt>
                  <c:pt idx="1846">
                    <c:v>Rolling Mean (30 Minute)</c:v>
                  </c:pt>
                  <c:pt idx="1847">
                    <c:v>Rolling Mean (30 Minute)</c:v>
                  </c:pt>
                  <c:pt idx="1848">
                    <c:v>Rolling Mean (30 Minute)</c:v>
                  </c:pt>
                  <c:pt idx="1849">
                    <c:v>Rolling Mean (30 Minute)</c:v>
                  </c:pt>
                  <c:pt idx="1850">
                    <c:v>Rolling Mean (30 Minute)</c:v>
                  </c:pt>
                  <c:pt idx="1851">
                    <c:v>Rolling Mean (30 Minute)</c:v>
                  </c:pt>
                  <c:pt idx="1852">
                    <c:v>Rolling Mean (30 Minute)</c:v>
                  </c:pt>
                  <c:pt idx="1853">
                    <c:v>Rolling Mean (30 Minute)</c:v>
                  </c:pt>
                  <c:pt idx="1854">
                    <c:v>Rolling Mean (30 Minute)</c:v>
                  </c:pt>
                  <c:pt idx="1855">
                    <c:v>Rolling Mean (30 Minute)</c:v>
                  </c:pt>
                  <c:pt idx="1856">
                    <c:v>Rolling Mean (30 Minute)</c:v>
                  </c:pt>
                  <c:pt idx="1857">
                    <c:v>Rolling Mean (30 Minute)</c:v>
                  </c:pt>
                  <c:pt idx="1858">
                    <c:v>Rolling Mean (30 Minute)</c:v>
                  </c:pt>
                  <c:pt idx="1859">
                    <c:v>Rolling Mean (30 Minute)</c:v>
                  </c:pt>
                  <c:pt idx="1860">
                    <c:v>Rolling Mean (30 Minute)</c:v>
                  </c:pt>
                  <c:pt idx="1861">
                    <c:v>Rolling Mean (30 Minute)</c:v>
                  </c:pt>
                  <c:pt idx="1862">
                    <c:v>Rolling Mean (30 Minute)</c:v>
                  </c:pt>
                  <c:pt idx="1863">
                    <c:v>Rolling Mean (30 Minute)</c:v>
                  </c:pt>
                  <c:pt idx="1864">
                    <c:v>Rolling Mean (30 Minute)</c:v>
                  </c:pt>
                  <c:pt idx="1865">
                    <c:v>Rolling Mean (30 Minute)</c:v>
                  </c:pt>
                  <c:pt idx="1866">
                    <c:v>Rolling Mean (30 Minute)</c:v>
                  </c:pt>
                  <c:pt idx="1867">
                    <c:v>Rolling Mean (30 Minute)</c:v>
                  </c:pt>
                  <c:pt idx="1868">
                    <c:v>Rolling Mean (30 Minute)</c:v>
                  </c:pt>
                  <c:pt idx="1869">
                    <c:v>Rolling Mean (30 Minute)</c:v>
                  </c:pt>
                  <c:pt idx="1870">
                    <c:v>Rolling Mean (30 Minute)</c:v>
                  </c:pt>
                  <c:pt idx="1871">
                    <c:v>Rolling Mean (30 Minute)</c:v>
                  </c:pt>
                  <c:pt idx="1872">
                    <c:v>Rolling Mean (30 Minute)</c:v>
                  </c:pt>
                  <c:pt idx="1873">
                    <c:v>Rolling Mean (30 Minute)</c:v>
                  </c:pt>
                  <c:pt idx="1874">
                    <c:v>Rolling Mean (30 Minute)</c:v>
                  </c:pt>
                  <c:pt idx="1875">
                    <c:v>Rolling Mean (30 Minute)</c:v>
                  </c:pt>
                  <c:pt idx="1876">
                    <c:v>Rolling Mean (30 Minute)</c:v>
                  </c:pt>
                  <c:pt idx="1877">
                    <c:v>Rolling Mean (30 Minute)</c:v>
                  </c:pt>
                  <c:pt idx="1878">
                    <c:v>Rolling Mean (30 Minute)</c:v>
                  </c:pt>
                  <c:pt idx="1879">
                    <c:v>Rolling Mean (30 Minute)</c:v>
                  </c:pt>
                  <c:pt idx="1880">
                    <c:v>Rolling Mean (30 Minute)</c:v>
                  </c:pt>
                  <c:pt idx="1881">
                    <c:v>Rolling Mean (30 Minute)</c:v>
                  </c:pt>
                  <c:pt idx="1882">
                    <c:v>Rolling Mean (30 Minute)</c:v>
                  </c:pt>
                  <c:pt idx="1883">
                    <c:v>Rolling Mean (30 Minute)</c:v>
                  </c:pt>
                  <c:pt idx="1884">
                    <c:v>Rolling Mean (30 Minute)</c:v>
                  </c:pt>
                  <c:pt idx="1885">
                    <c:v>Rolling Mean (30 Minute)</c:v>
                  </c:pt>
                  <c:pt idx="1886">
                    <c:v>Rolling Mean (30 Minute)</c:v>
                  </c:pt>
                  <c:pt idx="1887">
                    <c:v>Rolling Mean (30 Minute)</c:v>
                  </c:pt>
                  <c:pt idx="1888">
                    <c:v>Rolling Mean (30 Minute)</c:v>
                  </c:pt>
                  <c:pt idx="1889">
                    <c:v>Rolling Mean (30 Minute)</c:v>
                  </c:pt>
                  <c:pt idx="1890">
                    <c:v>Rolling Mean (30 Minute)</c:v>
                  </c:pt>
                  <c:pt idx="1891">
                    <c:v>Rolling Mean (30 Minute)</c:v>
                  </c:pt>
                  <c:pt idx="1892">
                    <c:v>Rolling Mean (30 Minute)</c:v>
                  </c:pt>
                  <c:pt idx="1893">
                    <c:v>Rolling Mean (30 Minute)</c:v>
                  </c:pt>
                  <c:pt idx="1894">
                    <c:v>Rolling Mean (30 Minute)</c:v>
                  </c:pt>
                  <c:pt idx="1895">
                    <c:v>Rolling Mean (30 Minute)</c:v>
                  </c:pt>
                  <c:pt idx="1896">
                    <c:v>Rolling Mean (30 Minute)</c:v>
                  </c:pt>
                  <c:pt idx="1897">
                    <c:v>Rolling Mean (30 Minute)</c:v>
                  </c:pt>
                  <c:pt idx="1898">
                    <c:v>Rolling Mean (30 Minute)</c:v>
                  </c:pt>
                  <c:pt idx="1899">
                    <c:v>Rolling Mean (30 Minute)</c:v>
                  </c:pt>
                  <c:pt idx="1900">
                    <c:v>Rolling Mean (30 Minute)</c:v>
                  </c:pt>
                  <c:pt idx="1901">
                    <c:v>Rolling Mean (30 Minute)</c:v>
                  </c:pt>
                  <c:pt idx="1902">
                    <c:v>Rolling Mean (30 Minute)</c:v>
                  </c:pt>
                  <c:pt idx="1903">
                    <c:v>Rolling Mean (30 Minute)</c:v>
                  </c:pt>
                  <c:pt idx="1904">
                    <c:v>Rolling Mean (30 Minute)</c:v>
                  </c:pt>
                  <c:pt idx="1905">
                    <c:v>Rolling Mean (30 Minute)</c:v>
                  </c:pt>
                  <c:pt idx="1906">
                    <c:v>Rolling Mean (30 Minute)</c:v>
                  </c:pt>
                  <c:pt idx="1907">
                    <c:v>Rolling Mean (30 Minute)</c:v>
                  </c:pt>
                  <c:pt idx="1908">
                    <c:v>Rolling Mean (30 Minute)</c:v>
                  </c:pt>
                  <c:pt idx="1909">
                    <c:v>Rolling Mean (30 Minute)</c:v>
                  </c:pt>
                  <c:pt idx="1910">
                    <c:v>Rolling Mean (30 Minute)</c:v>
                  </c:pt>
                  <c:pt idx="1911">
                    <c:v>Rolling Mean (30 Minute)</c:v>
                  </c:pt>
                  <c:pt idx="1912">
                    <c:v>Rolling Mean (30 Minute)</c:v>
                  </c:pt>
                  <c:pt idx="1913">
                    <c:v>Rolling Mean (30 Minute)</c:v>
                  </c:pt>
                  <c:pt idx="1914">
                    <c:v>Rolling Mean (30 Minute)</c:v>
                  </c:pt>
                  <c:pt idx="1915">
                    <c:v>Rolling Mean (30 Minute)</c:v>
                  </c:pt>
                  <c:pt idx="1916">
                    <c:v>Rolling Mean (30 Minute)</c:v>
                  </c:pt>
                  <c:pt idx="1917">
                    <c:v>Rolling Mean (30 Minute)</c:v>
                  </c:pt>
                  <c:pt idx="1918">
                    <c:v>Rolling Mean (30 Minute)</c:v>
                  </c:pt>
                  <c:pt idx="1919">
                    <c:v>Rolling Mean (30 Minute)</c:v>
                  </c:pt>
                  <c:pt idx="1920">
                    <c:v>Rolling Mean (30 Minute)</c:v>
                  </c:pt>
                  <c:pt idx="1921">
                    <c:v>Rolling Mean (30 Minute)</c:v>
                  </c:pt>
                  <c:pt idx="1922">
                    <c:v>Rolling Mean (30 Minute)</c:v>
                  </c:pt>
                  <c:pt idx="1923">
                    <c:v>Rolling Mean (30 Minute)</c:v>
                  </c:pt>
                  <c:pt idx="1924">
                    <c:v>Rolling Mean (30 Minute)</c:v>
                  </c:pt>
                  <c:pt idx="1925">
                    <c:v>Rolling Mean (30 Minute)</c:v>
                  </c:pt>
                  <c:pt idx="1926">
                    <c:v>Rolling Mean (30 Minute)</c:v>
                  </c:pt>
                  <c:pt idx="1927">
                    <c:v>Rolling Mean (30 Minute)</c:v>
                  </c:pt>
                  <c:pt idx="1928">
                    <c:v>Rolling Mean (30 Minute)</c:v>
                  </c:pt>
                  <c:pt idx="1929">
                    <c:v>Rolling Mean (30 Minute)</c:v>
                  </c:pt>
                  <c:pt idx="1930">
                    <c:v>Rolling Mean (30 Minute)</c:v>
                  </c:pt>
                  <c:pt idx="1931">
                    <c:v>Rolling Mean (30 Minute)</c:v>
                  </c:pt>
                  <c:pt idx="1932">
                    <c:v>Rolling Mean (30 Minute)</c:v>
                  </c:pt>
                  <c:pt idx="1933">
                    <c:v>Rolling Mean (30 Minute)</c:v>
                  </c:pt>
                  <c:pt idx="1934">
                    <c:v>Rolling Mean (30 Minute)</c:v>
                  </c:pt>
                  <c:pt idx="1935">
                    <c:v>Rolling Mean (30 Minute)</c:v>
                  </c:pt>
                  <c:pt idx="1936">
                    <c:v>Rolling Mean (30 Minute)</c:v>
                  </c:pt>
                  <c:pt idx="1937">
                    <c:v>Rolling Mean (30 Minute)</c:v>
                  </c:pt>
                  <c:pt idx="1938">
                    <c:v>Rolling Mean (30 Minute)</c:v>
                  </c:pt>
                  <c:pt idx="1939">
                    <c:v>Rolling Mean (30 Minute)</c:v>
                  </c:pt>
                  <c:pt idx="1940">
                    <c:v>Rolling Mean (30 Minute)</c:v>
                  </c:pt>
                  <c:pt idx="1941">
                    <c:v>Rolling Mean (30 Minute)</c:v>
                  </c:pt>
                  <c:pt idx="1942">
                    <c:v>Rolling Mean (30 Minute)</c:v>
                  </c:pt>
                  <c:pt idx="1943">
                    <c:v>Rolling Mean (30 Minute)</c:v>
                  </c:pt>
                  <c:pt idx="1944">
                    <c:v>Rolling Mean (30 Minute)</c:v>
                  </c:pt>
                  <c:pt idx="1945">
                    <c:v>Rolling Mean (30 Minute)</c:v>
                  </c:pt>
                  <c:pt idx="1946">
                    <c:v>Rolling Mean (30 Minute)</c:v>
                  </c:pt>
                  <c:pt idx="1947">
                    <c:v>Rolling Mean (30 Minute)</c:v>
                  </c:pt>
                  <c:pt idx="1948">
                    <c:v>Rolling Mean (30 Minute)</c:v>
                  </c:pt>
                  <c:pt idx="1949">
                    <c:v>Rolling Mean (30 Minute)</c:v>
                  </c:pt>
                  <c:pt idx="1950">
                    <c:v>Rolling Mean (30 Minute)</c:v>
                  </c:pt>
                  <c:pt idx="1951">
                    <c:v>Rolling Mean (30 Minute)</c:v>
                  </c:pt>
                  <c:pt idx="1952">
                    <c:v>Rolling Mean (30 Minute)</c:v>
                  </c:pt>
                  <c:pt idx="1953">
                    <c:v>Rolling Mean (30 Minute)</c:v>
                  </c:pt>
                  <c:pt idx="1954">
                    <c:v>Rolling Mean (30 Minute)</c:v>
                  </c:pt>
                  <c:pt idx="1955">
                    <c:v>Rolling Mean (30 Minute)</c:v>
                  </c:pt>
                  <c:pt idx="1956">
                    <c:v>Rolling Mean (30 Minute)</c:v>
                  </c:pt>
                  <c:pt idx="1957">
                    <c:v>Rolling Mean (30 Minute)</c:v>
                  </c:pt>
                  <c:pt idx="1958">
                    <c:v>Rolling Mean (30 Minute)</c:v>
                  </c:pt>
                  <c:pt idx="1959">
                    <c:v>Rolling Mean (30 Minute)</c:v>
                  </c:pt>
                  <c:pt idx="1960">
                    <c:v>Rolling Mean (30 Minute)</c:v>
                  </c:pt>
                  <c:pt idx="1961">
                    <c:v>Rolling Mean (30 Minute)</c:v>
                  </c:pt>
                  <c:pt idx="1962">
                    <c:v>Rolling Mean (30 Minute)</c:v>
                  </c:pt>
                  <c:pt idx="1963">
                    <c:v>Rolling Mean (30 Minute)</c:v>
                  </c:pt>
                  <c:pt idx="1964">
                    <c:v>Rolling Mean (30 Minute)</c:v>
                  </c:pt>
                  <c:pt idx="1965">
                    <c:v>Rolling Mean (30 Minute)</c:v>
                  </c:pt>
                  <c:pt idx="1966">
                    <c:v>Rolling Mean (30 Minute)</c:v>
                  </c:pt>
                  <c:pt idx="1967">
                    <c:v>Rolling Mean (30 Minute)</c:v>
                  </c:pt>
                  <c:pt idx="1968">
                    <c:v>Rolling Mean (30 Minute)</c:v>
                  </c:pt>
                  <c:pt idx="1969">
                    <c:v>Rolling Mean (30 Minute)</c:v>
                  </c:pt>
                  <c:pt idx="1970">
                    <c:v>Rolling Mean (30 Minute)</c:v>
                  </c:pt>
                  <c:pt idx="1971">
                    <c:v>Rolling Mean (30 Minute)</c:v>
                  </c:pt>
                  <c:pt idx="1972">
                    <c:v>Rolling Mean (30 Minute)</c:v>
                  </c:pt>
                  <c:pt idx="1973">
                    <c:v>Rolling Mean (30 Minute)</c:v>
                  </c:pt>
                  <c:pt idx="1974">
                    <c:v>Rolling Mean (30 Minute)</c:v>
                  </c:pt>
                  <c:pt idx="1975">
                    <c:v>Rolling Mean (30 Minute)</c:v>
                  </c:pt>
                  <c:pt idx="1976">
                    <c:v>Rolling Mean (30 Minute)</c:v>
                  </c:pt>
                  <c:pt idx="1977">
                    <c:v>Rolling Mean (30 Minute)</c:v>
                  </c:pt>
                  <c:pt idx="1978">
                    <c:v>Rolling Mean (30 Minute)</c:v>
                  </c:pt>
                  <c:pt idx="1979">
                    <c:v>Rolling Mean (30 Minute)</c:v>
                  </c:pt>
                  <c:pt idx="1980">
                    <c:v>Rolling Mean (30 Minute)</c:v>
                  </c:pt>
                  <c:pt idx="1981">
                    <c:v>Rolling Mean (30 Minute)</c:v>
                  </c:pt>
                  <c:pt idx="1982">
                    <c:v>Rolling Mean (30 Minute)</c:v>
                  </c:pt>
                  <c:pt idx="1983">
                    <c:v>Rolling Mean (30 Minute)</c:v>
                  </c:pt>
                  <c:pt idx="1984">
                    <c:v>Rolling Mean (30 Minute)</c:v>
                  </c:pt>
                  <c:pt idx="1985">
                    <c:v>Rolling Mean (30 Minute)</c:v>
                  </c:pt>
                  <c:pt idx="1986">
                    <c:v>Rolling Mean (30 Minute)</c:v>
                  </c:pt>
                  <c:pt idx="1987">
                    <c:v>Rolling Mean (30 Minute)</c:v>
                  </c:pt>
                  <c:pt idx="1988">
                    <c:v>Rolling Mean (30 Minute)</c:v>
                  </c:pt>
                  <c:pt idx="1989">
                    <c:v>Rolling Mean (30 Minute)</c:v>
                  </c:pt>
                  <c:pt idx="1990">
                    <c:v>Rolling Mean (30 Minute)</c:v>
                  </c:pt>
                  <c:pt idx="1991">
                    <c:v>Rolling Mean (30 Minute)</c:v>
                  </c:pt>
                  <c:pt idx="1992">
                    <c:v>Rolling Mean (30 Minute)</c:v>
                  </c:pt>
                  <c:pt idx="1993">
                    <c:v>Rolling Mean (30 Minute)</c:v>
                  </c:pt>
                  <c:pt idx="1994">
                    <c:v>Rolling Mean (30 Minute)</c:v>
                  </c:pt>
                  <c:pt idx="1995">
                    <c:v>Rolling Mean (30 Minute)</c:v>
                  </c:pt>
                  <c:pt idx="1996">
                    <c:v>Rolling Mean (30 Minute)</c:v>
                  </c:pt>
                  <c:pt idx="1997">
                    <c:v>Rolling Mean (30 Minute)</c:v>
                  </c:pt>
                  <c:pt idx="1998">
                    <c:v>Rolling Mean (30 Minute)</c:v>
                  </c:pt>
                  <c:pt idx="1999">
                    <c:v>Rolling Mean (30 Minute)</c:v>
                  </c:pt>
                  <c:pt idx="2000">
                    <c:v>Rolling Mean (30 Minute)</c:v>
                  </c:pt>
                  <c:pt idx="2001">
                    <c:v>Rolling Mean (30 Minute)</c:v>
                  </c:pt>
                  <c:pt idx="2002">
                    <c:v>Rolling Mean (30 Minute)</c:v>
                  </c:pt>
                  <c:pt idx="2003">
                    <c:v>Rolling Mean (30 Minute)</c:v>
                  </c:pt>
                  <c:pt idx="2004">
                    <c:v>Rolling Mean (30 Minute)</c:v>
                  </c:pt>
                  <c:pt idx="2005">
                    <c:v>Rolling Mean (30 Minute)</c:v>
                  </c:pt>
                  <c:pt idx="2006">
                    <c:v>Rolling Mean (30 Minute)</c:v>
                  </c:pt>
                  <c:pt idx="2007">
                    <c:v>Rolling Mean (30 Minute)</c:v>
                  </c:pt>
                  <c:pt idx="2008">
                    <c:v>Rolling Mean (30 Minute)</c:v>
                  </c:pt>
                  <c:pt idx="2009">
                    <c:v>Rolling Mean (30 Minute)</c:v>
                  </c:pt>
                  <c:pt idx="2010">
                    <c:v>Rolling Mean (30 Minute)</c:v>
                  </c:pt>
                  <c:pt idx="2011">
                    <c:v>Rolling Mean (30 Minute)</c:v>
                  </c:pt>
                  <c:pt idx="2012">
                    <c:v>Rolling Mean (30 Minute)</c:v>
                  </c:pt>
                  <c:pt idx="2013">
                    <c:v>Rolling Mean (30 Minute)</c:v>
                  </c:pt>
                  <c:pt idx="2014">
                    <c:v>Rolling Mean (30 Minute)</c:v>
                  </c:pt>
                  <c:pt idx="2015">
                    <c:v>Rolling Mean (30 Minute)</c:v>
                  </c:pt>
                  <c:pt idx="2016">
                    <c:v>Rolling Mean (30 Minute)</c:v>
                  </c:pt>
                  <c:pt idx="2017">
                    <c:v>Rolling Mean (30 Minute)</c:v>
                  </c:pt>
                  <c:pt idx="2018">
                    <c:v>Rolling Mean (30 Minute)</c:v>
                  </c:pt>
                  <c:pt idx="2019">
                    <c:v>Rolling Mean (30 Minute)</c:v>
                  </c:pt>
                  <c:pt idx="2020">
                    <c:v>Rolling Mean (30 Minute)</c:v>
                  </c:pt>
                  <c:pt idx="2021">
                    <c:v>Rolling Mean (30 Minute)</c:v>
                  </c:pt>
                  <c:pt idx="2022">
                    <c:v>Rolling Mean (30 Minute)</c:v>
                  </c:pt>
                  <c:pt idx="2023">
                    <c:v>Rolling Mean (30 Minute)</c:v>
                  </c:pt>
                  <c:pt idx="2024">
                    <c:v>Rolling Mean (30 Minute)</c:v>
                  </c:pt>
                  <c:pt idx="2025">
                    <c:v>Rolling Mean (30 Minute)</c:v>
                  </c:pt>
                  <c:pt idx="2026">
                    <c:v>Rolling Mean (30 Minute)</c:v>
                  </c:pt>
                  <c:pt idx="2027">
                    <c:v>Rolling Mean (30 Minute)</c:v>
                  </c:pt>
                  <c:pt idx="2028">
                    <c:v>Rolling Mean (30 Minute)</c:v>
                  </c:pt>
                  <c:pt idx="2029">
                    <c:v>Rolling Mean (30 Minute)</c:v>
                  </c:pt>
                  <c:pt idx="2030">
                    <c:v>Rolling Mean (30 Minute)</c:v>
                  </c:pt>
                  <c:pt idx="2031">
                    <c:v>Rolling Mean (30 Minute)</c:v>
                  </c:pt>
                  <c:pt idx="2032">
                    <c:v>Rolling Mean (30 Minute)</c:v>
                  </c:pt>
                  <c:pt idx="2033">
                    <c:v>Rolling Mean (30 Minute)</c:v>
                  </c:pt>
                  <c:pt idx="2034">
                    <c:v>Rolling Mean (30 Minute)</c:v>
                  </c:pt>
                  <c:pt idx="2035">
                    <c:v>Rolling Mean (30 Minute)</c:v>
                  </c:pt>
                  <c:pt idx="2036">
                    <c:v>Rolling Mean (30 Minute)</c:v>
                  </c:pt>
                  <c:pt idx="2037">
                    <c:v>Rolling Mean (30 Minute)</c:v>
                  </c:pt>
                  <c:pt idx="2038">
                    <c:v>Rolling Mean (30 Minute)</c:v>
                  </c:pt>
                  <c:pt idx="2039">
                    <c:v>Rolling Mean (30 Minute)</c:v>
                  </c:pt>
                  <c:pt idx="2040">
                    <c:v>Rolling Mean (30 Minute)</c:v>
                  </c:pt>
                  <c:pt idx="2041">
                    <c:v>Rolling Mean (30 Minute)</c:v>
                  </c:pt>
                  <c:pt idx="2042">
                    <c:v>Rolling Mean (30 Minute)</c:v>
                  </c:pt>
                  <c:pt idx="2043">
                    <c:v>Rolling Mean (30 Minute)</c:v>
                  </c:pt>
                  <c:pt idx="2044">
                    <c:v>Rolling Mean (30 Minute)</c:v>
                  </c:pt>
                  <c:pt idx="2045">
                    <c:v>Rolling Mean (30 Minute)</c:v>
                  </c:pt>
                  <c:pt idx="2046">
                    <c:v>Rolling Mean (30 Minute)</c:v>
                  </c:pt>
                  <c:pt idx="2047">
                    <c:v>Rolling Mean (30 Minute)</c:v>
                  </c:pt>
                  <c:pt idx="2048">
                    <c:v>Rolling Mean (30 Minute)</c:v>
                  </c:pt>
                  <c:pt idx="2049">
                    <c:v>Rolling Mean (30 Minute)</c:v>
                  </c:pt>
                  <c:pt idx="2050">
                    <c:v>Rolling Mean (30 Minute)</c:v>
                  </c:pt>
                  <c:pt idx="2051">
                    <c:v>Rolling Mean (30 Minute)</c:v>
                  </c:pt>
                  <c:pt idx="2052">
                    <c:v>Rolling Mean (30 Minute)</c:v>
                  </c:pt>
                  <c:pt idx="2053">
                    <c:v>Rolling Mean (30 Minute)</c:v>
                  </c:pt>
                  <c:pt idx="2054">
                    <c:v>Rolling Mean (30 Minute)</c:v>
                  </c:pt>
                  <c:pt idx="2055">
                    <c:v>Rolling Mean (30 Minute)</c:v>
                  </c:pt>
                  <c:pt idx="2056">
                    <c:v>Rolling Mean (30 Minute)</c:v>
                  </c:pt>
                  <c:pt idx="2057">
                    <c:v>Rolling Mean (30 Minute)</c:v>
                  </c:pt>
                  <c:pt idx="2058">
                    <c:v>Rolling Mean (30 Minute)</c:v>
                  </c:pt>
                  <c:pt idx="2059">
                    <c:v>Rolling Mean (30 Minute)</c:v>
                  </c:pt>
                  <c:pt idx="2060">
                    <c:v>Rolling Mean (30 Minute)</c:v>
                  </c:pt>
                  <c:pt idx="2061">
                    <c:v>Rolling Mean (30 Minute)</c:v>
                  </c:pt>
                  <c:pt idx="2062">
                    <c:v>Rolling Mean (30 Minute)</c:v>
                  </c:pt>
                  <c:pt idx="2063">
                    <c:v>Rolling Mean (30 Minute)</c:v>
                  </c:pt>
                  <c:pt idx="2064">
                    <c:v>Rolling Mean (30 Minute)</c:v>
                  </c:pt>
                  <c:pt idx="2065">
                    <c:v>Rolling Mean (30 Minute)</c:v>
                  </c:pt>
                  <c:pt idx="2066">
                    <c:v>Rolling Mean (30 Minute)</c:v>
                  </c:pt>
                  <c:pt idx="2067">
                    <c:v>Rolling Mean (30 Minute)</c:v>
                  </c:pt>
                  <c:pt idx="2068">
                    <c:v>Rolling Mean (30 Minute)</c:v>
                  </c:pt>
                  <c:pt idx="2069">
                    <c:v>Rolling Mean (30 Minute)</c:v>
                  </c:pt>
                  <c:pt idx="2070">
                    <c:v>Rolling Mean (30 Minute)</c:v>
                  </c:pt>
                  <c:pt idx="2071">
                    <c:v>Rolling Mean (30 Minute)</c:v>
                  </c:pt>
                  <c:pt idx="2072">
                    <c:v>Rolling Mean (30 Minute)</c:v>
                  </c:pt>
                  <c:pt idx="2073">
                    <c:v>Rolling Mean (30 Minute)</c:v>
                  </c:pt>
                  <c:pt idx="2074">
                    <c:v>Rolling Mean (30 Minute)</c:v>
                  </c:pt>
                  <c:pt idx="2075">
                    <c:v>Rolling Mean (30 Minute)</c:v>
                  </c:pt>
                  <c:pt idx="2076">
                    <c:v>Rolling Mean (30 Minute)</c:v>
                  </c:pt>
                  <c:pt idx="2077">
                    <c:v>Rolling Mean (30 Minute)</c:v>
                  </c:pt>
                  <c:pt idx="2078">
                    <c:v>Rolling Mean (30 Minute)</c:v>
                  </c:pt>
                  <c:pt idx="2079">
                    <c:v>Rolling Mean (30 Minute)</c:v>
                  </c:pt>
                  <c:pt idx="2080">
                    <c:v>Rolling Mean (30 Minute)</c:v>
                  </c:pt>
                  <c:pt idx="2081">
                    <c:v>Rolling Mean (30 Minute)</c:v>
                  </c:pt>
                  <c:pt idx="2082">
                    <c:v>Rolling Mean (30 Minute)</c:v>
                  </c:pt>
                  <c:pt idx="2083">
                    <c:v>Rolling Mean (30 Minute)</c:v>
                  </c:pt>
                  <c:pt idx="2084">
                    <c:v>Rolling Mean (30 Minute)</c:v>
                  </c:pt>
                  <c:pt idx="2085">
                    <c:v>Rolling Mean (30 Minute)</c:v>
                  </c:pt>
                  <c:pt idx="2086">
                    <c:v>Rolling Mean (30 Minute)</c:v>
                  </c:pt>
                  <c:pt idx="2087">
                    <c:v>Rolling Mean (30 Minute)</c:v>
                  </c:pt>
                  <c:pt idx="2088">
                    <c:v>Rolling Mean (30 Minute)</c:v>
                  </c:pt>
                  <c:pt idx="2089">
                    <c:v>Rolling Mean (30 Minute)</c:v>
                  </c:pt>
                  <c:pt idx="2090">
                    <c:v>Rolling Mean (30 Minute)</c:v>
                  </c:pt>
                  <c:pt idx="2091">
                    <c:v>Rolling Mean (30 Minute)</c:v>
                  </c:pt>
                  <c:pt idx="2092">
                    <c:v>Rolling Mean (30 Minute)</c:v>
                  </c:pt>
                  <c:pt idx="2093">
                    <c:v>Rolling Mean (30 Minute)</c:v>
                  </c:pt>
                  <c:pt idx="2094">
                    <c:v>Rolling Mean (30 Minute)</c:v>
                  </c:pt>
                  <c:pt idx="2095">
                    <c:v>Rolling Mean (30 Minute)</c:v>
                  </c:pt>
                  <c:pt idx="2096">
                    <c:v>Rolling Mean (30 Minute)</c:v>
                  </c:pt>
                  <c:pt idx="2097">
                    <c:v>Rolling Mean (30 Minute)</c:v>
                  </c:pt>
                  <c:pt idx="2098">
                    <c:v>Rolling Mean (30 Minute)</c:v>
                  </c:pt>
                  <c:pt idx="2099">
                    <c:v>Rolling Mean (30 Minute)</c:v>
                  </c:pt>
                  <c:pt idx="2100">
                    <c:v>Rolling Mean (30 Minute)</c:v>
                  </c:pt>
                  <c:pt idx="2101">
                    <c:v>Rolling Mean (30 Minute)</c:v>
                  </c:pt>
                  <c:pt idx="2102">
                    <c:v>Rolling Mean (30 Minute)</c:v>
                  </c:pt>
                  <c:pt idx="2103">
                    <c:v>Rolling Mean (30 Minute)</c:v>
                  </c:pt>
                  <c:pt idx="2104">
                    <c:v>Rolling Mean (30 Minute)</c:v>
                  </c:pt>
                  <c:pt idx="2105">
                    <c:v>Rolling Mean (30 Minute)</c:v>
                  </c:pt>
                  <c:pt idx="2106">
                    <c:v>Rolling Mean (30 Minute)</c:v>
                  </c:pt>
                  <c:pt idx="2107">
                    <c:v>Rolling Mean (30 Minute)</c:v>
                  </c:pt>
                  <c:pt idx="2108">
                    <c:v>Rolling Mean (30 Minute)</c:v>
                  </c:pt>
                  <c:pt idx="2109">
                    <c:v>Rolling Mean (30 Minute)</c:v>
                  </c:pt>
                  <c:pt idx="2110">
                    <c:v>Rolling Mean (30 Minute)</c:v>
                  </c:pt>
                  <c:pt idx="2111">
                    <c:v>Rolling Mean (30 Minute)</c:v>
                  </c:pt>
                  <c:pt idx="2112">
                    <c:v>Rolling Mean (30 Minute)</c:v>
                  </c:pt>
                  <c:pt idx="2113">
                    <c:v>Rolling Mean (30 Minute)</c:v>
                  </c:pt>
                  <c:pt idx="2114">
                    <c:v>Rolling Mean (30 Minute)</c:v>
                  </c:pt>
                  <c:pt idx="2115">
                    <c:v>Rolling Mean (30 Minute)</c:v>
                  </c:pt>
                  <c:pt idx="2116">
                    <c:v>Rolling Mean (30 Minute)</c:v>
                  </c:pt>
                  <c:pt idx="2117">
                    <c:v>Rolling Mean (30 Minute)</c:v>
                  </c:pt>
                  <c:pt idx="2118">
                    <c:v>Rolling Mean (30 Minute)</c:v>
                  </c:pt>
                  <c:pt idx="2119">
                    <c:v>Rolling Mean (30 Minute)</c:v>
                  </c:pt>
                  <c:pt idx="2120">
                    <c:v>Rolling Mean (30 Minute)</c:v>
                  </c:pt>
                  <c:pt idx="2121">
                    <c:v>Rolling Mean (30 Minute)</c:v>
                  </c:pt>
                  <c:pt idx="2122">
                    <c:v>Rolling Mean (30 Minute)</c:v>
                  </c:pt>
                  <c:pt idx="2123">
                    <c:v>Rolling Mean (30 Minute)</c:v>
                  </c:pt>
                  <c:pt idx="2124">
                    <c:v>Rolling Mean (30 Minute)</c:v>
                  </c:pt>
                  <c:pt idx="2125">
                    <c:v>Rolling Mean (30 Minute)</c:v>
                  </c:pt>
                  <c:pt idx="2126">
                    <c:v>Rolling Mean (30 Minute)</c:v>
                  </c:pt>
                  <c:pt idx="2127">
                    <c:v>Rolling Mean (30 Minute)</c:v>
                  </c:pt>
                  <c:pt idx="2128">
                    <c:v>Rolling Mean (30 Minute)</c:v>
                  </c:pt>
                  <c:pt idx="2129">
                    <c:v>Rolling Mean (30 Minute)</c:v>
                  </c:pt>
                  <c:pt idx="2130">
                    <c:v>Rolling Mean (30 Minute)</c:v>
                  </c:pt>
                  <c:pt idx="2131">
                    <c:v>Rolling Mean (30 Minute)</c:v>
                  </c:pt>
                  <c:pt idx="2132">
                    <c:v>Rolling Mean (30 Minute)</c:v>
                  </c:pt>
                  <c:pt idx="2133">
                    <c:v>Rolling Mean (30 Minute)</c:v>
                  </c:pt>
                  <c:pt idx="2134">
                    <c:v>Rolling Mean (30 Minute)</c:v>
                  </c:pt>
                  <c:pt idx="2135">
                    <c:v>Rolling Mean (30 Minute)</c:v>
                  </c:pt>
                  <c:pt idx="2136">
                    <c:v>Rolling Mean (30 Minute)</c:v>
                  </c:pt>
                  <c:pt idx="2137">
                    <c:v>Rolling Mean (30 Minute)</c:v>
                  </c:pt>
                  <c:pt idx="2138">
                    <c:v>Rolling Mean (30 Minute)</c:v>
                  </c:pt>
                  <c:pt idx="2139">
                    <c:v>Rolling Mean (30 Minute)</c:v>
                  </c:pt>
                  <c:pt idx="2140">
                    <c:v>Rolling Mean (30 Minute)</c:v>
                  </c:pt>
                  <c:pt idx="2141">
                    <c:v>Rolling Mean (30 Minute)</c:v>
                  </c:pt>
                  <c:pt idx="2142">
                    <c:v>Rolling Mean (30 Minute)</c:v>
                  </c:pt>
                  <c:pt idx="2143">
                    <c:v>Rolling Mean (30 Minute)</c:v>
                  </c:pt>
                  <c:pt idx="2144">
                    <c:v>Rolling Mean (30 Minute)</c:v>
                  </c:pt>
                  <c:pt idx="2145">
                    <c:v>Rolling Mean (30 Minute)</c:v>
                  </c:pt>
                  <c:pt idx="2146">
                    <c:v>Rolling Mean (30 Minute)</c:v>
                  </c:pt>
                  <c:pt idx="2147">
                    <c:v>Rolling Mean (30 Minute)</c:v>
                  </c:pt>
                  <c:pt idx="2148">
                    <c:v>Rolling Mean (30 Minute)</c:v>
                  </c:pt>
                  <c:pt idx="2149">
                    <c:v>Rolling Mean (30 Minute)</c:v>
                  </c:pt>
                  <c:pt idx="2150">
                    <c:v>Rolling Mean (30 Minute)</c:v>
                  </c:pt>
                  <c:pt idx="2151">
                    <c:v>Rolling Mean (30 Minute)</c:v>
                  </c:pt>
                  <c:pt idx="2152">
                    <c:v>Rolling Mean (30 Minute)</c:v>
                  </c:pt>
                  <c:pt idx="2153">
                    <c:v>Rolling Mean (30 Minute)</c:v>
                  </c:pt>
                  <c:pt idx="2154">
                    <c:v>Rolling Mean (30 Minute)</c:v>
                  </c:pt>
                  <c:pt idx="2155">
                    <c:v>Rolling Mean (30 Minute)</c:v>
                  </c:pt>
                  <c:pt idx="2156">
                    <c:v>Rolling Mean (30 Minute)</c:v>
                  </c:pt>
                  <c:pt idx="2157">
                    <c:v>Rolling Mean (30 Minute)</c:v>
                  </c:pt>
                  <c:pt idx="2158">
                    <c:v>Rolling Mean (30 Minute)</c:v>
                  </c:pt>
                  <c:pt idx="2159">
                    <c:v>Rolling Mean (30 Minute)</c:v>
                  </c:pt>
                  <c:pt idx="2160">
                    <c:v>Rolling Mean (30 Minute)</c:v>
                  </c:pt>
                  <c:pt idx="2161">
                    <c:v>Rolling Mean (30 Minute)</c:v>
                  </c:pt>
                  <c:pt idx="2162">
                    <c:v>Rolling Mean (30 Minute)</c:v>
                  </c:pt>
                  <c:pt idx="2163">
                    <c:v>Rolling Mean (30 Minute)</c:v>
                  </c:pt>
                  <c:pt idx="2164">
                    <c:v>Rolling Mean (30 Minute)</c:v>
                  </c:pt>
                  <c:pt idx="2165">
                    <c:v>Rolling Mean (30 Minute)</c:v>
                  </c:pt>
                  <c:pt idx="2166">
                    <c:v>Rolling Mean (30 Minute)</c:v>
                  </c:pt>
                  <c:pt idx="2167">
                    <c:v>Rolling Mean (30 Minute)</c:v>
                  </c:pt>
                  <c:pt idx="2168">
                    <c:v>Rolling Mean (30 Minute)</c:v>
                  </c:pt>
                  <c:pt idx="2169">
                    <c:v>Rolling Mean (30 Minute)</c:v>
                  </c:pt>
                  <c:pt idx="2170">
                    <c:v>Rolling Mean (30 Minute)</c:v>
                  </c:pt>
                  <c:pt idx="2171">
                    <c:v>Rolling Mean (30 Minute)</c:v>
                  </c:pt>
                  <c:pt idx="2172">
                    <c:v>Rolling Mean (30 Minute)</c:v>
                  </c:pt>
                  <c:pt idx="2173">
                    <c:v>Rolling Mean (30 Minute)</c:v>
                  </c:pt>
                  <c:pt idx="2174">
                    <c:v>Rolling Mean (30 Minute)</c:v>
                  </c:pt>
                  <c:pt idx="2175">
                    <c:v>Rolling Mean (30 Minute)</c:v>
                  </c:pt>
                  <c:pt idx="2176">
                    <c:v>Rolling Mean (30 Minute)</c:v>
                  </c:pt>
                  <c:pt idx="2177">
                    <c:v>Rolling Mean (30 Minute)</c:v>
                  </c:pt>
                  <c:pt idx="2178">
                    <c:v>Rolling Mean (30 Minute)</c:v>
                  </c:pt>
                  <c:pt idx="2179">
                    <c:v>Rolling Mean (30 Minute)</c:v>
                  </c:pt>
                  <c:pt idx="2180">
                    <c:v>Rolling Mean (30 Minute)</c:v>
                  </c:pt>
                  <c:pt idx="2181">
                    <c:v>Rolling Mean (30 Minute)</c:v>
                  </c:pt>
                  <c:pt idx="2182">
                    <c:v>Rolling Mean (30 Minute)</c:v>
                  </c:pt>
                  <c:pt idx="2183">
                    <c:v>Rolling Mean (30 Minute)</c:v>
                  </c:pt>
                  <c:pt idx="2184">
                    <c:v>Rolling Mean (30 Minute)</c:v>
                  </c:pt>
                  <c:pt idx="2185">
                    <c:v>Rolling Mean (30 Minute)</c:v>
                  </c:pt>
                  <c:pt idx="2186">
                    <c:v>Rolling Mean (30 Minute)</c:v>
                  </c:pt>
                  <c:pt idx="2187">
                    <c:v>Rolling Mean (30 Minute)</c:v>
                  </c:pt>
                  <c:pt idx="2188">
                    <c:v>Rolling Mean (30 Minute)</c:v>
                  </c:pt>
                  <c:pt idx="2189">
                    <c:v>Rolling Mean (30 Minute)</c:v>
                  </c:pt>
                  <c:pt idx="2190">
                    <c:v>Rolling Mean (30 Minute)</c:v>
                  </c:pt>
                  <c:pt idx="2191">
                    <c:v>Rolling Mean (30 Minute)</c:v>
                  </c:pt>
                  <c:pt idx="2192">
                    <c:v>Rolling Mean (30 Minute)</c:v>
                  </c:pt>
                  <c:pt idx="2193">
                    <c:v>Rolling Mean (30 Minute)</c:v>
                  </c:pt>
                  <c:pt idx="2194">
                    <c:v>Rolling Mean (30 Minute)</c:v>
                  </c:pt>
                  <c:pt idx="2195">
                    <c:v>Rolling Mean (30 Minute)</c:v>
                  </c:pt>
                  <c:pt idx="2196">
                    <c:v>Rolling Mean (30 Minute)</c:v>
                  </c:pt>
                  <c:pt idx="2197">
                    <c:v>Rolling Mean (30 Minute)</c:v>
                  </c:pt>
                  <c:pt idx="2198">
                    <c:v>Rolling Mean (30 Minute)</c:v>
                  </c:pt>
                  <c:pt idx="2199">
                    <c:v>Rolling Mean (30 Minute)</c:v>
                  </c:pt>
                  <c:pt idx="2200">
                    <c:v>Rolling Mean (30 Minute)</c:v>
                  </c:pt>
                  <c:pt idx="2201">
                    <c:v>Rolling Mean (30 Minute)</c:v>
                  </c:pt>
                  <c:pt idx="2202">
                    <c:v>Rolling Mean (30 Minute)</c:v>
                  </c:pt>
                  <c:pt idx="2203">
                    <c:v>Rolling Mean (30 Minute)</c:v>
                  </c:pt>
                  <c:pt idx="2204">
                    <c:v>Rolling Mean (30 Minute)</c:v>
                  </c:pt>
                  <c:pt idx="2205">
                    <c:v>Rolling Mean (30 Minute)</c:v>
                  </c:pt>
                  <c:pt idx="2206">
                    <c:v>Rolling Mean (30 Minute)</c:v>
                  </c:pt>
                  <c:pt idx="2207">
                    <c:v>Rolling Mean (30 Minute)</c:v>
                  </c:pt>
                  <c:pt idx="2208">
                    <c:v>Rolling Mean (30 Minute)</c:v>
                  </c:pt>
                  <c:pt idx="2209">
                    <c:v>Rolling Mean (30 Minute)</c:v>
                  </c:pt>
                  <c:pt idx="2210">
                    <c:v>Rolling Mean (30 Minute)</c:v>
                  </c:pt>
                  <c:pt idx="2211">
                    <c:v>Rolling Mean (30 Minute)</c:v>
                  </c:pt>
                  <c:pt idx="2212">
                    <c:v>Rolling Mean (30 Minute)</c:v>
                  </c:pt>
                  <c:pt idx="2213">
                    <c:v>Rolling Mean (30 Minute)</c:v>
                  </c:pt>
                  <c:pt idx="2214">
                    <c:v>Rolling Mean (30 Minute)</c:v>
                  </c:pt>
                  <c:pt idx="2215">
                    <c:v>Rolling Mean (30 Minute)</c:v>
                  </c:pt>
                  <c:pt idx="2216">
                    <c:v>Rolling Mean (30 Minute)</c:v>
                  </c:pt>
                  <c:pt idx="2217">
                    <c:v>Rolling Mean (30 Minute)</c:v>
                  </c:pt>
                  <c:pt idx="2218">
                    <c:v>Rolling Mean (30 Minute)</c:v>
                  </c:pt>
                  <c:pt idx="2219">
                    <c:v>Rolling Mean (30 Minute)</c:v>
                  </c:pt>
                  <c:pt idx="2220">
                    <c:v>Rolling Mean (30 Minute)</c:v>
                  </c:pt>
                  <c:pt idx="2221">
                    <c:v>Rolling Mean (30 Minute)</c:v>
                  </c:pt>
                  <c:pt idx="2222">
                    <c:v>Rolling Mean (30 Minute)</c:v>
                  </c:pt>
                  <c:pt idx="2223">
                    <c:v>Rolling Mean (30 Minute)</c:v>
                  </c:pt>
                  <c:pt idx="2224">
                    <c:v>Rolling Mean (30 Minute)</c:v>
                  </c:pt>
                  <c:pt idx="2225">
                    <c:v>Rolling Mean (30 Minute)</c:v>
                  </c:pt>
                  <c:pt idx="2226">
                    <c:v>Rolling Mean (30 Minute)</c:v>
                  </c:pt>
                  <c:pt idx="2227">
                    <c:v>Rolling Mean (30 Minute)</c:v>
                  </c:pt>
                  <c:pt idx="2228">
                    <c:v>Rolling Mean (30 Minute)</c:v>
                  </c:pt>
                  <c:pt idx="2229">
                    <c:v>Rolling Mean (30 Minute)</c:v>
                  </c:pt>
                  <c:pt idx="2230">
                    <c:v>Rolling Mean (30 Minute)</c:v>
                  </c:pt>
                  <c:pt idx="2231">
                    <c:v>Rolling Mean (30 Minute)</c:v>
                  </c:pt>
                  <c:pt idx="2232">
                    <c:v>Rolling Mean (30 Minute)</c:v>
                  </c:pt>
                  <c:pt idx="2233">
                    <c:v>Rolling Mean (30 Minute)</c:v>
                  </c:pt>
                  <c:pt idx="2234">
                    <c:v>Rolling Mean (30 Minute)</c:v>
                  </c:pt>
                  <c:pt idx="2235">
                    <c:v>Rolling Mean (30 Minute)</c:v>
                  </c:pt>
                  <c:pt idx="2236">
                    <c:v>Rolling Mean (30 Minute)</c:v>
                  </c:pt>
                  <c:pt idx="2237">
                    <c:v>Rolling Mean (30 Minute)</c:v>
                  </c:pt>
                  <c:pt idx="2238">
                    <c:v>Rolling Mean (30 Minute)</c:v>
                  </c:pt>
                  <c:pt idx="2239">
                    <c:v>Rolling Mean (30 Minute)</c:v>
                  </c:pt>
                  <c:pt idx="2240">
                    <c:v>Rolling Mean (30 Minute)</c:v>
                  </c:pt>
                  <c:pt idx="2241">
                    <c:v>Rolling Mean (30 Minute)</c:v>
                  </c:pt>
                  <c:pt idx="2242">
                    <c:v>Rolling Mean (30 Minute)</c:v>
                  </c:pt>
                  <c:pt idx="2243">
                    <c:v>Rolling Mean (30 Minute)</c:v>
                  </c:pt>
                  <c:pt idx="2244">
                    <c:v>Rolling Mean (30 Minute)</c:v>
                  </c:pt>
                  <c:pt idx="2245">
                    <c:v>Rolling Mean (30 Minute)</c:v>
                  </c:pt>
                  <c:pt idx="2246">
                    <c:v>Rolling Mean (30 Minute)</c:v>
                  </c:pt>
                  <c:pt idx="2247">
                    <c:v>Rolling Mean (30 Minute)</c:v>
                  </c:pt>
                  <c:pt idx="2248">
                    <c:v>Rolling Mean (30 Minute)</c:v>
                  </c:pt>
                  <c:pt idx="2249">
                    <c:v>Rolling Mean (30 Minute)</c:v>
                  </c:pt>
                  <c:pt idx="2250">
                    <c:v>Rolling Mean (30 Minute)</c:v>
                  </c:pt>
                  <c:pt idx="2251">
                    <c:v>Rolling Mean (30 Minute)</c:v>
                  </c:pt>
                  <c:pt idx="2252">
                    <c:v>Rolling Mean (30 Minute)</c:v>
                  </c:pt>
                  <c:pt idx="2253">
                    <c:v>Rolling Mean (30 Minute)</c:v>
                  </c:pt>
                  <c:pt idx="2254">
                    <c:v>Rolling Mean (30 Minute)</c:v>
                  </c:pt>
                  <c:pt idx="2255">
                    <c:v>Rolling Mean (30 Minute)</c:v>
                  </c:pt>
                  <c:pt idx="2256">
                    <c:v>Rolling Mean (30 Minute)</c:v>
                  </c:pt>
                  <c:pt idx="2257">
                    <c:v>Rolling Mean (30 Minute)</c:v>
                  </c:pt>
                  <c:pt idx="2258">
                    <c:v>Rolling Mean (30 Minute)</c:v>
                  </c:pt>
                  <c:pt idx="2259">
                    <c:v>Rolling Mean (30 Minute)</c:v>
                  </c:pt>
                  <c:pt idx="2260">
                    <c:v>Rolling Mean (30 Minute)</c:v>
                  </c:pt>
                  <c:pt idx="2261">
                    <c:v>Rolling Mean (30 Minute)</c:v>
                  </c:pt>
                  <c:pt idx="2262">
                    <c:v>Rolling Mean (30 Minute)</c:v>
                  </c:pt>
                  <c:pt idx="2263">
                    <c:v>Rolling Mean (30 Minute)</c:v>
                  </c:pt>
                  <c:pt idx="2264">
                    <c:v>Rolling Mean (30 Minute)</c:v>
                  </c:pt>
                  <c:pt idx="2265">
                    <c:v>Rolling Mean (30 Minute)</c:v>
                  </c:pt>
                  <c:pt idx="2266">
                    <c:v>Rolling Mean (30 Minute)</c:v>
                  </c:pt>
                  <c:pt idx="2267">
                    <c:v>Rolling Mean (30 Minute)</c:v>
                  </c:pt>
                  <c:pt idx="2268">
                    <c:v>Rolling Mean (30 Minute)</c:v>
                  </c:pt>
                  <c:pt idx="2269">
                    <c:v>Rolling Mean (30 Minute)</c:v>
                  </c:pt>
                  <c:pt idx="2270">
                    <c:v>Rolling Mean (30 Minute)</c:v>
                  </c:pt>
                  <c:pt idx="2271">
                    <c:v>Rolling Mean (30 Minute)</c:v>
                  </c:pt>
                  <c:pt idx="2272">
                    <c:v>Rolling Mean (30 Minute)</c:v>
                  </c:pt>
                  <c:pt idx="2273">
                    <c:v>Rolling Mean (30 Minute)</c:v>
                  </c:pt>
                  <c:pt idx="2274">
                    <c:v>Rolling Mean (30 Minute)</c:v>
                  </c:pt>
                  <c:pt idx="2275">
                    <c:v>Rolling Mean (30 Minute)</c:v>
                  </c:pt>
                  <c:pt idx="2276">
                    <c:v>Rolling Mean (30 Minute)</c:v>
                  </c:pt>
                  <c:pt idx="2277">
                    <c:v>Rolling Mean (30 Minute)</c:v>
                  </c:pt>
                  <c:pt idx="2278">
                    <c:v>Rolling Mean (30 Minute)</c:v>
                  </c:pt>
                  <c:pt idx="2279">
                    <c:v>Rolling Mean (30 Minute)</c:v>
                  </c:pt>
                  <c:pt idx="2280">
                    <c:v>Rolling Mean (30 Minute)</c:v>
                  </c:pt>
                  <c:pt idx="2281">
                    <c:v>Rolling Mean (30 Minute)</c:v>
                  </c:pt>
                  <c:pt idx="2282">
                    <c:v>Rolling Mean (30 Minute)</c:v>
                  </c:pt>
                  <c:pt idx="2283">
                    <c:v>Rolling Mean (30 Minute)</c:v>
                  </c:pt>
                  <c:pt idx="2284">
                    <c:v>Rolling Mean (30 Minute)</c:v>
                  </c:pt>
                  <c:pt idx="2285">
                    <c:v>Rolling Mean (30 Minute)</c:v>
                  </c:pt>
                  <c:pt idx="2286">
                    <c:v>Rolling Mean (30 Minute)</c:v>
                  </c:pt>
                  <c:pt idx="2287">
                    <c:v>Rolling Mean (30 Minute)</c:v>
                  </c:pt>
                  <c:pt idx="2288">
                    <c:v>Rolling Mean (30 Minute)</c:v>
                  </c:pt>
                  <c:pt idx="2289">
                    <c:v>Rolling Mean (30 Minute)</c:v>
                  </c:pt>
                  <c:pt idx="2290">
                    <c:v>Rolling Mean (30 Minute)</c:v>
                  </c:pt>
                  <c:pt idx="2291">
                    <c:v>Rolling Mean (30 Minute)</c:v>
                  </c:pt>
                  <c:pt idx="2292">
                    <c:v>Rolling Mean (30 Minute)</c:v>
                  </c:pt>
                  <c:pt idx="2293">
                    <c:v>Rolling Mean (30 Minute)</c:v>
                  </c:pt>
                  <c:pt idx="2294">
                    <c:v>Rolling Mean (30 Minute)</c:v>
                  </c:pt>
                  <c:pt idx="2295">
                    <c:v>Rolling Mean (30 Minute)</c:v>
                  </c:pt>
                  <c:pt idx="2296">
                    <c:v>Rolling Mean (30 Minute)</c:v>
                  </c:pt>
                  <c:pt idx="2297">
                    <c:v>Rolling Mean (30 Minute)</c:v>
                  </c:pt>
                  <c:pt idx="2298">
                    <c:v>Rolling Mean (30 Minute)</c:v>
                  </c:pt>
                  <c:pt idx="2299">
                    <c:v>Rolling Mean (30 Minute)</c:v>
                  </c:pt>
                  <c:pt idx="2300">
                    <c:v>Rolling Mean (30 Minute)</c:v>
                  </c:pt>
                  <c:pt idx="2301">
                    <c:v>Rolling Mean (30 Minute)</c:v>
                  </c:pt>
                  <c:pt idx="2302">
                    <c:v>Rolling Mean (30 Minute)</c:v>
                  </c:pt>
                  <c:pt idx="2303">
                    <c:v>Rolling Mean (30 Minute)</c:v>
                  </c:pt>
                  <c:pt idx="2304">
                    <c:v>Rolling Mean (30 Minute)</c:v>
                  </c:pt>
                  <c:pt idx="2305">
                    <c:v>Rolling Mean (30 Minute)</c:v>
                  </c:pt>
                  <c:pt idx="2306">
                    <c:v>Rolling Mean (30 Minute)</c:v>
                  </c:pt>
                  <c:pt idx="2307">
                    <c:v>Rolling Mean (30 Minute)</c:v>
                  </c:pt>
                  <c:pt idx="2308">
                    <c:v>Rolling Mean (30 Minute)</c:v>
                  </c:pt>
                  <c:pt idx="2309">
                    <c:v>Rolling Mean (30 Minute)</c:v>
                  </c:pt>
                  <c:pt idx="2310">
                    <c:v>Rolling Mean (30 Minute)</c:v>
                  </c:pt>
                  <c:pt idx="2311">
                    <c:v>Rolling Mean (30 Minute)</c:v>
                  </c:pt>
                  <c:pt idx="2312">
                    <c:v>Rolling Mean (30 Minute)</c:v>
                  </c:pt>
                  <c:pt idx="2313">
                    <c:v>Rolling Mean (30 Minute)</c:v>
                  </c:pt>
                  <c:pt idx="2314">
                    <c:v>Rolling Mean (30 Minute)</c:v>
                  </c:pt>
                  <c:pt idx="2315">
                    <c:v>Rolling Mean (30 Minute)</c:v>
                  </c:pt>
                  <c:pt idx="2316">
                    <c:v>Rolling Mean (30 Minute)</c:v>
                  </c:pt>
                  <c:pt idx="2317">
                    <c:v>Rolling Mean (30 Minute)</c:v>
                  </c:pt>
                  <c:pt idx="2318">
                    <c:v>Rolling Mean (30 Minute)</c:v>
                  </c:pt>
                  <c:pt idx="2319">
                    <c:v>Rolling Mean (30 Minute)</c:v>
                  </c:pt>
                  <c:pt idx="2320">
                    <c:v>Rolling Mean (30 Minute)</c:v>
                  </c:pt>
                  <c:pt idx="2321">
                    <c:v>Rolling Mean (30 Minute)</c:v>
                  </c:pt>
                  <c:pt idx="2322">
                    <c:v>Rolling Mean (30 Minute)</c:v>
                  </c:pt>
                  <c:pt idx="2323">
                    <c:v>Rolling Mean (30 Minute)</c:v>
                  </c:pt>
                  <c:pt idx="2324">
                    <c:v>Rolling Mean (30 Minute)</c:v>
                  </c:pt>
                  <c:pt idx="2325">
                    <c:v>Rolling Mean (30 Minute)</c:v>
                  </c:pt>
                  <c:pt idx="2326">
                    <c:v>Rolling Mean (30 Minute)</c:v>
                  </c:pt>
                  <c:pt idx="2327">
                    <c:v>Rolling Mean (30 Minute)</c:v>
                  </c:pt>
                  <c:pt idx="2328">
                    <c:v>Rolling Mean (30 Minute)</c:v>
                  </c:pt>
                  <c:pt idx="2329">
                    <c:v>Rolling Mean (30 Minute)</c:v>
                  </c:pt>
                  <c:pt idx="2330">
                    <c:v>Rolling Mean (30 Minute)</c:v>
                  </c:pt>
                  <c:pt idx="2331">
                    <c:v>Rolling Mean (30 Minute)</c:v>
                  </c:pt>
                  <c:pt idx="2332">
                    <c:v>Rolling Mean (30 Minute)</c:v>
                  </c:pt>
                  <c:pt idx="2333">
                    <c:v>Rolling Mean (30 Minute)</c:v>
                  </c:pt>
                  <c:pt idx="2334">
                    <c:v>Rolling Mean (30 Minute)</c:v>
                  </c:pt>
                  <c:pt idx="2335">
                    <c:v>Rolling Mean (30 Minute)</c:v>
                  </c:pt>
                  <c:pt idx="2336">
                    <c:v>Rolling Mean (30 Minute)</c:v>
                  </c:pt>
                  <c:pt idx="2337">
                    <c:v>Rolling Mean (30 Minute)</c:v>
                  </c:pt>
                  <c:pt idx="2338">
                    <c:v>Rolling Mean (30 Minute)</c:v>
                  </c:pt>
                  <c:pt idx="2339">
                    <c:v>Rolling Mean (30 Minute)</c:v>
                  </c:pt>
                  <c:pt idx="2340">
                    <c:v>Rolling Mean (30 Minute)</c:v>
                  </c:pt>
                  <c:pt idx="2341">
                    <c:v>Rolling Mean (30 Minute)</c:v>
                  </c:pt>
                  <c:pt idx="2342">
                    <c:v>Rolling Mean (30 Minute)</c:v>
                  </c:pt>
                  <c:pt idx="2343">
                    <c:v>Rolling Mean (30 Minute)</c:v>
                  </c:pt>
                  <c:pt idx="2344">
                    <c:v>Rolling Mean (30 Minute)</c:v>
                  </c:pt>
                  <c:pt idx="2345">
                    <c:v>Rolling Mean (30 Minute)</c:v>
                  </c:pt>
                  <c:pt idx="2346">
                    <c:v>Rolling Mean (30 Minute)</c:v>
                  </c:pt>
                  <c:pt idx="2347">
                    <c:v>Rolling Mean (30 Minute)</c:v>
                  </c:pt>
                  <c:pt idx="2348">
                    <c:v>Rolling Mean (30 Minute)</c:v>
                  </c:pt>
                  <c:pt idx="2349">
                    <c:v>Rolling Mean (30 Minute)</c:v>
                  </c:pt>
                  <c:pt idx="2350">
                    <c:v>Rolling Mean (30 Minute)</c:v>
                  </c:pt>
                  <c:pt idx="2351">
                    <c:v>Rolling Mean (30 Minute)</c:v>
                  </c:pt>
                  <c:pt idx="2352">
                    <c:v>Rolling Mean (30 Minute)</c:v>
                  </c:pt>
                  <c:pt idx="2353">
                    <c:v>Rolling Mean (30 Minute)</c:v>
                  </c:pt>
                  <c:pt idx="2354">
                    <c:v>Rolling Mean (30 Minute)</c:v>
                  </c:pt>
                  <c:pt idx="2355">
                    <c:v>Rolling Mean (30 Minute)</c:v>
                  </c:pt>
                  <c:pt idx="2356">
                    <c:v>Rolling Mean (30 Minute)</c:v>
                  </c:pt>
                  <c:pt idx="2357">
                    <c:v>Rolling Mean (30 Minute)</c:v>
                  </c:pt>
                  <c:pt idx="2358">
                    <c:v>Rolling Mean (30 Minute)</c:v>
                  </c:pt>
                  <c:pt idx="2359">
                    <c:v>Rolling Mean (30 Minute)</c:v>
                  </c:pt>
                  <c:pt idx="2360">
                    <c:v>Rolling Mean (30 Minute)</c:v>
                  </c:pt>
                  <c:pt idx="2361">
                    <c:v>Rolling Mean (30 Minute)</c:v>
                  </c:pt>
                  <c:pt idx="2362">
                    <c:v>Rolling Mean (30 Minute)</c:v>
                  </c:pt>
                  <c:pt idx="2363">
                    <c:v>Rolling Mean (30 Minute)</c:v>
                  </c:pt>
                  <c:pt idx="2364">
                    <c:v>Rolling Mean (30 Minute)</c:v>
                  </c:pt>
                  <c:pt idx="2365">
                    <c:v>Rolling Mean (30 Minute)</c:v>
                  </c:pt>
                  <c:pt idx="2366">
                    <c:v>Rolling Mean (30 Minute)</c:v>
                  </c:pt>
                  <c:pt idx="2367">
                    <c:v>Rolling Mean (30 Minute)</c:v>
                  </c:pt>
                  <c:pt idx="2368">
                    <c:v>Rolling Mean (30 Minute)</c:v>
                  </c:pt>
                  <c:pt idx="2369">
                    <c:v>Rolling Mean (30 Minute)</c:v>
                  </c:pt>
                  <c:pt idx="2370">
                    <c:v>Rolling Mean (30 Minute)</c:v>
                  </c:pt>
                  <c:pt idx="2371">
                    <c:v>Rolling Mean (30 Minute)</c:v>
                  </c:pt>
                  <c:pt idx="2372">
                    <c:v>Rolling Mean (30 Minute)</c:v>
                  </c:pt>
                  <c:pt idx="2373">
                    <c:v>Rolling Mean (30 Minute)</c:v>
                  </c:pt>
                  <c:pt idx="2374">
                    <c:v>Rolling Mean (30 Minute)</c:v>
                  </c:pt>
                  <c:pt idx="2375">
                    <c:v>Rolling Mean (30 Minute)</c:v>
                  </c:pt>
                  <c:pt idx="2376">
                    <c:v>Rolling Mean (30 Minute)</c:v>
                  </c:pt>
                  <c:pt idx="2377">
                    <c:v>Rolling Mean (30 Minute)</c:v>
                  </c:pt>
                  <c:pt idx="2378">
                    <c:v>Rolling Mean (30 Minute)</c:v>
                  </c:pt>
                  <c:pt idx="2379">
                    <c:v>Rolling Mean (30 Minute)</c:v>
                  </c:pt>
                  <c:pt idx="2380">
                    <c:v>Rolling Mean (30 Minute)</c:v>
                  </c:pt>
                  <c:pt idx="2381">
                    <c:v>Rolling Mean (30 Minute)</c:v>
                  </c:pt>
                  <c:pt idx="2382">
                    <c:v>Rolling Mean (30 Minute)</c:v>
                  </c:pt>
                  <c:pt idx="2383">
                    <c:v>Rolling Mean (30 Minute)</c:v>
                  </c:pt>
                  <c:pt idx="2384">
                    <c:v>Rolling Mean (30 Minute)</c:v>
                  </c:pt>
                  <c:pt idx="2385">
                    <c:v>Rolling Mean (30 Minute)</c:v>
                  </c:pt>
                  <c:pt idx="2386">
                    <c:v>Rolling Mean (30 Minute)</c:v>
                  </c:pt>
                  <c:pt idx="2387">
                    <c:v>Rolling Mean (30 Minute)</c:v>
                  </c:pt>
                  <c:pt idx="2388">
                    <c:v>Rolling Mean (30 Minute)</c:v>
                  </c:pt>
                  <c:pt idx="2389">
                    <c:v>Rolling Mean (30 Minute)</c:v>
                  </c:pt>
                  <c:pt idx="2390">
                    <c:v>Rolling Mean (30 Minute)</c:v>
                  </c:pt>
                  <c:pt idx="2391">
                    <c:v>Rolling Mean (30 Minute)</c:v>
                  </c:pt>
                  <c:pt idx="2392">
                    <c:v>Rolling Mean (30 Minute)</c:v>
                  </c:pt>
                  <c:pt idx="2393">
                    <c:v>Rolling Mean (30 Minute)</c:v>
                  </c:pt>
                  <c:pt idx="2394">
                    <c:v>Rolling Mean (30 Minute)</c:v>
                  </c:pt>
                  <c:pt idx="2395">
                    <c:v>Rolling Mean (30 Minute)</c:v>
                  </c:pt>
                  <c:pt idx="2396">
                    <c:v>Rolling Mean (30 Minute)</c:v>
                  </c:pt>
                  <c:pt idx="2397">
                    <c:v>Rolling Mean (30 Minute)</c:v>
                  </c:pt>
                  <c:pt idx="2398">
                    <c:v>Rolling Mean (30 Minute)</c:v>
                  </c:pt>
                  <c:pt idx="2399">
                    <c:v>Rolling Mean (30 Minute)</c:v>
                  </c:pt>
                  <c:pt idx="2400">
                    <c:v>Rolling Mean (30 Minute)</c:v>
                  </c:pt>
                  <c:pt idx="2401">
                    <c:v>Rolling Mean (30 Minute)</c:v>
                  </c:pt>
                  <c:pt idx="2402">
                    <c:v>Rolling Mean (30 Minute)</c:v>
                  </c:pt>
                  <c:pt idx="2403">
                    <c:v>Rolling Mean (30 Minute)</c:v>
                  </c:pt>
                  <c:pt idx="2404">
                    <c:v>Rolling Mean (30 Minute)</c:v>
                  </c:pt>
                  <c:pt idx="2405">
                    <c:v>Rolling Mean (30 Minute)</c:v>
                  </c:pt>
                  <c:pt idx="2406">
                    <c:v>Rolling Mean (30 Minute)</c:v>
                  </c:pt>
                  <c:pt idx="2407">
                    <c:v>Rolling Mean (30 Minute)</c:v>
                  </c:pt>
                  <c:pt idx="2408">
                    <c:v>Rolling Mean (30 Minute)</c:v>
                  </c:pt>
                  <c:pt idx="2409">
                    <c:v>Rolling Mean (30 Minute)</c:v>
                  </c:pt>
                  <c:pt idx="2410">
                    <c:v>Rolling Mean (30 Minute)</c:v>
                  </c:pt>
                  <c:pt idx="2411">
                    <c:v>Rolling Mean (30 Minute)</c:v>
                  </c:pt>
                  <c:pt idx="2412">
                    <c:v>Rolling Mean (30 Minute)</c:v>
                  </c:pt>
                  <c:pt idx="2413">
                    <c:v>Rolling Mean (30 Minute)</c:v>
                  </c:pt>
                  <c:pt idx="2414">
                    <c:v>Rolling Mean (30 Minute)</c:v>
                  </c:pt>
                  <c:pt idx="2415">
                    <c:v>Rolling Mean (30 Minute)</c:v>
                  </c:pt>
                  <c:pt idx="2416">
                    <c:v>Rolling Mean (30 Minute)</c:v>
                  </c:pt>
                  <c:pt idx="2417">
                    <c:v>Rolling Mean (30 Minute)</c:v>
                  </c:pt>
                  <c:pt idx="2418">
                    <c:v>Rolling Mean (30 Minute)</c:v>
                  </c:pt>
                  <c:pt idx="2419">
                    <c:v>Rolling Mean (30 Minute)</c:v>
                  </c:pt>
                  <c:pt idx="2420">
                    <c:v>Rolling Mean (30 Minute)</c:v>
                  </c:pt>
                  <c:pt idx="2421">
                    <c:v>Rolling Mean (30 Minute)</c:v>
                  </c:pt>
                  <c:pt idx="2422">
                    <c:v>Rolling Mean (30 Minute)</c:v>
                  </c:pt>
                  <c:pt idx="2423">
                    <c:v>Rolling Mean (30 Minute)</c:v>
                  </c:pt>
                  <c:pt idx="2424">
                    <c:v>Rolling Mean (30 Minute)</c:v>
                  </c:pt>
                  <c:pt idx="2425">
                    <c:v>Rolling Mean (30 Minute)</c:v>
                  </c:pt>
                  <c:pt idx="2426">
                    <c:v>Rolling Mean (30 Minute)</c:v>
                  </c:pt>
                  <c:pt idx="2427">
                    <c:v>Rolling Mean (30 Minute)</c:v>
                  </c:pt>
                  <c:pt idx="2428">
                    <c:v>Rolling Mean (30 Minute)</c:v>
                  </c:pt>
                  <c:pt idx="2429">
                    <c:v>Rolling Mean (30 Minute)</c:v>
                  </c:pt>
                  <c:pt idx="2430">
                    <c:v>Rolling Mean (30 Minute)</c:v>
                  </c:pt>
                  <c:pt idx="2431">
                    <c:v>Rolling Mean (30 Minute)</c:v>
                  </c:pt>
                  <c:pt idx="2432">
                    <c:v>Rolling Mean (30 Minute)</c:v>
                  </c:pt>
                  <c:pt idx="2433">
                    <c:v>Rolling Mean (30 Minute)</c:v>
                  </c:pt>
                  <c:pt idx="2434">
                    <c:v>Rolling Mean (30 Minute)</c:v>
                  </c:pt>
                  <c:pt idx="2435">
                    <c:v>Rolling Mean (30 Minute)</c:v>
                  </c:pt>
                  <c:pt idx="2436">
                    <c:v>Rolling Mean (30 Minute)</c:v>
                  </c:pt>
                  <c:pt idx="2437">
                    <c:v>Rolling Mean (30 Minute)</c:v>
                  </c:pt>
                  <c:pt idx="2438">
                    <c:v>Rolling Mean (30 Minute)</c:v>
                  </c:pt>
                  <c:pt idx="2439">
                    <c:v>Rolling Mean (30 Minute)</c:v>
                  </c:pt>
                  <c:pt idx="2440">
                    <c:v>Rolling Mean (30 Minute)</c:v>
                  </c:pt>
                  <c:pt idx="2441">
                    <c:v>Rolling Mean (30 Minute)</c:v>
                  </c:pt>
                  <c:pt idx="2442">
                    <c:v>Rolling Mean (30 Minute)</c:v>
                  </c:pt>
                  <c:pt idx="2443">
                    <c:v>Rolling Mean (30 Minute)</c:v>
                  </c:pt>
                  <c:pt idx="2444">
                    <c:v>Rolling Mean (30 Minute)</c:v>
                  </c:pt>
                  <c:pt idx="2445">
                    <c:v>Rolling Mean (30 Minute)</c:v>
                  </c:pt>
                  <c:pt idx="2446">
                    <c:v>Rolling Mean (30 Minute)</c:v>
                  </c:pt>
                  <c:pt idx="2447">
                    <c:v>Rolling Mean (30 Minute)</c:v>
                  </c:pt>
                  <c:pt idx="2448">
                    <c:v>Rolling Mean (30 Minute)</c:v>
                  </c:pt>
                  <c:pt idx="2449">
                    <c:v>Rolling Mean (30 Minute)</c:v>
                  </c:pt>
                  <c:pt idx="2450">
                    <c:v>Rolling Mean (30 Minute)</c:v>
                  </c:pt>
                  <c:pt idx="2451">
                    <c:v>Rolling Mean (30 Minute)</c:v>
                  </c:pt>
                </c:lvl>
              </c:multiLvlStrCache>
            </c:multiLvlStrRef>
          </c:cat>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4-EEAA-4648-9585-8881DB12715D}"/>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multiLvlStrRef>
              <c:f>'DRT Rolling Mean'!$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Mean (30 Minute)</c:v>
                  </c:pt>
                  <c:pt idx="1">
                    <c:v>Rolling Mean (30 Minute)</c:v>
                  </c:pt>
                  <c:pt idx="2">
                    <c:v>Rolling Mean (30 Minute)</c:v>
                  </c:pt>
                  <c:pt idx="3">
                    <c:v>Rolling Mean (30 Minute)</c:v>
                  </c:pt>
                  <c:pt idx="4">
                    <c:v>Rolling Mean (30 Minute)</c:v>
                  </c:pt>
                  <c:pt idx="5">
                    <c:v>Rolling Mean (30 Minute)</c:v>
                  </c:pt>
                  <c:pt idx="6">
                    <c:v>Rolling Mean (30 Minute)</c:v>
                  </c:pt>
                  <c:pt idx="7">
                    <c:v>Rolling Mean (30 Minute)</c:v>
                  </c:pt>
                  <c:pt idx="8">
                    <c:v>Rolling Mean (30 Minute)</c:v>
                  </c:pt>
                  <c:pt idx="9">
                    <c:v>Rolling Mean (30 Minute)</c:v>
                  </c:pt>
                  <c:pt idx="10">
                    <c:v>Rolling Mean (30 Minute)</c:v>
                  </c:pt>
                  <c:pt idx="11">
                    <c:v>Rolling Mean (30 Minute)</c:v>
                  </c:pt>
                  <c:pt idx="12">
                    <c:v>Rolling Mean (30 Minute)</c:v>
                  </c:pt>
                  <c:pt idx="13">
                    <c:v>Rolling Mean (30 Minute)</c:v>
                  </c:pt>
                  <c:pt idx="14">
                    <c:v>Rolling Mean (30 Minute)</c:v>
                  </c:pt>
                  <c:pt idx="15">
                    <c:v>Rolling Mean (30 Minute)</c:v>
                  </c:pt>
                  <c:pt idx="16">
                    <c:v>Rolling Mean (30 Minute)</c:v>
                  </c:pt>
                  <c:pt idx="17">
                    <c:v>Rolling Mean (30 Minute)</c:v>
                  </c:pt>
                  <c:pt idx="18">
                    <c:v>Rolling Mean (30 Minute)</c:v>
                  </c:pt>
                  <c:pt idx="19">
                    <c:v>Rolling Mean (30 Minute)</c:v>
                  </c:pt>
                  <c:pt idx="20">
                    <c:v>Rolling Mean (30 Minute)</c:v>
                  </c:pt>
                  <c:pt idx="21">
                    <c:v>Rolling Mean (30 Minute)</c:v>
                  </c:pt>
                  <c:pt idx="22">
                    <c:v>Rolling Mean (30 Minute)</c:v>
                  </c:pt>
                  <c:pt idx="23">
                    <c:v>Rolling Mean (30 Minute)</c:v>
                  </c:pt>
                  <c:pt idx="24">
                    <c:v>Rolling Mean (30 Minute)</c:v>
                  </c:pt>
                  <c:pt idx="25">
                    <c:v>Rolling Mean (30 Minute)</c:v>
                  </c:pt>
                  <c:pt idx="26">
                    <c:v>Rolling Mean (30 Minute)</c:v>
                  </c:pt>
                  <c:pt idx="27">
                    <c:v>Rolling Mean (30 Minute)</c:v>
                  </c:pt>
                  <c:pt idx="28">
                    <c:v>Rolling Mean (30 Minute)</c:v>
                  </c:pt>
                  <c:pt idx="29">
                    <c:v>Rolling Mean (30 Minute)</c:v>
                  </c:pt>
                  <c:pt idx="30">
                    <c:v>Rolling Mean (30 Minute)</c:v>
                  </c:pt>
                  <c:pt idx="31">
                    <c:v>Rolling Mean (30 Minute)</c:v>
                  </c:pt>
                  <c:pt idx="32">
                    <c:v>Rolling Mean (30 Minute)</c:v>
                  </c:pt>
                  <c:pt idx="33">
                    <c:v>Rolling Mean (30 Minute)</c:v>
                  </c:pt>
                  <c:pt idx="34">
                    <c:v>Rolling Mean (30 Minute)</c:v>
                  </c:pt>
                  <c:pt idx="35">
                    <c:v>Rolling Mean (30 Minute)</c:v>
                  </c:pt>
                  <c:pt idx="36">
                    <c:v>Rolling Mean (30 Minute)</c:v>
                  </c:pt>
                  <c:pt idx="37">
                    <c:v>Rolling Mean (30 Minute)</c:v>
                  </c:pt>
                  <c:pt idx="38">
                    <c:v>Rolling Mean (30 Minute)</c:v>
                  </c:pt>
                  <c:pt idx="39">
                    <c:v>Rolling Mean (30 Minute)</c:v>
                  </c:pt>
                  <c:pt idx="40">
                    <c:v>Rolling Mean (30 Minute)</c:v>
                  </c:pt>
                  <c:pt idx="41">
                    <c:v>Rolling Mean (30 Minute)</c:v>
                  </c:pt>
                  <c:pt idx="42">
                    <c:v>Rolling Mean (30 Minute)</c:v>
                  </c:pt>
                  <c:pt idx="43">
                    <c:v>Rolling Mean (30 Minute)</c:v>
                  </c:pt>
                  <c:pt idx="44">
                    <c:v>Rolling Mean (30 Minute)</c:v>
                  </c:pt>
                  <c:pt idx="45">
                    <c:v>Rolling Mean (30 Minute)</c:v>
                  </c:pt>
                  <c:pt idx="46">
                    <c:v>Rolling Mean (30 Minute)</c:v>
                  </c:pt>
                  <c:pt idx="47">
                    <c:v>Rolling Mean (30 Minute)</c:v>
                  </c:pt>
                  <c:pt idx="48">
                    <c:v>Rolling Mean (30 Minute)</c:v>
                  </c:pt>
                  <c:pt idx="49">
                    <c:v>Rolling Mean (30 Minute)</c:v>
                  </c:pt>
                  <c:pt idx="50">
                    <c:v>Rolling Mean (30 Minute)</c:v>
                  </c:pt>
                  <c:pt idx="51">
                    <c:v>Rolling Mean (30 Minute)</c:v>
                  </c:pt>
                  <c:pt idx="52">
                    <c:v>Rolling Mean (30 Minute)</c:v>
                  </c:pt>
                  <c:pt idx="53">
                    <c:v>Rolling Mean (30 Minute)</c:v>
                  </c:pt>
                  <c:pt idx="54">
                    <c:v>Rolling Mean (30 Minute)</c:v>
                  </c:pt>
                  <c:pt idx="55">
                    <c:v>Rolling Mean (30 Minute)</c:v>
                  </c:pt>
                  <c:pt idx="56">
                    <c:v>Rolling Mean (30 Minute)</c:v>
                  </c:pt>
                  <c:pt idx="57">
                    <c:v>Rolling Mean (30 Minute)</c:v>
                  </c:pt>
                  <c:pt idx="58">
                    <c:v>Rolling Mean (30 Minute)</c:v>
                  </c:pt>
                  <c:pt idx="59">
                    <c:v>Rolling Mean (30 Minute)</c:v>
                  </c:pt>
                  <c:pt idx="60">
                    <c:v>Rolling Mean (30 Minute)</c:v>
                  </c:pt>
                  <c:pt idx="61">
                    <c:v>Rolling Mean (30 Minute)</c:v>
                  </c:pt>
                  <c:pt idx="62">
                    <c:v>Rolling Mean (30 Minute)</c:v>
                  </c:pt>
                  <c:pt idx="63">
                    <c:v>Rolling Mean (30 Minute)</c:v>
                  </c:pt>
                  <c:pt idx="64">
                    <c:v>Rolling Mean (30 Minute)</c:v>
                  </c:pt>
                  <c:pt idx="65">
                    <c:v>Rolling Mean (30 Minute)</c:v>
                  </c:pt>
                  <c:pt idx="66">
                    <c:v>Rolling Mean (30 Minute)</c:v>
                  </c:pt>
                  <c:pt idx="67">
                    <c:v>Rolling Mean (30 Minute)</c:v>
                  </c:pt>
                  <c:pt idx="68">
                    <c:v>Rolling Mean (30 Minute)</c:v>
                  </c:pt>
                  <c:pt idx="69">
                    <c:v>Rolling Mean (30 Minute)</c:v>
                  </c:pt>
                  <c:pt idx="70">
                    <c:v>Rolling Mean (30 Minute)</c:v>
                  </c:pt>
                  <c:pt idx="71">
                    <c:v>Rolling Mean (30 Minute)</c:v>
                  </c:pt>
                  <c:pt idx="72">
                    <c:v>Rolling Mean (30 Minute)</c:v>
                  </c:pt>
                  <c:pt idx="73">
                    <c:v>Rolling Mean (30 Minute)</c:v>
                  </c:pt>
                  <c:pt idx="74">
                    <c:v>Rolling Mean (30 Minute)</c:v>
                  </c:pt>
                  <c:pt idx="75">
                    <c:v>Rolling Mean (30 Minute)</c:v>
                  </c:pt>
                  <c:pt idx="76">
                    <c:v>Rolling Mean (30 Minute)</c:v>
                  </c:pt>
                  <c:pt idx="77">
                    <c:v>Rolling Mean (30 Minute)</c:v>
                  </c:pt>
                  <c:pt idx="78">
                    <c:v>Rolling Mean (30 Minute)</c:v>
                  </c:pt>
                  <c:pt idx="79">
                    <c:v>Rolling Mean (30 Minute)</c:v>
                  </c:pt>
                  <c:pt idx="80">
                    <c:v>Rolling Mean (30 Minute)</c:v>
                  </c:pt>
                  <c:pt idx="81">
                    <c:v>Rolling Mean (30 Minute)</c:v>
                  </c:pt>
                  <c:pt idx="82">
                    <c:v>Rolling Mean (30 Minute)</c:v>
                  </c:pt>
                  <c:pt idx="83">
                    <c:v>Rolling Mean (30 Minute)</c:v>
                  </c:pt>
                  <c:pt idx="84">
                    <c:v>Rolling Mean (30 Minute)</c:v>
                  </c:pt>
                  <c:pt idx="85">
                    <c:v>Rolling Mean (30 Minute)</c:v>
                  </c:pt>
                  <c:pt idx="86">
                    <c:v>Rolling Mean (30 Minute)</c:v>
                  </c:pt>
                  <c:pt idx="87">
                    <c:v>Rolling Mean (30 Minute)</c:v>
                  </c:pt>
                  <c:pt idx="88">
                    <c:v>Rolling Mean (30 Minute)</c:v>
                  </c:pt>
                  <c:pt idx="89">
                    <c:v>Rolling Mean (30 Minute)</c:v>
                  </c:pt>
                  <c:pt idx="90">
                    <c:v>Rolling Mean (30 Minute)</c:v>
                  </c:pt>
                  <c:pt idx="91">
                    <c:v>Rolling Mean (30 Minute)</c:v>
                  </c:pt>
                  <c:pt idx="92">
                    <c:v>Rolling Mean (30 Minute)</c:v>
                  </c:pt>
                  <c:pt idx="93">
                    <c:v>Rolling Mean (30 Minute)</c:v>
                  </c:pt>
                  <c:pt idx="94">
                    <c:v>Rolling Mean (30 Minute)</c:v>
                  </c:pt>
                  <c:pt idx="95">
                    <c:v>Rolling Mean (30 Minute)</c:v>
                  </c:pt>
                  <c:pt idx="96">
                    <c:v>Rolling Mean (30 Minute)</c:v>
                  </c:pt>
                  <c:pt idx="97">
                    <c:v>Rolling Mean (30 Minute)</c:v>
                  </c:pt>
                  <c:pt idx="98">
                    <c:v>Rolling Mean (30 Minute)</c:v>
                  </c:pt>
                  <c:pt idx="99">
                    <c:v>Rolling Mean (30 Minute)</c:v>
                  </c:pt>
                  <c:pt idx="100">
                    <c:v>Rolling Mean (30 Minute)</c:v>
                  </c:pt>
                  <c:pt idx="101">
                    <c:v>Rolling Mean (30 Minute)</c:v>
                  </c:pt>
                  <c:pt idx="102">
                    <c:v>Rolling Mean (30 Minute)</c:v>
                  </c:pt>
                  <c:pt idx="103">
                    <c:v>Rolling Mean (30 Minute)</c:v>
                  </c:pt>
                  <c:pt idx="104">
                    <c:v>Rolling Mean (30 Minute)</c:v>
                  </c:pt>
                  <c:pt idx="105">
                    <c:v>Rolling Mean (30 Minute)</c:v>
                  </c:pt>
                  <c:pt idx="106">
                    <c:v>Rolling Mean (30 Minute)</c:v>
                  </c:pt>
                  <c:pt idx="107">
                    <c:v>Rolling Mean (30 Minute)</c:v>
                  </c:pt>
                  <c:pt idx="108">
                    <c:v>Rolling Mean (30 Minute)</c:v>
                  </c:pt>
                  <c:pt idx="109">
                    <c:v>Rolling Mean (30 Minute)</c:v>
                  </c:pt>
                  <c:pt idx="110">
                    <c:v>Rolling Mean (30 Minute)</c:v>
                  </c:pt>
                  <c:pt idx="111">
                    <c:v>Rolling Mean (30 Minute)</c:v>
                  </c:pt>
                  <c:pt idx="112">
                    <c:v>Rolling Mean (30 Minute)</c:v>
                  </c:pt>
                  <c:pt idx="113">
                    <c:v>Rolling Mean (30 Minute)</c:v>
                  </c:pt>
                  <c:pt idx="114">
                    <c:v>Rolling Mean (30 Minute)</c:v>
                  </c:pt>
                  <c:pt idx="115">
                    <c:v>Rolling Mean (30 Minute)</c:v>
                  </c:pt>
                  <c:pt idx="116">
                    <c:v>Rolling Mean (30 Minute)</c:v>
                  </c:pt>
                  <c:pt idx="117">
                    <c:v>Rolling Mean (30 Minute)</c:v>
                  </c:pt>
                  <c:pt idx="118">
                    <c:v>Rolling Mean (30 Minute)</c:v>
                  </c:pt>
                  <c:pt idx="119">
                    <c:v>Rolling Mean (30 Minute)</c:v>
                  </c:pt>
                  <c:pt idx="120">
                    <c:v>Rolling Mean (30 Minute)</c:v>
                  </c:pt>
                  <c:pt idx="121">
                    <c:v>Rolling Mean (30 Minute)</c:v>
                  </c:pt>
                  <c:pt idx="122">
                    <c:v>Rolling Mean (30 Minute)</c:v>
                  </c:pt>
                  <c:pt idx="123">
                    <c:v>Rolling Mean (30 Minute)</c:v>
                  </c:pt>
                  <c:pt idx="124">
                    <c:v>Rolling Mean (30 Minute)</c:v>
                  </c:pt>
                  <c:pt idx="125">
                    <c:v>Rolling Mean (30 Minute)</c:v>
                  </c:pt>
                  <c:pt idx="126">
                    <c:v>Rolling Mean (30 Minute)</c:v>
                  </c:pt>
                  <c:pt idx="127">
                    <c:v>Rolling Mean (30 Minute)</c:v>
                  </c:pt>
                  <c:pt idx="128">
                    <c:v>Rolling Mean (30 Minute)</c:v>
                  </c:pt>
                  <c:pt idx="129">
                    <c:v>Rolling Mean (30 Minute)</c:v>
                  </c:pt>
                  <c:pt idx="130">
                    <c:v>Rolling Mean (30 Minute)</c:v>
                  </c:pt>
                  <c:pt idx="131">
                    <c:v>Rolling Mean (30 Minute)</c:v>
                  </c:pt>
                  <c:pt idx="132">
                    <c:v>Rolling Mean (30 Minute)</c:v>
                  </c:pt>
                  <c:pt idx="133">
                    <c:v>Rolling Mean (30 Minute)</c:v>
                  </c:pt>
                  <c:pt idx="134">
                    <c:v>Rolling Mean (30 Minute)</c:v>
                  </c:pt>
                  <c:pt idx="135">
                    <c:v>Rolling Mean (30 Minute)</c:v>
                  </c:pt>
                  <c:pt idx="136">
                    <c:v>Rolling Mean (30 Minute)</c:v>
                  </c:pt>
                  <c:pt idx="137">
                    <c:v>Rolling Mean (30 Minute)</c:v>
                  </c:pt>
                  <c:pt idx="138">
                    <c:v>Rolling Mean (30 Minute)</c:v>
                  </c:pt>
                  <c:pt idx="139">
                    <c:v>Rolling Mean (30 Minute)</c:v>
                  </c:pt>
                  <c:pt idx="140">
                    <c:v>Rolling Mean (30 Minute)</c:v>
                  </c:pt>
                  <c:pt idx="141">
                    <c:v>Rolling Mean (30 Minute)</c:v>
                  </c:pt>
                  <c:pt idx="142">
                    <c:v>Rolling Mean (30 Minute)</c:v>
                  </c:pt>
                  <c:pt idx="143">
                    <c:v>Rolling Mean (30 Minute)</c:v>
                  </c:pt>
                  <c:pt idx="144">
                    <c:v>Rolling Mean (30 Minute)</c:v>
                  </c:pt>
                  <c:pt idx="145">
                    <c:v>Rolling Mean (30 Minute)</c:v>
                  </c:pt>
                  <c:pt idx="146">
                    <c:v>Rolling Mean (30 Minute)</c:v>
                  </c:pt>
                  <c:pt idx="147">
                    <c:v>Rolling Mean (30 Minute)</c:v>
                  </c:pt>
                  <c:pt idx="148">
                    <c:v>Rolling Mean (30 Minute)</c:v>
                  </c:pt>
                  <c:pt idx="149">
                    <c:v>Rolling Mean (30 Minute)</c:v>
                  </c:pt>
                  <c:pt idx="150">
                    <c:v>Rolling Mean (30 Minute)</c:v>
                  </c:pt>
                  <c:pt idx="151">
                    <c:v>Rolling Mean (30 Minute)</c:v>
                  </c:pt>
                  <c:pt idx="152">
                    <c:v>Rolling Mean (30 Minute)</c:v>
                  </c:pt>
                  <c:pt idx="153">
                    <c:v>Rolling Mean (30 Minute)</c:v>
                  </c:pt>
                  <c:pt idx="154">
                    <c:v>Rolling Mean (30 Minute)</c:v>
                  </c:pt>
                  <c:pt idx="155">
                    <c:v>Rolling Mean (30 Minute)</c:v>
                  </c:pt>
                  <c:pt idx="156">
                    <c:v>Rolling Mean (30 Minute)</c:v>
                  </c:pt>
                  <c:pt idx="157">
                    <c:v>Rolling Mean (30 Minute)</c:v>
                  </c:pt>
                  <c:pt idx="158">
                    <c:v>Rolling Mean (30 Minute)</c:v>
                  </c:pt>
                  <c:pt idx="159">
                    <c:v>Rolling Mean (30 Minute)</c:v>
                  </c:pt>
                  <c:pt idx="160">
                    <c:v>Rolling Mean (30 Minute)</c:v>
                  </c:pt>
                  <c:pt idx="161">
                    <c:v>Rolling Mean (30 Minute)</c:v>
                  </c:pt>
                  <c:pt idx="162">
                    <c:v>Rolling Mean (30 Minute)</c:v>
                  </c:pt>
                  <c:pt idx="163">
                    <c:v>Rolling Mean (30 Minute)</c:v>
                  </c:pt>
                  <c:pt idx="164">
                    <c:v>Rolling Mean (30 Minute)</c:v>
                  </c:pt>
                  <c:pt idx="165">
                    <c:v>Rolling Mean (30 Minute)</c:v>
                  </c:pt>
                  <c:pt idx="166">
                    <c:v>Rolling Mean (30 Minute)</c:v>
                  </c:pt>
                  <c:pt idx="167">
                    <c:v>Rolling Mean (30 Minute)</c:v>
                  </c:pt>
                  <c:pt idx="168">
                    <c:v>Rolling Mean (30 Minute)</c:v>
                  </c:pt>
                  <c:pt idx="169">
                    <c:v>Rolling Mean (30 Minute)</c:v>
                  </c:pt>
                  <c:pt idx="170">
                    <c:v>Rolling Mean (30 Minute)</c:v>
                  </c:pt>
                  <c:pt idx="171">
                    <c:v>Rolling Mean (30 Minute)</c:v>
                  </c:pt>
                  <c:pt idx="172">
                    <c:v>Rolling Mean (30 Minute)</c:v>
                  </c:pt>
                  <c:pt idx="173">
                    <c:v>Rolling Mean (30 Minute)</c:v>
                  </c:pt>
                  <c:pt idx="174">
                    <c:v>Rolling Mean (30 Minute)</c:v>
                  </c:pt>
                  <c:pt idx="175">
                    <c:v>Rolling Mean (30 Minute)</c:v>
                  </c:pt>
                  <c:pt idx="176">
                    <c:v>Rolling Mean (30 Minute)</c:v>
                  </c:pt>
                  <c:pt idx="177">
                    <c:v>Rolling Mean (30 Minute)</c:v>
                  </c:pt>
                  <c:pt idx="178">
                    <c:v>Rolling Mean (30 Minute)</c:v>
                  </c:pt>
                  <c:pt idx="179">
                    <c:v>Rolling Mean (30 Minute)</c:v>
                  </c:pt>
                  <c:pt idx="180">
                    <c:v>Rolling Mean (30 Minute)</c:v>
                  </c:pt>
                  <c:pt idx="181">
                    <c:v>Rolling Mean (30 Minute)</c:v>
                  </c:pt>
                  <c:pt idx="182">
                    <c:v>Rolling Mean (30 Minute)</c:v>
                  </c:pt>
                  <c:pt idx="183">
                    <c:v>Rolling Mean (30 Minute)</c:v>
                  </c:pt>
                  <c:pt idx="184">
                    <c:v>Rolling Mean (30 Minute)</c:v>
                  </c:pt>
                  <c:pt idx="185">
                    <c:v>Rolling Mean (30 Minute)</c:v>
                  </c:pt>
                  <c:pt idx="186">
                    <c:v>Rolling Mean (30 Minute)</c:v>
                  </c:pt>
                  <c:pt idx="187">
                    <c:v>Rolling Mean (30 Minute)</c:v>
                  </c:pt>
                  <c:pt idx="188">
                    <c:v>Rolling Mean (30 Minute)</c:v>
                  </c:pt>
                  <c:pt idx="189">
                    <c:v>Rolling Mean (30 Minute)</c:v>
                  </c:pt>
                  <c:pt idx="190">
                    <c:v>Rolling Mean (30 Minute)</c:v>
                  </c:pt>
                  <c:pt idx="191">
                    <c:v>Rolling Mean (30 Minute)</c:v>
                  </c:pt>
                  <c:pt idx="192">
                    <c:v>Rolling Mean (30 Minute)</c:v>
                  </c:pt>
                  <c:pt idx="193">
                    <c:v>Rolling Mean (30 Minute)</c:v>
                  </c:pt>
                  <c:pt idx="194">
                    <c:v>Rolling Mean (30 Minute)</c:v>
                  </c:pt>
                  <c:pt idx="195">
                    <c:v>Rolling Mean (30 Minute)</c:v>
                  </c:pt>
                  <c:pt idx="196">
                    <c:v>Rolling Mean (30 Minute)</c:v>
                  </c:pt>
                  <c:pt idx="197">
                    <c:v>Rolling Mean (30 Minute)</c:v>
                  </c:pt>
                  <c:pt idx="198">
                    <c:v>Rolling Mean (30 Minute)</c:v>
                  </c:pt>
                  <c:pt idx="199">
                    <c:v>Rolling Mean (30 Minute)</c:v>
                  </c:pt>
                  <c:pt idx="200">
                    <c:v>Rolling Mean (30 Minute)</c:v>
                  </c:pt>
                  <c:pt idx="201">
                    <c:v>Rolling Mean (30 Minute)</c:v>
                  </c:pt>
                  <c:pt idx="202">
                    <c:v>Rolling Mean (30 Minute)</c:v>
                  </c:pt>
                  <c:pt idx="203">
                    <c:v>Rolling Mean (30 Minute)</c:v>
                  </c:pt>
                  <c:pt idx="204">
                    <c:v>Rolling Mean (30 Minute)</c:v>
                  </c:pt>
                  <c:pt idx="205">
                    <c:v>Rolling Mean (30 Minute)</c:v>
                  </c:pt>
                  <c:pt idx="206">
                    <c:v>Rolling Mean (30 Minute)</c:v>
                  </c:pt>
                  <c:pt idx="207">
                    <c:v>Rolling Mean (30 Minute)</c:v>
                  </c:pt>
                  <c:pt idx="208">
                    <c:v>Rolling Mean (30 Minute)</c:v>
                  </c:pt>
                  <c:pt idx="209">
                    <c:v>Rolling Mean (30 Minute)</c:v>
                  </c:pt>
                  <c:pt idx="210">
                    <c:v>Rolling Mean (30 Minute)</c:v>
                  </c:pt>
                  <c:pt idx="211">
                    <c:v>Rolling Mean (30 Minute)</c:v>
                  </c:pt>
                  <c:pt idx="212">
                    <c:v>Rolling Mean (30 Minute)</c:v>
                  </c:pt>
                  <c:pt idx="213">
                    <c:v>Rolling Mean (30 Minute)</c:v>
                  </c:pt>
                  <c:pt idx="214">
                    <c:v>Rolling Mean (30 Minute)</c:v>
                  </c:pt>
                  <c:pt idx="215">
                    <c:v>Rolling Mean (30 Minute)</c:v>
                  </c:pt>
                  <c:pt idx="216">
                    <c:v>Rolling Mean (30 Minute)</c:v>
                  </c:pt>
                  <c:pt idx="217">
                    <c:v>Rolling Mean (30 Minute)</c:v>
                  </c:pt>
                  <c:pt idx="218">
                    <c:v>Rolling Mean (30 Minute)</c:v>
                  </c:pt>
                  <c:pt idx="219">
                    <c:v>Rolling Mean (30 Minute)</c:v>
                  </c:pt>
                  <c:pt idx="220">
                    <c:v>Rolling Mean (30 Minute)</c:v>
                  </c:pt>
                  <c:pt idx="221">
                    <c:v>Rolling Mean (30 Minute)</c:v>
                  </c:pt>
                  <c:pt idx="222">
                    <c:v>Rolling Mean (30 Minute)</c:v>
                  </c:pt>
                  <c:pt idx="223">
                    <c:v>Rolling Mean (30 Minute)</c:v>
                  </c:pt>
                  <c:pt idx="224">
                    <c:v>Rolling Mean (30 Minute)</c:v>
                  </c:pt>
                  <c:pt idx="225">
                    <c:v>Rolling Mean (30 Minute)</c:v>
                  </c:pt>
                  <c:pt idx="226">
                    <c:v>Rolling Mean (30 Minute)</c:v>
                  </c:pt>
                  <c:pt idx="227">
                    <c:v>Rolling Mean (30 Minute)</c:v>
                  </c:pt>
                  <c:pt idx="228">
                    <c:v>Rolling Mean (30 Minute)</c:v>
                  </c:pt>
                  <c:pt idx="229">
                    <c:v>Rolling Mean (30 Minute)</c:v>
                  </c:pt>
                  <c:pt idx="230">
                    <c:v>Rolling Mean (30 Minute)</c:v>
                  </c:pt>
                  <c:pt idx="231">
                    <c:v>Rolling Mean (30 Minute)</c:v>
                  </c:pt>
                  <c:pt idx="232">
                    <c:v>Rolling Mean (30 Minute)</c:v>
                  </c:pt>
                  <c:pt idx="233">
                    <c:v>Rolling Mean (30 Minute)</c:v>
                  </c:pt>
                  <c:pt idx="234">
                    <c:v>Rolling Mean (30 Minute)</c:v>
                  </c:pt>
                  <c:pt idx="235">
                    <c:v>Rolling Mean (30 Minute)</c:v>
                  </c:pt>
                  <c:pt idx="236">
                    <c:v>Rolling Mean (30 Minute)</c:v>
                  </c:pt>
                  <c:pt idx="237">
                    <c:v>Rolling Mean (30 Minute)</c:v>
                  </c:pt>
                  <c:pt idx="238">
                    <c:v>Rolling Mean (30 Minute)</c:v>
                  </c:pt>
                  <c:pt idx="239">
                    <c:v>Rolling Mean (30 Minute)</c:v>
                  </c:pt>
                  <c:pt idx="240">
                    <c:v>Rolling Mean (30 Minute)</c:v>
                  </c:pt>
                  <c:pt idx="241">
                    <c:v>Rolling Mean (30 Minute)</c:v>
                  </c:pt>
                  <c:pt idx="242">
                    <c:v>Rolling Mean (30 Minute)</c:v>
                  </c:pt>
                  <c:pt idx="243">
                    <c:v>Rolling Mean (30 Minute)</c:v>
                  </c:pt>
                  <c:pt idx="244">
                    <c:v>Rolling Mean (30 Minute)</c:v>
                  </c:pt>
                  <c:pt idx="245">
                    <c:v>Rolling Mean (30 Minute)</c:v>
                  </c:pt>
                  <c:pt idx="246">
                    <c:v>Rolling Mean (30 Minute)</c:v>
                  </c:pt>
                  <c:pt idx="247">
                    <c:v>Rolling Mean (30 Minute)</c:v>
                  </c:pt>
                  <c:pt idx="248">
                    <c:v>Rolling Mean (30 Minute)</c:v>
                  </c:pt>
                  <c:pt idx="249">
                    <c:v>Rolling Mean (30 Minute)</c:v>
                  </c:pt>
                  <c:pt idx="250">
                    <c:v>Rolling Mean (30 Minute)</c:v>
                  </c:pt>
                  <c:pt idx="251">
                    <c:v>Rolling Mean (30 Minute)</c:v>
                  </c:pt>
                  <c:pt idx="252">
                    <c:v>Rolling Mean (30 Minute)</c:v>
                  </c:pt>
                  <c:pt idx="253">
                    <c:v>Rolling Mean (30 Minute)</c:v>
                  </c:pt>
                  <c:pt idx="254">
                    <c:v>Rolling Mean (30 Minute)</c:v>
                  </c:pt>
                  <c:pt idx="255">
                    <c:v>Rolling Mean (30 Minute)</c:v>
                  </c:pt>
                  <c:pt idx="256">
                    <c:v>Rolling Mean (30 Minute)</c:v>
                  </c:pt>
                  <c:pt idx="257">
                    <c:v>Rolling Mean (30 Minute)</c:v>
                  </c:pt>
                  <c:pt idx="258">
                    <c:v>Rolling Mean (30 Minute)</c:v>
                  </c:pt>
                  <c:pt idx="259">
                    <c:v>Rolling Mean (30 Minute)</c:v>
                  </c:pt>
                  <c:pt idx="260">
                    <c:v>Rolling Mean (30 Minute)</c:v>
                  </c:pt>
                  <c:pt idx="261">
                    <c:v>Rolling Mean (30 Minute)</c:v>
                  </c:pt>
                  <c:pt idx="262">
                    <c:v>Rolling Mean (30 Minute)</c:v>
                  </c:pt>
                  <c:pt idx="263">
                    <c:v>Rolling Mean (30 Minute)</c:v>
                  </c:pt>
                  <c:pt idx="264">
                    <c:v>Rolling Mean (30 Minute)</c:v>
                  </c:pt>
                  <c:pt idx="265">
                    <c:v>Rolling Mean (30 Minute)</c:v>
                  </c:pt>
                  <c:pt idx="266">
                    <c:v>Rolling Mean (30 Minute)</c:v>
                  </c:pt>
                  <c:pt idx="267">
                    <c:v>Rolling Mean (30 Minute)</c:v>
                  </c:pt>
                  <c:pt idx="268">
                    <c:v>Rolling Mean (30 Minute)</c:v>
                  </c:pt>
                  <c:pt idx="269">
                    <c:v>Rolling Mean (30 Minute)</c:v>
                  </c:pt>
                  <c:pt idx="270">
                    <c:v>Rolling Mean (30 Minute)</c:v>
                  </c:pt>
                  <c:pt idx="271">
                    <c:v>Rolling Mean (30 Minute)</c:v>
                  </c:pt>
                  <c:pt idx="272">
                    <c:v>Rolling Mean (30 Minute)</c:v>
                  </c:pt>
                  <c:pt idx="273">
                    <c:v>Rolling Mean (30 Minute)</c:v>
                  </c:pt>
                  <c:pt idx="274">
                    <c:v>Rolling Mean (30 Minute)</c:v>
                  </c:pt>
                  <c:pt idx="275">
                    <c:v>Rolling Mean (30 Minute)</c:v>
                  </c:pt>
                  <c:pt idx="276">
                    <c:v>Rolling Mean (30 Minute)</c:v>
                  </c:pt>
                  <c:pt idx="277">
                    <c:v>Rolling Mean (30 Minute)</c:v>
                  </c:pt>
                  <c:pt idx="278">
                    <c:v>Rolling Mean (30 Minute)</c:v>
                  </c:pt>
                  <c:pt idx="279">
                    <c:v>Rolling Mean (30 Minute)</c:v>
                  </c:pt>
                  <c:pt idx="280">
                    <c:v>Rolling Mean (30 Minute)</c:v>
                  </c:pt>
                  <c:pt idx="281">
                    <c:v>Rolling Mean (30 Minute)</c:v>
                  </c:pt>
                  <c:pt idx="282">
                    <c:v>Rolling Mean (30 Minute)</c:v>
                  </c:pt>
                  <c:pt idx="283">
                    <c:v>Rolling Mean (30 Minute)</c:v>
                  </c:pt>
                  <c:pt idx="284">
                    <c:v>Rolling Mean (30 Minute)</c:v>
                  </c:pt>
                  <c:pt idx="285">
                    <c:v>Rolling Mean (30 Minute)</c:v>
                  </c:pt>
                  <c:pt idx="286">
                    <c:v>Rolling Mean (30 Minute)</c:v>
                  </c:pt>
                  <c:pt idx="287">
                    <c:v>Rolling Mean (30 Minute)</c:v>
                  </c:pt>
                  <c:pt idx="288">
                    <c:v>Rolling Mean (30 Minute)</c:v>
                  </c:pt>
                  <c:pt idx="289">
                    <c:v>Rolling Mean (30 Minute)</c:v>
                  </c:pt>
                  <c:pt idx="290">
                    <c:v>Rolling Mean (30 Minute)</c:v>
                  </c:pt>
                  <c:pt idx="291">
                    <c:v>Rolling Mean (30 Minute)</c:v>
                  </c:pt>
                  <c:pt idx="292">
                    <c:v>Rolling Mean (30 Minute)</c:v>
                  </c:pt>
                  <c:pt idx="293">
                    <c:v>Rolling Mean (30 Minute)</c:v>
                  </c:pt>
                  <c:pt idx="294">
                    <c:v>Rolling Mean (30 Minute)</c:v>
                  </c:pt>
                  <c:pt idx="295">
                    <c:v>Rolling Mean (30 Minute)</c:v>
                  </c:pt>
                  <c:pt idx="296">
                    <c:v>Rolling Mean (30 Minute)</c:v>
                  </c:pt>
                  <c:pt idx="297">
                    <c:v>Rolling Mean (30 Minute)</c:v>
                  </c:pt>
                  <c:pt idx="298">
                    <c:v>Rolling Mean (30 Minute)</c:v>
                  </c:pt>
                  <c:pt idx="299">
                    <c:v>Rolling Mean (30 Minute)</c:v>
                  </c:pt>
                  <c:pt idx="300">
                    <c:v>Rolling Mean (30 Minute)</c:v>
                  </c:pt>
                  <c:pt idx="301">
                    <c:v>Rolling Mean (30 Minute)</c:v>
                  </c:pt>
                  <c:pt idx="302">
                    <c:v>Rolling Mean (30 Minute)</c:v>
                  </c:pt>
                  <c:pt idx="303">
                    <c:v>Rolling Mean (30 Minute)</c:v>
                  </c:pt>
                  <c:pt idx="304">
                    <c:v>Rolling Mean (30 Minute)</c:v>
                  </c:pt>
                  <c:pt idx="305">
                    <c:v>Rolling Mean (30 Minute)</c:v>
                  </c:pt>
                  <c:pt idx="306">
                    <c:v>Rolling Mean (30 Minute)</c:v>
                  </c:pt>
                  <c:pt idx="307">
                    <c:v>Rolling Mean (30 Minute)</c:v>
                  </c:pt>
                  <c:pt idx="308">
                    <c:v>Rolling Mean (30 Minute)</c:v>
                  </c:pt>
                  <c:pt idx="309">
                    <c:v>Rolling Mean (30 Minute)</c:v>
                  </c:pt>
                  <c:pt idx="310">
                    <c:v>Rolling Mean (30 Minute)</c:v>
                  </c:pt>
                  <c:pt idx="311">
                    <c:v>Rolling Mean (30 Minute)</c:v>
                  </c:pt>
                  <c:pt idx="312">
                    <c:v>Rolling Mean (30 Minute)</c:v>
                  </c:pt>
                  <c:pt idx="313">
                    <c:v>Rolling Mean (30 Minute)</c:v>
                  </c:pt>
                  <c:pt idx="314">
                    <c:v>Rolling Mean (30 Minute)</c:v>
                  </c:pt>
                  <c:pt idx="315">
                    <c:v>Rolling Mean (30 Minute)</c:v>
                  </c:pt>
                  <c:pt idx="316">
                    <c:v>Rolling Mean (30 Minute)</c:v>
                  </c:pt>
                  <c:pt idx="317">
                    <c:v>Rolling Mean (30 Minute)</c:v>
                  </c:pt>
                  <c:pt idx="318">
                    <c:v>Rolling Mean (30 Minute)</c:v>
                  </c:pt>
                  <c:pt idx="319">
                    <c:v>Rolling Mean (30 Minute)</c:v>
                  </c:pt>
                  <c:pt idx="320">
                    <c:v>Rolling Mean (30 Minute)</c:v>
                  </c:pt>
                  <c:pt idx="321">
                    <c:v>Rolling Mean (30 Minute)</c:v>
                  </c:pt>
                  <c:pt idx="322">
                    <c:v>Rolling Mean (30 Minute)</c:v>
                  </c:pt>
                  <c:pt idx="323">
                    <c:v>Rolling Mean (30 Minute)</c:v>
                  </c:pt>
                  <c:pt idx="324">
                    <c:v>Rolling Mean (30 Minute)</c:v>
                  </c:pt>
                  <c:pt idx="325">
                    <c:v>Rolling Mean (30 Minute)</c:v>
                  </c:pt>
                  <c:pt idx="326">
                    <c:v>Rolling Mean (30 Minute)</c:v>
                  </c:pt>
                  <c:pt idx="327">
                    <c:v>Rolling Mean (30 Minute)</c:v>
                  </c:pt>
                  <c:pt idx="328">
                    <c:v>Rolling Mean (30 Minute)</c:v>
                  </c:pt>
                  <c:pt idx="329">
                    <c:v>Rolling Mean (30 Minute)</c:v>
                  </c:pt>
                  <c:pt idx="330">
                    <c:v>Rolling Mean (30 Minute)</c:v>
                  </c:pt>
                  <c:pt idx="331">
                    <c:v>Rolling Mean (30 Minute)</c:v>
                  </c:pt>
                  <c:pt idx="332">
                    <c:v>Rolling Mean (30 Minute)</c:v>
                  </c:pt>
                  <c:pt idx="333">
                    <c:v>Rolling Mean (30 Minute)</c:v>
                  </c:pt>
                  <c:pt idx="334">
                    <c:v>Rolling Mean (30 Minute)</c:v>
                  </c:pt>
                  <c:pt idx="335">
                    <c:v>Rolling Mean (30 Minute)</c:v>
                  </c:pt>
                  <c:pt idx="336">
                    <c:v>Rolling Mean (30 Minute)</c:v>
                  </c:pt>
                  <c:pt idx="337">
                    <c:v>Rolling Mean (30 Minute)</c:v>
                  </c:pt>
                  <c:pt idx="338">
                    <c:v>Rolling Mean (30 Minute)</c:v>
                  </c:pt>
                  <c:pt idx="339">
                    <c:v>Rolling Mean (30 Minute)</c:v>
                  </c:pt>
                  <c:pt idx="340">
                    <c:v>Rolling Mean (30 Minute)</c:v>
                  </c:pt>
                  <c:pt idx="341">
                    <c:v>Rolling Mean (30 Minute)</c:v>
                  </c:pt>
                  <c:pt idx="342">
                    <c:v>Rolling Mean (30 Minute)</c:v>
                  </c:pt>
                  <c:pt idx="343">
                    <c:v>Rolling Mean (30 Minute)</c:v>
                  </c:pt>
                  <c:pt idx="344">
                    <c:v>Rolling Mean (30 Minute)</c:v>
                  </c:pt>
                  <c:pt idx="345">
                    <c:v>Rolling Mean (30 Minute)</c:v>
                  </c:pt>
                  <c:pt idx="346">
                    <c:v>Rolling Mean (30 Minute)</c:v>
                  </c:pt>
                  <c:pt idx="347">
                    <c:v>Rolling Mean (30 Minute)</c:v>
                  </c:pt>
                  <c:pt idx="348">
                    <c:v>Rolling Mean (30 Minute)</c:v>
                  </c:pt>
                  <c:pt idx="349">
                    <c:v>Rolling Mean (30 Minute)</c:v>
                  </c:pt>
                  <c:pt idx="350">
                    <c:v>Rolling Mean (30 Minute)</c:v>
                  </c:pt>
                  <c:pt idx="351">
                    <c:v>Rolling Mean (30 Minute)</c:v>
                  </c:pt>
                  <c:pt idx="352">
                    <c:v>Rolling Mean (30 Minute)</c:v>
                  </c:pt>
                  <c:pt idx="353">
                    <c:v>Rolling Mean (30 Minute)</c:v>
                  </c:pt>
                  <c:pt idx="354">
                    <c:v>Rolling Mean (30 Minute)</c:v>
                  </c:pt>
                  <c:pt idx="355">
                    <c:v>Rolling Mean (30 Minute)</c:v>
                  </c:pt>
                  <c:pt idx="356">
                    <c:v>Rolling Mean (30 Minute)</c:v>
                  </c:pt>
                  <c:pt idx="357">
                    <c:v>Rolling Mean (30 Minute)</c:v>
                  </c:pt>
                  <c:pt idx="358">
                    <c:v>Rolling Mean (30 Minute)</c:v>
                  </c:pt>
                  <c:pt idx="359">
                    <c:v>Rolling Mean (30 Minute)</c:v>
                  </c:pt>
                  <c:pt idx="360">
                    <c:v>Rolling Mean (30 Minute)</c:v>
                  </c:pt>
                  <c:pt idx="361">
                    <c:v>Rolling Mean (30 Minute)</c:v>
                  </c:pt>
                  <c:pt idx="362">
                    <c:v>Rolling Mean (30 Minute)</c:v>
                  </c:pt>
                  <c:pt idx="363">
                    <c:v>Rolling Mean (30 Minute)</c:v>
                  </c:pt>
                  <c:pt idx="364">
                    <c:v>Rolling Mean (30 Minute)</c:v>
                  </c:pt>
                  <c:pt idx="365">
                    <c:v>Rolling Mean (30 Minute)</c:v>
                  </c:pt>
                  <c:pt idx="366">
                    <c:v>Rolling Mean (30 Minute)</c:v>
                  </c:pt>
                  <c:pt idx="367">
                    <c:v>Rolling Mean (30 Minute)</c:v>
                  </c:pt>
                  <c:pt idx="368">
                    <c:v>Rolling Mean (30 Minute)</c:v>
                  </c:pt>
                  <c:pt idx="369">
                    <c:v>Rolling Mean (30 Minute)</c:v>
                  </c:pt>
                  <c:pt idx="370">
                    <c:v>Rolling Mean (30 Minute)</c:v>
                  </c:pt>
                  <c:pt idx="371">
                    <c:v>Rolling Mean (30 Minute)</c:v>
                  </c:pt>
                  <c:pt idx="372">
                    <c:v>Rolling Mean (30 Minute)</c:v>
                  </c:pt>
                  <c:pt idx="373">
                    <c:v>Rolling Mean (30 Minute)</c:v>
                  </c:pt>
                  <c:pt idx="374">
                    <c:v>Rolling Mean (30 Minute)</c:v>
                  </c:pt>
                  <c:pt idx="375">
                    <c:v>Rolling Mean (30 Minute)</c:v>
                  </c:pt>
                  <c:pt idx="376">
                    <c:v>Rolling Mean (30 Minute)</c:v>
                  </c:pt>
                  <c:pt idx="377">
                    <c:v>Rolling Mean (30 Minute)</c:v>
                  </c:pt>
                  <c:pt idx="378">
                    <c:v>Rolling Mean (30 Minute)</c:v>
                  </c:pt>
                  <c:pt idx="379">
                    <c:v>Rolling Mean (30 Minute)</c:v>
                  </c:pt>
                  <c:pt idx="380">
                    <c:v>Rolling Mean (30 Minute)</c:v>
                  </c:pt>
                  <c:pt idx="381">
                    <c:v>Rolling Mean (30 Minute)</c:v>
                  </c:pt>
                  <c:pt idx="382">
                    <c:v>Rolling Mean (30 Minute)</c:v>
                  </c:pt>
                  <c:pt idx="383">
                    <c:v>Rolling Mean (30 Minute)</c:v>
                  </c:pt>
                  <c:pt idx="384">
                    <c:v>Rolling Mean (30 Minute)</c:v>
                  </c:pt>
                  <c:pt idx="385">
                    <c:v>Rolling Mean (30 Minute)</c:v>
                  </c:pt>
                  <c:pt idx="386">
                    <c:v>Rolling Mean (30 Minute)</c:v>
                  </c:pt>
                  <c:pt idx="387">
                    <c:v>Rolling Mean (30 Minute)</c:v>
                  </c:pt>
                  <c:pt idx="388">
                    <c:v>Rolling Mean (30 Minute)</c:v>
                  </c:pt>
                  <c:pt idx="389">
                    <c:v>Rolling Mean (30 Minute)</c:v>
                  </c:pt>
                  <c:pt idx="390">
                    <c:v>Rolling Mean (30 Minute)</c:v>
                  </c:pt>
                  <c:pt idx="391">
                    <c:v>Rolling Mean (30 Minute)</c:v>
                  </c:pt>
                  <c:pt idx="392">
                    <c:v>Rolling Mean (30 Minute)</c:v>
                  </c:pt>
                  <c:pt idx="393">
                    <c:v>Rolling Mean (30 Minute)</c:v>
                  </c:pt>
                  <c:pt idx="394">
                    <c:v>Rolling Mean (30 Minute)</c:v>
                  </c:pt>
                  <c:pt idx="395">
                    <c:v>Rolling Mean (30 Minute)</c:v>
                  </c:pt>
                  <c:pt idx="396">
                    <c:v>Rolling Mean (30 Minute)</c:v>
                  </c:pt>
                  <c:pt idx="397">
                    <c:v>Rolling Mean (30 Minute)</c:v>
                  </c:pt>
                  <c:pt idx="398">
                    <c:v>Rolling Mean (30 Minute)</c:v>
                  </c:pt>
                  <c:pt idx="399">
                    <c:v>Rolling Mean (30 Minute)</c:v>
                  </c:pt>
                  <c:pt idx="400">
                    <c:v>Rolling Mean (30 Minute)</c:v>
                  </c:pt>
                  <c:pt idx="401">
                    <c:v>Rolling Mean (30 Minute)</c:v>
                  </c:pt>
                  <c:pt idx="402">
                    <c:v>Rolling Mean (30 Minute)</c:v>
                  </c:pt>
                  <c:pt idx="403">
                    <c:v>Rolling Mean (30 Minute)</c:v>
                  </c:pt>
                  <c:pt idx="404">
                    <c:v>Rolling Mean (30 Minute)</c:v>
                  </c:pt>
                  <c:pt idx="405">
                    <c:v>Rolling Mean (30 Minute)</c:v>
                  </c:pt>
                  <c:pt idx="406">
                    <c:v>Rolling Mean (30 Minute)</c:v>
                  </c:pt>
                  <c:pt idx="407">
                    <c:v>Rolling Mean (30 Minute)</c:v>
                  </c:pt>
                  <c:pt idx="408">
                    <c:v>Rolling Mean (30 Minute)</c:v>
                  </c:pt>
                  <c:pt idx="409">
                    <c:v>Rolling Mean (30 Minute)</c:v>
                  </c:pt>
                  <c:pt idx="410">
                    <c:v>Rolling Mean (30 Minute)</c:v>
                  </c:pt>
                  <c:pt idx="411">
                    <c:v>Rolling Mean (30 Minute)</c:v>
                  </c:pt>
                  <c:pt idx="412">
                    <c:v>Rolling Mean (30 Minute)</c:v>
                  </c:pt>
                  <c:pt idx="413">
                    <c:v>Rolling Mean (30 Minute)</c:v>
                  </c:pt>
                  <c:pt idx="414">
                    <c:v>Rolling Mean (30 Minute)</c:v>
                  </c:pt>
                  <c:pt idx="415">
                    <c:v>Rolling Mean (30 Minute)</c:v>
                  </c:pt>
                  <c:pt idx="416">
                    <c:v>Rolling Mean (30 Minute)</c:v>
                  </c:pt>
                  <c:pt idx="417">
                    <c:v>Rolling Mean (30 Minute)</c:v>
                  </c:pt>
                  <c:pt idx="418">
                    <c:v>Rolling Mean (30 Minute)</c:v>
                  </c:pt>
                  <c:pt idx="419">
                    <c:v>Rolling Mean (30 Minute)</c:v>
                  </c:pt>
                  <c:pt idx="420">
                    <c:v>Rolling Mean (30 Minute)</c:v>
                  </c:pt>
                  <c:pt idx="421">
                    <c:v>Rolling Mean (30 Minute)</c:v>
                  </c:pt>
                  <c:pt idx="422">
                    <c:v>Rolling Mean (30 Minute)</c:v>
                  </c:pt>
                  <c:pt idx="423">
                    <c:v>Rolling Mean (30 Minute)</c:v>
                  </c:pt>
                  <c:pt idx="424">
                    <c:v>Rolling Mean (30 Minute)</c:v>
                  </c:pt>
                  <c:pt idx="425">
                    <c:v>Rolling Mean (30 Minute)</c:v>
                  </c:pt>
                  <c:pt idx="426">
                    <c:v>Rolling Mean (30 Minute)</c:v>
                  </c:pt>
                  <c:pt idx="427">
                    <c:v>Rolling Mean (30 Minute)</c:v>
                  </c:pt>
                  <c:pt idx="428">
                    <c:v>Rolling Mean (30 Minute)</c:v>
                  </c:pt>
                  <c:pt idx="429">
                    <c:v>Rolling Mean (30 Minute)</c:v>
                  </c:pt>
                  <c:pt idx="430">
                    <c:v>Rolling Mean (30 Minute)</c:v>
                  </c:pt>
                  <c:pt idx="431">
                    <c:v>Rolling Mean (30 Minute)</c:v>
                  </c:pt>
                  <c:pt idx="432">
                    <c:v>Rolling Mean (30 Minute)</c:v>
                  </c:pt>
                  <c:pt idx="433">
                    <c:v>Rolling Mean (30 Minute)</c:v>
                  </c:pt>
                  <c:pt idx="434">
                    <c:v>Rolling Mean (30 Minute)</c:v>
                  </c:pt>
                  <c:pt idx="435">
                    <c:v>Rolling Mean (30 Minute)</c:v>
                  </c:pt>
                  <c:pt idx="436">
                    <c:v>Rolling Mean (30 Minute)</c:v>
                  </c:pt>
                  <c:pt idx="437">
                    <c:v>Rolling Mean (30 Minute)</c:v>
                  </c:pt>
                  <c:pt idx="438">
                    <c:v>Rolling Mean (30 Minute)</c:v>
                  </c:pt>
                  <c:pt idx="439">
                    <c:v>Rolling Mean (30 Minute)</c:v>
                  </c:pt>
                  <c:pt idx="440">
                    <c:v>Rolling Mean (30 Minute)</c:v>
                  </c:pt>
                  <c:pt idx="441">
                    <c:v>Rolling Mean (30 Minute)</c:v>
                  </c:pt>
                  <c:pt idx="442">
                    <c:v>Rolling Mean (30 Minute)</c:v>
                  </c:pt>
                  <c:pt idx="443">
                    <c:v>Rolling Mean (30 Minute)</c:v>
                  </c:pt>
                  <c:pt idx="444">
                    <c:v>Rolling Mean (30 Minute)</c:v>
                  </c:pt>
                  <c:pt idx="445">
                    <c:v>Rolling Mean (30 Minute)</c:v>
                  </c:pt>
                  <c:pt idx="446">
                    <c:v>Rolling Mean (30 Minute)</c:v>
                  </c:pt>
                  <c:pt idx="447">
                    <c:v>Rolling Mean (30 Minute)</c:v>
                  </c:pt>
                  <c:pt idx="448">
                    <c:v>Rolling Mean (30 Minute)</c:v>
                  </c:pt>
                  <c:pt idx="449">
                    <c:v>Rolling Mean (30 Minute)</c:v>
                  </c:pt>
                  <c:pt idx="450">
                    <c:v>Rolling Mean (30 Minute)</c:v>
                  </c:pt>
                  <c:pt idx="451">
                    <c:v>Rolling Mean (30 Minute)</c:v>
                  </c:pt>
                  <c:pt idx="452">
                    <c:v>Rolling Mean (30 Minute)</c:v>
                  </c:pt>
                  <c:pt idx="453">
                    <c:v>Rolling Mean (30 Minute)</c:v>
                  </c:pt>
                  <c:pt idx="454">
                    <c:v>Rolling Mean (30 Minute)</c:v>
                  </c:pt>
                  <c:pt idx="455">
                    <c:v>Rolling Mean (30 Minute)</c:v>
                  </c:pt>
                  <c:pt idx="456">
                    <c:v>Rolling Mean (30 Minute)</c:v>
                  </c:pt>
                  <c:pt idx="457">
                    <c:v>Rolling Mean (30 Minute)</c:v>
                  </c:pt>
                  <c:pt idx="458">
                    <c:v>Rolling Mean (30 Minute)</c:v>
                  </c:pt>
                  <c:pt idx="459">
                    <c:v>Rolling Mean (30 Minute)</c:v>
                  </c:pt>
                  <c:pt idx="460">
                    <c:v>Rolling Mean (30 Minute)</c:v>
                  </c:pt>
                  <c:pt idx="461">
                    <c:v>Rolling Mean (30 Minute)</c:v>
                  </c:pt>
                  <c:pt idx="462">
                    <c:v>Rolling Mean (30 Minute)</c:v>
                  </c:pt>
                  <c:pt idx="463">
                    <c:v>Rolling Mean (30 Minute)</c:v>
                  </c:pt>
                  <c:pt idx="464">
                    <c:v>Rolling Mean (30 Minute)</c:v>
                  </c:pt>
                  <c:pt idx="465">
                    <c:v>Rolling Mean (30 Minute)</c:v>
                  </c:pt>
                  <c:pt idx="466">
                    <c:v>Rolling Mean (30 Minute)</c:v>
                  </c:pt>
                  <c:pt idx="467">
                    <c:v>Rolling Mean (30 Minute)</c:v>
                  </c:pt>
                  <c:pt idx="468">
                    <c:v>Rolling Mean (30 Minute)</c:v>
                  </c:pt>
                  <c:pt idx="469">
                    <c:v>Rolling Mean (30 Minute)</c:v>
                  </c:pt>
                  <c:pt idx="470">
                    <c:v>Rolling Mean (30 Minute)</c:v>
                  </c:pt>
                  <c:pt idx="471">
                    <c:v>Rolling Mean (30 Minute)</c:v>
                  </c:pt>
                  <c:pt idx="472">
                    <c:v>Rolling Mean (30 Minute)</c:v>
                  </c:pt>
                  <c:pt idx="473">
                    <c:v>Rolling Mean (30 Minute)</c:v>
                  </c:pt>
                  <c:pt idx="474">
                    <c:v>Rolling Mean (30 Minute)</c:v>
                  </c:pt>
                  <c:pt idx="475">
                    <c:v>Rolling Mean (30 Minute)</c:v>
                  </c:pt>
                  <c:pt idx="476">
                    <c:v>Rolling Mean (30 Minute)</c:v>
                  </c:pt>
                  <c:pt idx="477">
                    <c:v>Rolling Mean (30 Minute)</c:v>
                  </c:pt>
                  <c:pt idx="478">
                    <c:v>Rolling Mean (30 Minute)</c:v>
                  </c:pt>
                  <c:pt idx="479">
                    <c:v>Rolling Mean (30 Minute)</c:v>
                  </c:pt>
                  <c:pt idx="480">
                    <c:v>Rolling Mean (30 Minute)</c:v>
                  </c:pt>
                  <c:pt idx="481">
                    <c:v>Rolling Mean (30 Minute)</c:v>
                  </c:pt>
                  <c:pt idx="482">
                    <c:v>Rolling Mean (30 Minute)</c:v>
                  </c:pt>
                  <c:pt idx="483">
                    <c:v>Rolling Mean (30 Minute)</c:v>
                  </c:pt>
                  <c:pt idx="484">
                    <c:v>Rolling Mean (30 Minute)</c:v>
                  </c:pt>
                  <c:pt idx="485">
                    <c:v>Rolling Mean (30 Minute)</c:v>
                  </c:pt>
                  <c:pt idx="486">
                    <c:v>Rolling Mean (30 Minute)</c:v>
                  </c:pt>
                  <c:pt idx="487">
                    <c:v>Rolling Mean (30 Minute)</c:v>
                  </c:pt>
                  <c:pt idx="488">
                    <c:v>Rolling Mean (30 Minute)</c:v>
                  </c:pt>
                  <c:pt idx="489">
                    <c:v>Rolling Mean (30 Minute)</c:v>
                  </c:pt>
                  <c:pt idx="490">
                    <c:v>Rolling Mean (30 Minute)</c:v>
                  </c:pt>
                  <c:pt idx="491">
                    <c:v>Rolling Mean (30 Minute)</c:v>
                  </c:pt>
                  <c:pt idx="492">
                    <c:v>Rolling Mean (30 Minute)</c:v>
                  </c:pt>
                  <c:pt idx="493">
                    <c:v>Rolling Mean (30 Minute)</c:v>
                  </c:pt>
                  <c:pt idx="494">
                    <c:v>Rolling Mean (30 Minute)</c:v>
                  </c:pt>
                  <c:pt idx="495">
                    <c:v>Rolling Mean (30 Minute)</c:v>
                  </c:pt>
                  <c:pt idx="496">
                    <c:v>Rolling Mean (30 Minute)</c:v>
                  </c:pt>
                  <c:pt idx="497">
                    <c:v>Rolling Mean (30 Minute)</c:v>
                  </c:pt>
                  <c:pt idx="498">
                    <c:v>Rolling Mean (30 Minute)</c:v>
                  </c:pt>
                  <c:pt idx="499">
                    <c:v>Rolling Mean (30 Minute)</c:v>
                  </c:pt>
                  <c:pt idx="500">
                    <c:v>Rolling Mean (30 Minute)</c:v>
                  </c:pt>
                  <c:pt idx="501">
                    <c:v>Rolling Mean (30 Minute)</c:v>
                  </c:pt>
                  <c:pt idx="502">
                    <c:v>Rolling Mean (30 Minute)</c:v>
                  </c:pt>
                  <c:pt idx="503">
                    <c:v>Rolling Mean (30 Minute)</c:v>
                  </c:pt>
                  <c:pt idx="504">
                    <c:v>Rolling Mean (30 Minute)</c:v>
                  </c:pt>
                  <c:pt idx="505">
                    <c:v>Rolling Mean (30 Minute)</c:v>
                  </c:pt>
                  <c:pt idx="506">
                    <c:v>Rolling Mean (30 Minute)</c:v>
                  </c:pt>
                  <c:pt idx="507">
                    <c:v>Rolling Mean (30 Minute)</c:v>
                  </c:pt>
                  <c:pt idx="508">
                    <c:v>Rolling Mean (30 Minute)</c:v>
                  </c:pt>
                  <c:pt idx="509">
                    <c:v>Rolling Mean (30 Minute)</c:v>
                  </c:pt>
                  <c:pt idx="510">
                    <c:v>Rolling Mean (30 Minute)</c:v>
                  </c:pt>
                  <c:pt idx="511">
                    <c:v>Rolling Mean (30 Minute)</c:v>
                  </c:pt>
                  <c:pt idx="512">
                    <c:v>Rolling Mean (30 Minute)</c:v>
                  </c:pt>
                  <c:pt idx="513">
                    <c:v>Rolling Mean (30 Minute)</c:v>
                  </c:pt>
                  <c:pt idx="514">
                    <c:v>Rolling Mean (30 Minute)</c:v>
                  </c:pt>
                  <c:pt idx="515">
                    <c:v>Rolling Mean (30 Minute)</c:v>
                  </c:pt>
                  <c:pt idx="516">
                    <c:v>Rolling Mean (30 Minute)</c:v>
                  </c:pt>
                  <c:pt idx="517">
                    <c:v>Rolling Mean (30 Minute)</c:v>
                  </c:pt>
                  <c:pt idx="518">
                    <c:v>Rolling Mean (30 Minute)</c:v>
                  </c:pt>
                  <c:pt idx="519">
                    <c:v>Rolling Mean (30 Minute)</c:v>
                  </c:pt>
                  <c:pt idx="520">
                    <c:v>Rolling Mean (30 Minute)</c:v>
                  </c:pt>
                  <c:pt idx="521">
                    <c:v>Rolling Mean (30 Minute)</c:v>
                  </c:pt>
                  <c:pt idx="522">
                    <c:v>Rolling Mean (30 Minute)</c:v>
                  </c:pt>
                  <c:pt idx="523">
                    <c:v>Rolling Mean (30 Minute)</c:v>
                  </c:pt>
                  <c:pt idx="524">
                    <c:v>Rolling Mean (30 Minute)</c:v>
                  </c:pt>
                  <c:pt idx="525">
                    <c:v>Rolling Mean (30 Minute)</c:v>
                  </c:pt>
                  <c:pt idx="526">
                    <c:v>Rolling Mean (30 Minute)</c:v>
                  </c:pt>
                  <c:pt idx="527">
                    <c:v>Rolling Mean (30 Minute)</c:v>
                  </c:pt>
                  <c:pt idx="528">
                    <c:v>Rolling Mean (30 Minute)</c:v>
                  </c:pt>
                  <c:pt idx="529">
                    <c:v>Rolling Mean (30 Minute)</c:v>
                  </c:pt>
                  <c:pt idx="530">
                    <c:v>Rolling Mean (30 Minute)</c:v>
                  </c:pt>
                  <c:pt idx="531">
                    <c:v>Rolling Mean (30 Minute)</c:v>
                  </c:pt>
                  <c:pt idx="532">
                    <c:v>Rolling Mean (30 Minute)</c:v>
                  </c:pt>
                  <c:pt idx="533">
                    <c:v>Rolling Mean (30 Minute)</c:v>
                  </c:pt>
                  <c:pt idx="534">
                    <c:v>Rolling Mean (30 Minute)</c:v>
                  </c:pt>
                  <c:pt idx="535">
                    <c:v>Rolling Mean (30 Minute)</c:v>
                  </c:pt>
                  <c:pt idx="536">
                    <c:v>Rolling Mean (30 Minute)</c:v>
                  </c:pt>
                  <c:pt idx="537">
                    <c:v>Rolling Mean (30 Minute)</c:v>
                  </c:pt>
                  <c:pt idx="538">
                    <c:v>Rolling Mean (30 Minute)</c:v>
                  </c:pt>
                  <c:pt idx="539">
                    <c:v>Rolling Mean (30 Minute)</c:v>
                  </c:pt>
                  <c:pt idx="540">
                    <c:v>Rolling Mean (30 Minute)</c:v>
                  </c:pt>
                  <c:pt idx="541">
                    <c:v>Rolling Mean (30 Minute)</c:v>
                  </c:pt>
                  <c:pt idx="542">
                    <c:v>Rolling Mean (30 Minute)</c:v>
                  </c:pt>
                  <c:pt idx="543">
                    <c:v>Rolling Mean (30 Minute)</c:v>
                  </c:pt>
                  <c:pt idx="544">
                    <c:v>Rolling Mean (30 Minute)</c:v>
                  </c:pt>
                  <c:pt idx="545">
                    <c:v>Rolling Mean (30 Minute)</c:v>
                  </c:pt>
                  <c:pt idx="546">
                    <c:v>Rolling Mean (30 Minute)</c:v>
                  </c:pt>
                  <c:pt idx="547">
                    <c:v>Rolling Mean (30 Minute)</c:v>
                  </c:pt>
                  <c:pt idx="548">
                    <c:v>Rolling Mean (30 Minute)</c:v>
                  </c:pt>
                  <c:pt idx="549">
                    <c:v>Rolling Mean (30 Minute)</c:v>
                  </c:pt>
                  <c:pt idx="550">
                    <c:v>Rolling Mean (30 Minute)</c:v>
                  </c:pt>
                  <c:pt idx="551">
                    <c:v>Rolling Mean (30 Minute)</c:v>
                  </c:pt>
                  <c:pt idx="552">
                    <c:v>Rolling Mean (30 Minute)</c:v>
                  </c:pt>
                  <c:pt idx="553">
                    <c:v>Rolling Mean (30 Minute)</c:v>
                  </c:pt>
                  <c:pt idx="554">
                    <c:v>Rolling Mean (30 Minute)</c:v>
                  </c:pt>
                  <c:pt idx="555">
                    <c:v>Rolling Mean (30 Minute)</c:v>
                  </c:pt>
                  <c:pt idx="556">
                    <c:v>Rolling Mean (30 Minute)</c:v>
                  </c:pt>
                  <c:pt idx="557">
                    <c:v>Rolling Mean (30 Minute)</c:v>
                  </c:pt>
                  <c:pt idx="558">
                    <c:v>Rolling Mean (30 Minute)</c:v>
                  </c:pt>
                  <c:pt idx="559">
                    <c:v>Rolling Mean (30 Minute)</c:v>
                  </c:pt>
                  <c:pt idx="560">
                    <c:v>Rolling Mean (30 Minute)</c:v>
                  </c:pt>
                  <c:pt idx="561">
                    <c:v>Rolling Mean (30 Minute)</c:v>
                  </c:pt>
                  <c:pt idx="562">
                    <c:v>Rolling Mean (30 Minute)</c:v>
                  </c:pt>
                  <c:pt idx="563">
                    <c:v>Rolling Mean (30 Minute)</c:v>
                  </c:pt>
                  <c:pt idx="564">
                    <c:v>Rolling Mean (30 Minute)</c:v>
                  </c:pt>
                  <c:pt idx="565">
                    <c:v>Rolling Mean (30 Minute)</c:v>
                  </c:pt>
                  <c:pt idx="566">
                    <c:v>Rolling Mean (30 Minute)</c:v>
                  </c:pt>
                  <c:pt idx="567">
                    <c:v>Rolling Mean (30 Minute)</c:v>
                  </c:pt>
                  <c:pt idx="568">
                    <c:v>Rolling Mean (30 Minute)</c:v>
                  </c:pt>
                  <c:pt idx="569">
                    <c:v>Rolling Mean (30 Minute)</c:v>
                  </c:pt>
                  <c:pt idx="570">
                    <c:v>Rolling Mean (30 Minute)</c:v>
                  </c:pt>
                  <c:pt idx="571">
                    <c:v>Rolling Mean (30 Minute)</c:v>
                  </c:pt>
                  <c:pt idx="572">
                    <c:v>Rolling Mean (30 Minute)</c:v>
                  </c:pt>
                  <c:pt idx="573">
                    <c:v>Rolling Mean (30 Minute)</c:v>
                  </c:pt>
                  <c:pt idx="574">
                    <c:v>Rolling Mean (30 Minute)</c:v>
                  </c:pt>
                  <c:pt idx="575">
                    <c:v>Rolling Mean (30 Minute)</c:v>
                  </c:pt>
                  <c:pt idx="576">
                    <c:v>Rolling Mean (30 Minute)</c:v>
                  </c:pt>
                  <c:pt idx="577">
                    <c:v>Rolling Mean (30 Minute)</c:v>
                  </c:pt>
                  <c:pt idx="578">
                    <c:v>Rolling Mean (30 Minute)</c:v>
                  </c:pt>
                  <c:pt idx="579">
                    <c:v>Rolling Mean (30 Minute)</c:v>
                  </c:pt>
                  <c:pt idx="580">
                    <c:v>Rolling Mean (30 Minute)</c:v>
                  </c:pt>
                  <c:pt idx="581">
                    <c:v>Rolling Mean (30 Minute)</c:v>
                  </c:pt>
                  <c:pt idx="582">
                    <c:v>Rolling Mean (30 Minute)</c:v>
                  </c:pt>
                  <c:pt idx="583">
                    <c:v>Rolling Mean (30 Minute)</c:v>
                  </c:pt>
                  <c:pt idx="584">
                    <c:v>Rolling Mean (30 Minute)</c:v>
                  </c:pt>
                  <c:pt idx="585">
                    <c:v>Rolling Mean (30 Minute)</c:v>
                  </c:pt>
                  <c:pt idx="586">
                    <c:v>Rolling Mean (30 Minute)</c:v>
                  </c:pt>
                  <c:pt idx="587">
                    <c:v>Rolling Mean (30 Minute)</c:v>
                  </c:pt>
                  <c:pt idx="588">
                    <c:v>Rolling Mean (30 Minute)</c:v>
                  </c:pt>
                  <c:pt idx="589">
                    <c:v>Rolling Mean (30 Minute)</c:v>
                  </c:pt>
                  <c:pt idx="590">
                    <c:v>Rolling Mean (30 Minute)</c:v>
                  </c:pt>
                  <c:pt idx="591">
                    <c:v>Rolling Mean (30 Minute)</c:v>
                  </c:pt>
                  <c:pt idx="592">
                    <c:v>Rolling Mean (30 Minute)</c:v>
                  </c:pt>
                  <c:pt idx="593">
                    <c:v>Rolling Mean (30 Minute)</c:v>
                  </c:pt>
                  <c:pt idx="594">
                    <c:v>Rolling Mean (30 Minute)</c:v>
                  </c:pt>
                  <c:pt idx="595">
                    <c:v>Rolling Mean (30 Minute)</c:v>
                  </c:pt>
                  <c:pt idx="596">
                    <c:v>Rolling Mean (30 Minute)</c:v>
                  </c:pt>
                  <c:pt idx="597">
                    <c:v>Rolling Mean (30 Minute)</c:v>
                  </c:pt>
                  <c:pt idx="598">
                    <c:v>Rolling Mean (30 Minute)</c:v>
                  </c:pt>
                  <c:pt idx="599">
                    <c:v>Rolling Mean (30 Minute)</c:v>
                  </c:pt>
                  <c:pt idx="600">
                    <c:v>Rolling Mean (30 Minute)</c:v>
                  </c:pt>
                  <c:pt idx="601">
                    <c:v>Rolling Mean (30 Minute)</c:v>
                  </c:pt>
                  <c:pt idx="602">
                    <c:v>Rolling Mean (30 Minute)</c:v>
                  </c:pt>
                  <c:pt idx="603">
                    <c:v>Rolling Mean (30 Minute)</c:v>
                  </c:pt>
                  <c:pt idx="604">
                    <c:v>Rolling Mean (30 Minute)</c:v>
                  </c:pt>
                  <c:pt idx="605">
                    <c:v>Rolling Mean (30 Minute)</c:v>
                  </c:pt>
                  <c:pt idx="606">
                    <c:v>Rolling Mean (30 Minute)</c:v>
                  </c:pt>
                  <c:pt idx="607">
                    <c:v>Rolling Mean (30 Minute)</c:v>
                  </c:pt>
                  <c:pt idx="608">
                    <c:v>Rolling Mean (30 Minute)</c:v>
                  </c:pt>
                  <c:pt idx="609">
                    <c:v>Rolling Mean (30 Minute)</c:v>
                  </c:pt>
                  <c:pt idx="610">
                    <c:v>Rolling Mean (30 Minute)</c:v>
                  </c:pt>
                  <c:pt idx="611">
                    <c:v>Rolling Mean (30 Minute)</c:v>
                  </c:pt>
                  <c:pt idx="612">
                    <c:v>Rolling Mean (30 Minute)</c:v>
                  </c:pt>
                  <c:pt idx="613">
                    <c:v>Rolling Mean (30 Minute)</c:v>
                  </c:pt>
                  <c:pt idx="614">
                    <c:v>Rolling Mean (30 Minute)</c:v>
                  </c:pt>
                  <c:pt idx="615">
                    <c:v>Rolling Mean (30 Minute)</c:v>
                  </c:pt>
                  <c:pt idx="616">
                    <c:v>Rolling Mean (30 Minute)</c:v>
                  </c:pt>
                  <c:pt idx="617">
                    <c:v>Rolling Mean (30 Minute)</c:v>
                  </c:pt>
                  <c:pt idx="618">
                    <c:v>Rolling Mean (30 Minute)</c:v>
                  </c:pt>
                  <c:pt idx="619">
                    <c:v>Rolling Mean (30 Minute)</c:v>
                  </c:pt>
                  <c:pt idx="620">
                    <c:v>Rolling Mean (30 Minute)</c:v>
                  </c:pt>
                  <c:pt idx="621">
                    <c:v>Rolling Mean (30 Minute)</c:v>
                  </c:pt>
                  <c:pt idx="622">
                    <c:v>Rolling Mean (30 Minute)</c:v>
                  </c:pt>
                  <c:pt idx="623">
                    <c:v>Rolling Mean (30 Minute)</c:v>
                  </c:pt>
                  <c:pt idx="624">
                    <c:v>Rolling Mean (30 Minute)</c:v>
                  </c:pt>
                  <c:pt idx="625">
                    <c:v>Rolling Mean (30 Minute)</c:v>
                  </c:pt>
                  <c:pt idx="626">
                    <c:v>Rolling Mean (30 Minute)</c:v>
                  </c:pt>
                  <c:pt idx="627">
                    <c:v>Rolling Mean (30 Minute)</c:v>
                  </c:pt>
                  <c:pt idx="628">
                    <c:v>Rolling Mean (30 Minute)</c:v>
                  </c:pt>
                  <c:pt idx="629">
                    <c:v>Rolling Mean (30 Minute)</c:v>
                  </c:pt>
                  <c:pt idx="630">
                    <c:v>Rolling Mean (30 Minute)</c:v>
                  </c:pt>
                  <c:pt idx="631">
                    <c:v>Rolling Mean (30 Minute)</c:v>
                  </c:pt>
                  <c:pt idx="632">
                    <c:v>Rolling Mean (30 Minute)</c:v>
                  </c:pt>
                  <c:pt idx="633">
                    <c:v>Rolling Mean (30 Minute)</c:v>
                  </c:pt>
                  <c:pt idx="634">
                    <c:v>Rolling Mean (30 Minute)</c:v>
                  </c:pt>
                  <c:pt idx="635">
                    <c:v>Rolling Mean (30 Minute)</c:v>
                  </c:pt>
                  <c:pt idx="636">
                    <c:v>Rolling Mean (30 Minute)</c:v>
                  </c:pt>
                  <c:pt idx="637">
                    <c:v>Rolling Mean (30 Minute)</c:v>
                  </c:pt>
                  <c:pt idx="638">
                    <c:v>Rolling Mean (30 Minute)</c:v>
                  </c:pt>
                  <c:pt idx="639">
                    <c:v>Rolling Mean (30 Minute)</c:v>
                  </c:pt>
                  <c:pt idx="640">
                    <c:v>Rolling Mean (30 Minute)</c:v>
                  </c:pt>
                  <c:pt idx="641">
                    <c:v>Rolling Mean (30 Minute)</c:v>
                  </c:pt>
                  <c:pt idx="642">
                    <c:v>Rolling Mean (30 Minute)</c:v>
                  </c:pt>
                  <c:pt idx="643">
                    <c:v>Rolling Mean (30 Minute)</c:v>
                  </c:pt>
                  <c:pt idx="644">
                    <c:v>Rolling Mean (30 Minute)</c:v>
                  </c:pt>
                  <c:pt idx="645">
                    <c:v>Rolling Mean (30 Minute)</c:v>
                  </c:pt>
                  <c:pt idx="646">
                    <c:v>Rolling Mean (30 Minute)</c:v>
                  </c:pt>
                  <c:pt idx="647">
                    <c:v>Rolling Mean (30 Minute)</c:v>
                  </c:pt>
                  <c:pt idx="648">
                    <c:v>Rolling Mean (30 Minute)</c:v>
                  </c:pt>
                  <c:pt idx="649">
                    <c:v>Rolling Mean (30 Minute)</c:v>
                  </c:pt>
                  <c:pt idx="650">
                    <c:v>Rolling Mean (30 Minute)</c:v>
                  </c:pt>
                  <c:pt idx="651">
                    <c:v>Rolling Mean (30 Minute)</c:v>
                  </c:pt>
                  <c:pt idx="652">
                    <c:v>Rolling Mean (30 Minute)</c:v>
                  </c:pt>
                  <c:pt idx="653">
                    <c:v>Rolling Mean (30 Minute)</c:v>
                  </c:pt>
                  <c:pt idx="654">
                    <c:v>Rolling Mean (30 Minute)</c:v>
                  </c:pt>
                  <c:pt idx="655">
                    <c:v>Rolling Mean (30 Minute)</c:v>
                  </c:pt>
                  <c:pt idx="656">
                    <c:v>Rolling Mean (30 Minute)</c:v>
                  </c:pt>
                  <c:pt idx="657">
                    <c:v>Rolling Mean (30 Minute)</c:v>
                  </c:pt>
                  <c:pt idx="658">
                    <c:v>Rolling Mean (30 Minute)</c:v>
                  </c:pt>
                  <c:pt idx="659">
                    <c:v>Rolling Mean (30 Minute)</c:v>
                  </c:pt>
                  <c:pt idx="660">
                    <c:v>Rolling Mean (30 Minute)</c:v>
                  </c:pt>
                  <c:pt idx="661">
                    <c:v>Rolling Mean (30 Minute)</c:v>
                  </c:pt>
                  <c:pt idx="662">
                    <c:v>Rolling Mean (30 Minute)</c:v>
                  </c:pt>
                  <c:pt idx="663">
                    <c:v>Rolling Mean (30 Minute)</c:v>
                  </c:pt>
                  <c:pt idx="664">
                    <c:v>Rolling Mean (30 Minute)</c:v>
                  </c:pt>
                  <c:pt idx="665">
                    <c:v>Rolling Mean (30 Minute)</c:v>
                  </c:pt>
                  <c:pt idx="666">
                    <c:v>Rolling Mean (30 Minute)</c:v>
                  </c:pt>
                  <c:pt idx="667">
                    <c:v>Rolling Mean (30 Minute)</c:v>
                  </c:pt>
                  <c:pt idx="668">
                    <c:v>Rolling Mean (30 Minute)</c:v>
                  </c:pt>
                  <c:pt idx="669">
                    <c:v>Rolling Mean (30 Minute)</c:v>
                  </c:pt>
                  <c:pt idx="670">
                    <c:v>Rolling Mean (30 Minute)</c:v>
                  </c:pt>
                  <c:pt idx="671">
                    <c:v>Rolling Mean (30 Minute)</c:v>
                  </c:pt>
                  <c:pt idx="672">
                    <c:v>Rolling Mean (30 Minute)</c:v>
                  </c:pt>
                  <c:pt idx="673">
                    <c:v>Rolling Mean (30 Minute)</c:v>
                  </c:pt>
                  <c:pt idx="674">
                    <c:v>Rolling Mean (30 Minute)</c:v>
                  </c:pt>
                  <c:pt idx="675">
                    <c:v>Rolling Mean (30 Minute)</c:v>
                  </c:pt>
                  <c:pt idx="676">
                    <c:v>Rolling Mean (30 Minute)</c:v>
                  </c:pt>
                  <c:pt idx="677">
                    <c:v>Rolling Mean (30 Minute)</c:v>
                  </c:pt>
                  <c:pt idx="678">
                    <c:v>Rolling Mean (30 Minute)</c:v>
                  </c:pt>
                  <c:pt idx="679">
                    <c:v>Rolling Mean (30 Minute)</c:v>
                  </c:pt>
                  <c:pt idx="680">
                    <c:v>Rolling Mean (30 Minute)</c:v>
                  </c:pt>
                  <c:pt idx="681">
                    <c:v>Rolling Mean (30 Minute)</c:v>
                  </c:pt>
                  <c:pt idx="682">
                    <c:v>Rolling Mean (30 Minute)</c:v>
                  </c:pt>
                  <c:pt idx="683">
                    <c:v>Rolling Mean (30 Minute)</c:v>
                  </c:pt>
                  <c:pt idx="684">
                    <c:v>Rolling Mean (30 Minute)</c:v>
                  </c:pt>
                  <c:pt idx="685">
                    <c:v>Rolling Mean (30 Minute)</c:v>
                  </c:pt>
                  <c:pt idx="686">
                    <c:v>Rolling Mean (30 Minute)</c:v>
                  </c:pt>
                  <c:pt idx="687">
                    <c:v>Rolling Mean (30 Minute)</c:v>
                  </c:pt>
                  <c:pt idx="688">
                    <c:v>Rolling Mean (30 Minute)</c:v>
                  </c:pt>
                  <c:pt idx="689">
                    <c:v>Rolling Mean (30 Minute)</c:v>
                  </c:pt>
                  <c:pt idx="690">
                    <c:v>Rolling Mean (30 Minute)</c:v>
                  </c:pt>
                  <c:pt idx="691">
                    <c:v>Rolling Mean (30 Minute)</c:v>
                  </c:pt>
                  <c:pt idx="692">
                    <c:v>Rolling Mean (30 Minute)</c:v>
                  </c:pt>
                  <c:pt idx="693">
                    <c:v>Rolling Mean (30 Minute)</c:v>
                  </c:pt>
                  <c:pt idx="694">
                    <c:v>Rolling Mean (30 Minute)</c:v>
                  </c:pt>
                  <c:pt idx="695">
                    <c:v>Rolling Mean (30 Minute)</c:v>
                  </c:pt>
                  <c:pt idx="696">
                    <c:v>Rolling Mean (30 Minute)</c:v>
                  </c:pt>
                  <c:pt idx="697">
                    <c:v>Rolling Mean (30 Minute)</c:v>
                  </c:pt>
                  <c:pt idx="698">
                    <c:v>Rolling Mean (30 Minute)</c:v>
                  </c:pt>
                  <c:pt idx="699">
                    <c:v>Rolling Mean (30 Minute)</c:v>
                  </c:pt>
                  <c:pt idx="700">
                    <c:v>Rolling Mean (30 Minute)</c:v>
                  </c:pt>
                  <c:pt idx="701">
                    <c:v>Rolling Mean (30 Minute)</c:v>
                  </c:pt>
                  <c:pt idx="702">
                    <c:v>Rolling Mean (30 Minute)</c:v>
                  </c:pt>
                  <c:pt idx="703">
                    <c:v>Rolling Mean (30 Minute)</c:v>
                  </c:pt>
                  <c:pt idx="704">
                    <c:v>Rolling Mean (30 Minute)</c:v>
                  </c:pt>
                  <c:pt idx="705">
                    <c:v>Rolling Mean (30 Minute)</c:v>
                  </c:pt>
                  <c:pt idx="706">
                    <c:v>Rolling Mean (30 Minute)</c:v>
                  </c:pt>
                  <c:pt idx="707">
                    <c:v>Rolling Mean (30 Minute)</c:v>
                  </c:pt>
                  <c:pt idx="708">
                    <c:v>Rolling Mean (30 Minute)</c:v>
                  </c:pt>
                  <c:pt idx="709">
                    <c:v>Rolling Mean (30 Minute)</c:v>
                  </c:pt>
                  <c:pt idx="710">
                    <c:v>Rolling Mean (30 Minute)</c:v>
                  </c:pt>
                  <c:pt idx="711">
                    <c:v>Rolling Mean (30 Minute)</c:v>
                  </c:pt>
                  <c:pt idx="712">
                    <c:v>Rolling Mean (30 Minute)</c:v>
                  </c:pt>
                  <c:pt idx="713">
                    <c:v>Rolling Mean (30 Minute)</c:v>
                  </c:pt>
                  <c:pt idx="714">
                    <c:v>Rolling Mean (30 Minute)</c:v>
                  </c:pt>
                  <c:pt idx="715">
                    <c:v>Rolling Mean (30 Minute)</c:v>
                  </c:pt>
                  <c:pt idx="716">
                    <c:v>Rolling Mean (30 Minute)</c:v>
                  </c:pt>
                  <c:pt idx="717">
                    <c:v>Rolling Mean (30 Minute)</c:v>
                  </c:pt>
                  <c:pt idx="718">
                    <c:v>Rolling Mean (30 Minute)</c:v>
                  </c:pt>
                  <c:pt idx="719">
                    <c:v>Rolling Mean (30 Minute)</c:v>
                  </c:pt>
                  <c:pt idx="720">
                    <c:v>Rolling Mean (30 Minute)</c:v>
                  </c:pt>
                  <c:pt idx="721">
                    <c:v>Rolling Mean (30 Minute)</c:v>
                  </c:pt>
                  <c:pt idx="722">
                    <c:v>Rolling Mean (30 Minute)</c:v>
                  </c:pt>
                  <c:pt idx="723">
                    <c:v>Rolling Mean (30 Minute)</c:v>
                  </c:pt>
                  <c:pt idx="724">
                    <c:v>Rolling Mean (30 Minute)</c:v>
                  </c:pt>
                  <c:pt idx="725">
                    <c:v>Rolling Mean (30 Minute)</c:v>
                  </c:pt>
                  <c:pt idx="726">
                    <c:v>Rolling Mean (30 Minute)</c:v>
                  </c:pt>
                  <c:pt idx="727">
                    <c:v>Rolling Mean (30 Minute)</c:v>
                  </c:pt>
                  <c:pt idx="728">
                    <c:v>Rolling Mean (30 Minute)</c:v>
                  </c:pt>
                  <c:pt idx="729">
                    <c:v>Rolling Mean (30 Minute)</c:v>
                  </c:pt>
                  <c:pt idx="730">
                    <c:v>Rolling Mean (30 Minute)</c:v>
                  </c:pt>
                  <c:pt idx="731">
                    <c:v>Rolling Mean (30 Minute)</c:v>
                  </c:pt>
                  <c:pt idx="732">
                    <c:v>Rolling Mean (30 Minute)</c:v>
                  </c:pt>
                  <c:pt idx="733">
                    <c:v>Rolling Mean (30 Minute)</c:v>
                  </c:pt>
                  <c:pt idx="734">
                    <c:v>Rolling Mean (30 Minute)</c:v>
                  </c:pt>
                  <c:pt idx="735">
                    <c:v>Rolling Mean (30 Minute)</c:v>
                  </c:pt>
                  <c:pt idx="736">
                    <c:v>Rolling Mean (30 Minute)</c:v>
                  </c:pt>
                  <c:pt idx="737">
                    <c:v>Rolling Mean (30 Minute)</c:v>
                  </c:pt>
                  <c:pt idx="738">
                    <c:v>Rolling Mean (30 Minute)</c:v>
                  </c:pt>
                  <c:pt idx="739">
                    <c:v>Rolling Mean (30 Minute)</c:v>
                  </c:pt>
                  <c:pt idx="740">
                    <c:v>Rolling Mean (30 Minute)</c:v>
                  </c:pt>
                  <c:pt idx="741">
                    <c:v>Rolling Mean (30 Minute)</c:v>
                  </c:pt>
                  <c:pt idx="742">
                    <c:v>Rolling Mean (30 Minute)</c:v>
                  </c:pt>
                  <c:pt idx="743">
                    <c:v>Rolling Mean (30 Minute)</c:v>
                  </c:pt>
                  <c:pt idx="744">
                    <c:v>Rolling Mean (30 Minute)</c:v>
                  </c:pt>
                  <c:pt idx="745">
                    <c:v>Rolling Mean (30 Minute)</c:v>
                  </c:pt>
                  <c:pt idx="746">
                    <c:v>Rolling Mean (30 Minute)</c:v>
                  </c:pt>
                  <c:pt idx="747">
                    <c:v>Rolling Mean (30 Minute)</c:v>
                  </c:pt>
                  <c:pt idx="748">
                    <c:v>Rolling Mean (30 Minute)</c:v>
                  </c:pt>
                  <c:pt idx="749">
                    <c:v>Rolling Mean (30 Minute)</c:v>
                  </c:pt>
                  <c:pt idx="750">
                    <c:v>Rolling Mean (30 Minute)</c:v>
                  </c:pt>
                  <c:pt idx="751">
                    <c:v>Rolling Mean (30 Minute)</c:v>
                  </c:pt>
                  <c:pt idx="752">
                    <c:v>Rolling Mean (30 Minute)</c:v>
                  </c:pt>
                  <c:pt idx="753">
                    <c:v>Rolling Mean (30 Minute)</c:v>
                  </c:pt>
                  <c:pt idx="754">
                    <c:v>Rolling Mean (30 Minute)</c:v>
                  </c:pt>
                  <c:pt idx="755">
                    <c:v>Rolling Mean (30 Minute)</c:v>
                  </c:pt>
                  <c:pt idx="756">
                    <c:v>Rolling Mean (30 Minute)</c:v>
                  </c:pt>
                  <c:pt idx="757">
                    <c:v>Rolling Mean (30 Minute)</c:v>
                  </c:pt>
                  <c:pt idx="758">
                    <c:v>Rolling Mean (30 Minute)</c:v>
                  </c:pt>
                  <c:pt idx="759">
                    <c:v>Rolling Mean (30 Minute)</c:v>
                  </c:pt>
                  <c:pt idx="760">
                    <c:v>Rolling Mean (30 Minute)</c:v>
                  </c:pt>
                  <c:pt idx="761">
                    <c:v>Rolling Mean (30 Minute)</c:v>
                  </c:pt>
                  <c:pt idx="762">
                    <c:v>Rolling Mean (30 Minute)</c:v>
                  </c:pt>
                  <c:pt idx="763">
                    <c:v>Rolling Mean (30 Minute)</c:v>
                  </c:pt>
                  <c:pt idx="764">
                    <c:v>Rolling Mean (30 Minute)</c:v>
                  </c:pt>
                  <c:pt idx="765">
                    <c:v>Rolling Mean (30 Minute)</c:v>
                  </c:pt>
                  <c:pt idx="766">
                    <c:v>Rolling Mean (30 Minute)</c:v>
                  </c:pt>
                  <c:pt idx="767">
                    <c:v>Rolling Mean (30 Minute)</c:v>
                  </c:pt>
                  <c:pt idx="768">
                    <c:v>Rolling Mean (30 Minute)</c:v>
                  </c:pt>
                  <c:pt idx="769">
                    <c:v>Rolling Mean (30 Minute)</c:v>
                  </c:pt>
                  <c:pt idx="770">
                    <c:v>Rolling Mean (30 Minute)</c:v>
                  </c:pt>
                  <c:pt idx="771">
                    <c:v>Rolling Mean (30 Minute)</c:v>
                  </c:pt>
                  <c:pt idx="772">
                    <c:v>Rolling Mean (30 Minute)</c:v>
                  </c:pt>
                  <c:pt idx="773">
                    <c:v>Rolling Mean (30 Minute)</c:v>
                  </c:pt>
                  <c:pt idx="774">
                    <c:v>Rolling Mean (30 Minute)</c:v>
                  </c:pt>
                  <c:pt idx="775">
                    <c:v>Rolling Mean (30 Minute)</c:v>
                  </c:pt>
                  <c:pt idx="776">
                    <c:v>Rolling Mean (30 Minute)</c:v>
                  </c:pt>
                  <c:pt idx="777">
                    <c:v>Rolling Mean (30 Minute)</c:v>
                  </c:pt>
                  <c:pt idx="778">
                    <c:v>Rolling Mean (30 Minute)</c:v>
                  </c:pt>
                  <c:pt idx="779">
                    <c:v>Rolling Mean (30 Minute)</c:v>
                  </c:pt>
                  <c:pt idx="780">
                    <c:v>Rolling Mean (30 Minute)</c:v>
                  </c:pt>
                  <c:pt idx="781">
                    <c:v>Rolling Mean (30 Minute)</c:v>
                  </c:pt>
                  <c:pt idx="782">
                    <c:v>Rolling Mean (30 Minute)</c:v>
                  </c:pt>
                  <c:pt idx="783">
                    <c:v>Rolling Mean (30 Minute)</c:v>
                  </c:pt>
                  <c:pt idx="784">
                    <c:v>Rolling Mean (30 Minute)</c:v>
                  </c:pt>
                  <c:pt idx="785">
                    <c:v>Rolling Mean (30 Minute)</c:v>
                  </c:pt>
                  <c:pt idx="786">
                    <c:v>Rolling Mean (30 Minute)</c:v>
                  </c:pt>
                  <c:pt idx="787">
                    <c:v>Rolling Mean (30 Minute)</c:v>
                  </c:pt>
                  <c:pt idx="788">
                    <c:v>Rolling Mean (30 Minute)</c:v>
                  </c:pt>
                  <c:pt idx="789">
                    <c:v>Rolling Mean (30 Minute)</c:v>
                  </c:pt>
                  <c:pt idx="790">
                    <c:v>Rolling Mean (30 Minute)</c:v>
                  </c:pt>
                  <c:pt idx="791">
                    <c:v>Rolling Mean (30 Minute)</c:v>
                  </c:pt>
                  <c:pt idx="792">
                    <c:v>Rolling Mean (30 Minute)</c:v>
                  </c:pt>
                  <c:pt idx="793">
                    <c:v>Rolling Mean (30 Minute)</c:v>
                  </c:pt>
                  <c:pt idx="794">
                    <c:v>Rolling Mean (30 Minute)</c:v>
                  </c:pt>
                  <c:pt idx="795">
                    <c:v>Rolling Mean (30 Minute)</c:v>
                  </c:pt>
                  <c:pt idx="796">
                    <c:v>Rolling Mean (30 Minute)</c:v>
                  </c:pt>
                  <c:pt idx="797">
                    <c:v>Rolling Mean (30 Minute)</c:v>
                  </c:pt>
                  <c:pt idx="798">
                    <c:v>Rolling Mean (30 Minute)</c:v>
                  </c:pt>
                  <c:pt idx="799">
                    <c:v>Rolling Mean (30 Minute)</c:v>
                  </c:pt>
                  <c:pt idx="800">
                    <c:v>Rolling Mean (30 Minute)</c:v>
                  </c:pt>
                  <c:pt idx="801">
                    <c:v>Rolling Mean (30 Minute)</c:v>
                  </c:pt>
                  <c:pt idx="802">
                    <c:v>Rolling Mean (30 Minute)</c:v>
                  </c:pt>
                  <c:pt idx="803">
                    <c:v>Rolling Mean (30 Minute)</c:v>
                  </c:pt>
                  <c:pt idx="804">
                    <c:v>Rolling Mean (30 Minute)</c:v>
                  </c:pt>
                  <c:pt idx="805">
                    <c:v>Rolling Mean (30 Minute)</c:v>
                  </c:pt>
                  <c:pt idx="806">
                    <c:v>Rolling Mean (30 Minute)</c:v>
                  </c:pt>
                  <c:pt idx="807">
                    <c:v>Rolling Mean (30 Minute)</c:v>
                  </c:pt>
                  <c:pt idx="808">
                    <c:v>Rolling Mean (30 Minute)</c:v>
                  </c:pt>
                  <c:pt idx="809">
                    <c:v>Rolling Mean (30 Minute)</c:v>
                  </c:pt>
                  <c:pt idx="810">
                    <c:v>Rolling Mean (30 Minute)</c:v>
                  </c:pt>
                  <c:pt idx="811">
                    <c:v>Rolling Mean (30 Minute)</c:v>
                  </c:pt>
                  <c:pt idx="812">
                    <c:v>Rolling Mean (30 Minute)</c:v>
                  </c:pt>
                  <c:pt idx="813">
                    <c:v>Rolling Mean (30 Minute)</c:v>
                  </c:pt>
                  <c:pt idx="814">
                    <c:v>Rolling Mean (30 Minute)</c:v>
                  </c:pt>
                  <c:pt idx="815">
                    <c:v>Rolling Mean (30 Minute)</c:v>
                  </c:pt>
                  <c:pt idx="816">
                    <c:v>Rolling Mean (30 Minute)</c:v>
                  </c:pt>
                  <c:pt idx="817">
                    <c:v>Rolling Mean (30 Minute)</c:v>
                  </c:pt>
                  <c:pt idx="818">
                    <c:v>Rolling Mean (30 Minute)</c:v>
                  </c:pt>
                  <c:pt idx="819">
                    <c:v>Rolling Mean (30 Minute)</c:v>
                  </c:pt>
                  <c:pt idx="820">
                    <c:v>Rolling Mean (30 Minute)</c:v>
                  </c:pt>
                  <c:pt idx="821">
                    <c:v>Rolling Mean (30 Minute)</c:v>
                  </c:pt>
                  <c:pt idx="822">
                    <c:v>Rolling Mean (30 Minute)</c:v>
                  </c:pt>
                  <c:pt idx="823">
                    <c:v>Rolling Mean (30 Minute)</c:v>
                  </c:pt>
                  <c:pt idx="824">
                    <c:v>Rolling Mean (30 Minute)</c:v>
                  </c:pt>
                  <c:pt idx="825">
                    <c:v>Rolling Mean (30 Minute)</c:v>
                  </c:pt>
                  <c:pt idx="826">
                    <c:v>Rolling Mean (30 Minute)</c:v>
                  </c:pt>
                  <c:pt idx="827">
                    <c:v>Rolling Mean (30 Minute)</c:v>
                  </c:pt>
                  <c:pt idx="828">
                    <c:v>Rolling Mean (30 Minute)</c:v>
                  </c:pt>
                  <c:pt idx="829">
                    <c:v>Rolling Mean (30 Minute)</c:v>
                  </c:pt>
                  <c:pt idx="830">
                    <c:v>Rolling Mean (30 Minute)</c:v>
                  </c:pt>
                  <c:pt idx="831">
                    <c:v>Rolling Mean (30 Minute)</c:v>
                  </c:pt>
                  <c:pt idx="832">
                    <c:v>Rolling Mean (30 Minute)</c:v>
                  </c:pt>
                  <c:pt idx="833">
                    <c:v>Rolling Mean (30 Minute)</c:v>
                  </c:pt>
                  <c:pt idx="834">
                    <c:v>Rolling Mean (30 Minute)</c:v>
                  </c:pt>
                  <c:pt idx="835">
                    <c:v>Rolling Mean (30 Minute)</c:v>
                  </c:pt>
                  <c:pt idx="836">
                    <c:v>Rolling Mean (30 Minute)</c:v>
                  </c:pt>
                  <c:pt idx="837">
                    <c:v>Rolling Mean (30 Minute)</c:v>
                  </c:pt>
                  <c:pt idx="838">
                    <c:v>Rolling Mean (30 Minute)</c:v>
                  </c:pt>
                  <c:pt idx="839">
                    <c:v>Rolling Mean (30 Minute)</c:v>
                  </c:pt>
                  <c:pt idx="840">
                    <c:v>Rolling Mean (30 Minute)</c:v>
                  </c:pt>
                  <c:pt idx="841">
                    <c:v>Rolling Mean (30 Minute)</c:v>
                  </c:pt>
                  <c:pt idx="842">
                    <c:v>Rolling Mean (30 Minute)</c:v>
                  </c:pt>
                  <c:pt idx="843">
                    <c:v>Rolling Mean (30 Minute)</c:v>
                  </c:pt>
                  <c:pt idx="844">
                    <c:v>Rolling Mean (30 Minute)</c:v>
                  </c:pt>
                  <c:pt idx="845">
                    <c:v>Rolling Mean (30 Minute)</c:v>
                  </c:pt>
                  <c:pt idx="846">
                    <c:v>Rolling Mean (30 Minute)</c:v>
                  </c:pt>
                  <c:pt idx="847">
                    <c:v>Rolling Mean (30 Minute)</c:v>
                  </c:pt>
                  <c:pt idx="848">
                    <c:v>Rolling Mean (30 Minute)</c:v>
                  </c:pt>
                  <c:pt idx="849">
                    <c:v>Rolling Mean (30 Minute)</c:v>
                  </c:pt>
                  <c:pt idx="850">
                    <c:v>Rolling Mean (30 Minute)</c:v>
                  </c:pt>
                  <c:pt idx="851">
                    <c:v>Rolling Mean (30 Minute)</c:v>
                  </c:pt>
                  <c:pt idx="852">
                    <c:v>Rolling Mean (30 Minute)</c:v>
                  </c:pt>
                  <c:pt idx="853">
                    <c:v>Rolling Mean (30 Minute)</c:v>
                  </c:pt>
                  <c:pt idx="854">
                    <c:v>Rolling Mean (30 Minute)</c:v>
                  </c:pt>
                  <c:pt idx="855">
                    <c:v>Rolling Mean (30 Minute)</c:v>
                  </c:pt>
                  <c:pt idx="856">
                    <c:v>Rolling Mean (30 Minute)</c:v>
                  </c:pt>
                  <c:pt idx="857">
                    <c:v>Rolling Mean (30 Minute)</c:v>
                  </c:pt>
                  <c:pt idx="858">
                    <c:v>Rolling Mean (30 Minute)</c:v>
                  </c:pt>
                  <c:pt idx="859">
                    <c:v>Rolling Mean (30 Minute)</c:v>
                  </c:pt>
                  <c:pt idx="860">
                    <c:v>Rolling Mean (30 Minute)</c:v>
                  </c:pt>
                  <c:pt idx="861">
                    <c:v>Rolling Mean (30 Minute)</c:v>
                  </c:pt>
                  <c:pt idx="862">
                    <c:v>Rolling Mean (30 Minute)</c:v>
                  </c:pt>
                  <c:pt idx="863">
                    <c:v>Rolling Mean (30 Minute)</c:v>
                  </c:pt>
                  <c:pt idx="864">
                    <c:v>Rolling Mean (30 Minute)</c:v>
                  </c:pt>
                  <c:pt idx="865">
                    <c:v>Rolling Mean (30 Minute)</c:v>
                  </c:pt>
                  <c:pt idx="866">
                    <c:v>Rolling Mean (30 Minute)</c:v>
                  </c:pt>
                  <c:pt idx="867">
                    <c:v>Rolling Mean (30 Minute)</c:v>
                  </c:pt>
                  <c:pt idx="868">
                    <c:v>Rolling Mean (30 Minute)</c:v>
                  </c:pt>
                  <c:pt idx="869">
                    <c:v>Rolling Mean (30 Minute)</c:v>
                  </c:pt>
                  <c:pt idx="870">
                    <c:v>Rolling Mean (30 Minute)</c:v>
                  </c:pt>
                  <c:pt idx="871">
                    <c:v>Rolling Mean (30 Minute)</c:v>
                  </c:pt>
                  <c:pt idx="872">
                    <c:v>Rolling Mean (30 Minute)</c:v>
                  </c:pt>
                  <c:pt idx="873">
                    <c:v>Rolling Mean (30 Minute)</c:v>
                  </c:pt>
                  <c:pt idx="874">
                    <c:v>Rolling Mean (30 Minute)</c:v>
                  </c:pt>
                  <c:pt idx="875">
                    <c:v>Rolling Mean (30 Minute)</c:v>
                  </c:pt>
                  <c:pt idx="876">
                    <c:v>Rolling Mean (30 Minute)</c:v>
                  </c:pt>
                  <c:pt idx="877">
                    <c:v>Rolling Mean (30 Minute)</c:v>
                  </c:pt>
                  <c:pt idx="878">
                    <c:v>Rolling Mean (30 Minute)</c:v>
                  </c:pt>
                  <c:pt idx="879">
                    <c:v>Rolling Mean (30 Minute)</c:v>
                  </c:pt>
                  <c:pt idx="880">
                    <c:v>Rolling Mean (30 Minute)</c:v>
                  </c:pt>
                  <c:pt idx="881">
                    <c:v>Rolling Mean (30 Minute)</c:v>
                  </c:pt>
                  <c:pt idx="882">
                    <c:v>Rolling Mean (30 Minute)</c:v>
                  </c:pt>
                  <c:pt idx="883">
                    <c:v>Rolling Mean (30 Minute)</c:v>
                  </c:pt>
                  <c:pt idx="884">
                    <c:v>Rolling Mean (30 Minute)</c:v>
                  </c:pt>
                  <c:pt idx="885">
                    <c:v>Rolling Mean (30 Minute)</c:v>
                  </c:pt>
                  <c:pt idx="886">
                    <c:v>Rolling Mean (30 Minute)</c:v>
                  </c:pt>
                  <c:pt idx="887">
                    <c:v>Rolling Mean (30 Minute)</c:v>
                  </c:pt>
                  <c:pt idx="888">
                    <c:v>Rolling Mean (30 Minute)</c:v>
                  </c:pt>
                  <c:pt idx="889">
                    <c:v>Rolling Mean (30 Minute)</c:v>
                  </c:pt>
                  <c:pt idx="890">
                    <c:v>Rolling Mean (30 Minute)</c:v>
                  </c:pt>
                  <c:pt idx="891">
                    <c:v>Rolling Mean (30 Minute)</c:v>
                  </c:pt>
                  <c:pt idx="892">
                    <c:v>Rolling Mean (30 Minute)</c:v>
                  </c:pt>
                  <c:pt idx="893">
                    <c:v>Rolling Mean (30 Minute)</c:v>
                  </c:pt>
                  <c:pt idx="894">
                    <c:v>Rolling Mean (30 Minute)</c:v>
                  </c:pt>
                  <c:pt idx="895">
                    <c:v>Rolling Mean (30 Minute)</c:v>
                  </c:pt>
                  <c:pt idx="896">
                    <c:v>Rolling Mean (30 Minute)</c:v>
                  </c:pt>
                  <c:pt idx="897">
                    <c:v>Rolling Mean (30 Minute)</c:v>
                  </c:pt>
                  <c:pt idx="898">
                    <c:v>Rolling Mean (30 Minute)</c:v>
                  </c:pt>
                  <c:pt idx="899">
                    <c:v>Rolling Mean (30 Minute)</c:v>
                  </c:pt>
                  <c:pt idx="900">
                    <c:v>Rolling Mean (30 Minute)</c:v>
                  </c:pt>
                  <c:pt idx="901">
                    <c:v>Rolling Mean (30 Minute)</c:v>
                  </c:pt>
                  <c:pt idx="902">
                    <c:v>Rolling Mean (30 Minute)</c:v>
                  </c:pt>
                  <c:pt idx="903">
                    <c:v>Rolling Mean (30 Minute)</c:v>
                  </c:pt>
                  <c:pt idx="904">
                    <c:v>Rolling Mean (30 Minute)</c:v>
                  </c:pt>
                  <c:pt idx="905">
                    <c:v>Rolling Mean (30 Minute)</c:v>
                  </c:pt>
                  <c:pt idx="906">
                    <c:v>Rolling Mean (30 Minute)</c:v>
                  </c:pt>
                  <c:pt idx="907">
                    <c:v>Rolling Mean (30 Minute)</c:v>
                  </c:pt>
                  <c:pt idx="908">
                    <c:v>Rolling Mean (30 Minute)</c:v>
                  </c:pt>
                  <c:pt idx="909">
                    <c:v>Rolling Mean (30 Minute)</c:v>
                  </c:pt>
                  <c:pt idx="910">
                    <c:v>Rolling Mean (30 Minute)</c:v>
                  </c:pt>
                  <c:pt idx="911">
                    <c:v>Rolling Mean (30 Minute)</c:v>
                  </c:pt>
                  <c:pt idx="912">
                    <c:v>Rolling Mean (30 Minute)</c:v>
                  </c:pt>
                  <c:pt idx="913">
                    <c:v>Rolling Mean (30 Minute)</c:v>
                  </c:pt>
                  <c:pt idx="914">
                    <c:v>Rolling Mean (30 Minute)</c:v>
                  </c:pt>
                  <c:pt idx="915">
                    <c:v>Rolling Mean (30 Minute)</c:v>
                  </c:pt>
                  <c:pt idx="916">
                    <c:v>Rolling Mean (30 Minute)</c:v>
                  </c:pt>
                  <c:pt idx="917">
                    <c:v>Rolling Mean (30 Minute)</c:v>
                  </c:pt>
                  <c:pt idx="918">
                    <c:v>Rolling Mean (30 Minute)</c:v>
                  </c:pt>
                  <c:pt idx="919">
                    <c:v>Rolling Mean (30 Minute)</c:v>
                  </c:pt>
                  <c:pt idx="920">
                    <c:v>Rolling Mean (30 Minute)</c:v>
                  </c:pt>
                  <c:pt idx="921">
                    <c:v>Rolling Mean (30 Minute)</c:v>
                  </c:pt>
                  <c:pt idx="922">
                    <c:v>Rolling Mean (30 Minute)</c:v>
                  </c:pt>
                  <c:pt idx="923">
                    <c:v>Rolling Mean (30 Minute)</c:v>
                  </c:pt>
                  <c:pt idx="924">
                    <c:v>Rolling Mean (30 Minute)</c:v>
                  </c:pt>
                  <c:pt idx="925">
                    <c:v>Rolling Mean (30 Minute)</c:v>
                  </c:pt>
                  <c:pt idx="926">
                    <c:v>Rolling Mean (30 Minute)</c:v>
                  </c:pt>
                  <c:pt idx="927">
                    <c:v>Rolling Mean (30 Minute)</c:v>
                  </c:pt>
                  <c:pt idx="928">
                    <c:v>Rolling Mean (30 Minute)</c:v>
                  </c:pt>
                  <c:pt idx="929">
                    <c:v>Rolling Mean (30 Minute)</c:v>
                  </c:pt>
                  <c:pt idx="930">
                    <c:v>Rolling Mean (30 Minute)</c:v>
                  </c:pt>
                  <c:pt idx="931">
                    <c:v>Rolling Mean (30 Minute)</c:v>
                  </c:pt>
                  <c:pt idx="932">
                    <c:v>Rolling Mean (30 Minute)</c:v>
                  </c:pt>
                  <c:pt idx="933">
                    <c:v>Rolling Mean (30 Minute)</c:v>
                  </c:pt>
                  <c:pt idx="934">
                    <c:v>Rolling Mean (30 Minute)</c:v>
                  </c:pt>
                  <c:pt idx="935">
                    <c:v>Rolling Mean (30 Minute)</c:v>
                  </c:pt>
                  <c:pt idx="936">
                    <c:v>Rolling Mean (30 Minute)</c:v>
                  </c:pt>
                  <c:pt idx="937">
                    <c:v>Rolling Mean (30 Minute)</c:v>
                  </c:pt>
                  <c:pt idx="938">
                    <c:v>Rolling Mean (30 Minute)</c:v>
                  </c:pt>
                  <c:pt idx="939">
                    <c:v>Rolling Mean (30 Minute)</c:v>
                  </c:pt>
                  <c:pt idx="940">
                    <c:v>Rolling Mean (30 Minute)</c:v>
                  </c:pt>
                  <c:pt idx="941">
                    <c:v>Rolling Mean (30 Minute)</c:v>
                  </c:pt>
                  <c:pt idx="942">
                    <c:v>Rolling Mean (30 Minute)</c:v>
                  </c:pt>
                  <c:pt idx="943">
                    <c:v>Rolling Mean (30 Minute)</c:v>
                  </c:pt>
                  <c:pt idx="944">
                    <c:v>Rolling Mean (30 Minute)</c:v>
                  </c:pt>
                  <c:pt idx="945">
                    <c:v>Rolling Mean (30 Minute)</c:v>
                  </c:pt>
                  <c:pt idx="946">
                    <c:v>Rolling Mean (30 Minute)</c:v>
                  </c:pt>
                  <c:pt idx="947">
                    <c:v>Rolling Mean (30 Minute)</c:v>
                  </c:pt>
                  <c:pt idx="948">
                    <c:v>Rolling Mean (30 Minute)</c:v>
                  </c:pt>
                  <c:pt idx="949">
                    <c:v>Rolling Mean (30 Minute)</c:v>
                  </c:pt>
                  <c:pt idx="950">
                    <c:v>Rolling Mean (30 Minute)</c:v>
                  </c:pt>
                  <c:pt idx="951">
                    <c:v>Rolling Mean (30 Minute)</c:v>
                  </c:pt>
                  <c:pt idx="952">
                    <c:v>Rolling Mean (30 Minute)</c:v>
                  </c:pt>
                  <c:pt idx="953">
                    <c:v>Rolling Mean (30 Minute)</c:v>
                  </c:pt>
                  <c:pt idx="954">
                    <c:v>Rolling Mean (30 Minute)</c:v>
                  </c:pt>
                  <c:pt idx="955">
                    <c:v>Rolling Mean (30 Minute)</c:v>
                  </c:pt>
                  <c:pt idx="956">
                    <c:v>Rolling Mean (30 Minute)</c:v>
                  </c:pt>
                  <c:pt idx="957">
                    <c:v>Rolling Mean (30 Minute)</c:v>
                  </c:pt>
                  <c:pt idx="958">
                    <c:v>Rolling Mean (30 Minute)</c:v>
                  </c:pt>
                  <c:pt idx="959">
                    <c:v>Rolling Mean (30 Minute)</c:v>
                  </c:pt>
                  <c:pt idx="960">
                    <c:v>Rolling Mean (30 Minute)</c:v>
                  </c:pt>
                  <c:pt idx="961">
                    <c:v>Rolling Mean (30 Minute)</c:v>
                  </c:pt>
                  <c:pt idx="962">
                    <c:v>Rolling Mean (30 Minute)</c:v>
                  </c:pt>
                  <c:pt idx="963">
                    <c:v>Rolling Mean (30 Minute)</c:v>
                  </c:pt>
                  <c:pt idx="964">
                    <c:v>Rolling Mean (30 Minute)</c:v>
                  </c:pt>
                  <c:pt idx="965">
                    <c:v>Rolling Mean (30 Minute)</c:v>
                  </c:pt>
                  <c:pt idx="966">
                    <c:v>Rolling Mean (30 Minute)</c:v>
                  </c:pt>
                  <c:pt idx="967">
                    <c:v>Rolling Mean (30 Minute)</c:v>
                  </c:pt>
                  <c:pt idx="968">
                    <c:v>Rolling Mean (30 Minute)</c:v>
                  </c:pt>
                  <c:pt idx="969">
                    <c:v>Rolling Mean (30 Minute)</c:v>
                  </c:pt>
                  <c:pt idx="970">
                    <c:v>Rolling Mean (30 Minute)</c:v>
                  </c:pt>
                  <c:pt idx="971">
                    <c:v>Rolling Mean (30 Minute)</c:v>
                  </c:pt>
                  <c:pt idx="972">
                    <c:v>Rolling Mean (30 Minute)</c:v>
                  </c:pt>
                  <c:pt idx="973">
                    <c:v>Rolling Mean (30 Minute)</c:v>
                  </c:pt>
                  <c:pt idx="974">
                    <c:v>Rolling Mean (30 Minute)</c:v>
                  </c:pt>
                  <c:pt idx="975">
                    <c:v>Rolling Mean (30 Minute)</c:v>
                  </c:pt>
                  <c:pt idx="976">
                    <c:v>Rolling Mean (30 Minute)</c:v>
                  </c:pt>
                  <c:pt idx="977">
                    <c:v>Rolling Mean (30 Minute)</c:v>
                  </c:pt>
                  <c:pt idx="978">
                    <c:v>Rolling Mean (30 Minute)</c:v>
                  </c:pt>
                  <c:pt idx="979">
                    <c:v>Rolling Mean (30 Minute)</c:v>
                  </c:pt>
                  <c:pt idx="980">
                    <c:v>Rolling Mean (30 Minute)</c:v>
                  </c:pt>
                  <c:pt idx="981">
                    <c:v>Rolling Mean (30 Minute)</c:v>
                  </c:pt>
                  <c:pt idx="982">
                    <c:v>Rolling Mean (30 Minute)</c:v>
                  </c:pt>
                  <c:pt idx="983">
                    <c:v>Rolling Mean (30 Minute)</c:v>
                  </c:pt>
                  <c:pt idx="984">
                    <c:v>Rolling Mean (30 Minute)</c:v>
                  </c:pt>
                  <c:pt idx="985">
                    <c:v>Rolling Mean (30 Minute)</c:v>
                  </c:pt>
                  <c:pt idx="986">
                    <c:v>Rolling Mean (30 Minute)</c:v>
                  </c:pt>
                  <c:pt idx="987">
                    <c:v>Rolling Mean (30 Minute)</c:v>
                  </c:pt>
                  <c:pt idx="988">
                    <c:v>Rolling Mean (30 Minute)</c:v>
                  </c:pt>
                  <c:pt idx="989">
                    <c:v>Rolling Mean (30 Minute)</c:v>
                  </c:pt>
                  <c:pt idx="990">
                    <c:v>Rolling Mean (30 Minute)</c:v>
                  </c:pt>
                  <c:pt idx="991">
                    <c:v>Rolling Mean (30 Minute)</c:v>
                  </c:pt>
                  <c:pt idx="992">
                    <c:v>Rolling Mean (30 Minute)</c:v>
                  </c:pt>
                  <c:pt idx="993">
                    <c:v>Rolling Mean (30 Minute)</c:v>
                  </c:pt>
                  <c:pt idx="994">
                    <c:v>Rolling Mean (30 Minute)</c:v>
                  </c:pt>
                  <c:pt idx="995">
                    <c:v>Rolling Mean (30 Minute)</c:v>
                  </c:pt>
                  <c:pt idx="996">
                    <c:v>Rolling Mean (30 Minute)</c:v>
                  </c:pt>
                  <c:pt idx="997">
                    <c:v>Rolling Mean (30 Minute)</c:v>
                  </c:pt>
                  <c:pt idx="998">
                    <c:v>Rolling Mean (30 Minute)</c:v>
                  </c:pt>
                  <c:pt idx="999">
                    <c:v>Rolling Mean (30 Minute)</c:v>
                  </c:pt>
                  <c:pt idx="1000">
                    <c:v>Rolling Mean (30 Minute)</c:v>
                  </c:pt>
                  <c:pt idx="1001">
                    <c:v>Rolling Mean (30 Minute)</c:v>
                  </c:pt>
                  <c:pt idx="1002">
                    <c:v>Rolling Mean (30 Minute)</c:v>
                  </c:pt>
                  <c:pt idx="1003">
                    <c:v>Rolling Mean (30 Minute)</c:v>
                  </c:pt>
                  <c:pt idx="1004">
                    <c:v>Rolling Mean (30 Minute)</c:v>
                  </c:pt>
                  <c:pt idx="1005">
                    <c:v>Rolling Mean (30 Minute)</c:v>
                  </c:pt>
                  <c:pt idx="1006">
                    <c:v>Rolling Mean (30 Minute)</c:v>
                  </c:pt>
                  <c:pt idx="1007">
                    <c:v>Rolling Mean (30 Minute)</c:v>
                  </c:pt>
                  <c:pt idx="1008">
                    <c:v>Rolling Mean (30 Minute)</c:v>
                  </c:pt>
                  <c:pt idx="1009">
                    <c:v>Rolling Mean (30 Minute)</c:v>
                  </c:pt>
                  <c:pt idx="1010">
                    <c:v>Rolling Mean (30 Minute)</c:v>
                  </c:pt>
                  <c:pt idx="1011">
                    <c:v>Rolling Mean (30 Minute)</c:v>
                  </c:pt>
                  <c:pt idx="1012">
                    <c:v>Rolling Mean (30 Minute)</c:v>
                  </c:pt>
                  <c:pt idx="1013">
                    <c:v>Rolling Mean (30 Minute)</c:v>
                  </c:pt>
                  <c:pt idx="1014">
                    <c:v>Rolling Mean (30 Minute)</c:v>
                  </c:pt>
                  <c:pt idx="1015">
                    <c:v>Rolling Mean (30 Minute)</c:v>
                  </c:pt>
                  <c:pt idx="1016">
                    <c:v>Rolling Mean (30 Minute)</c:v>
                  </c:pt>
                  <c:pt idx="1017">
                    <c:v>Rolling Mean (30 Minute)</c:v>
                  </c:pt>
                  <c:pt idx="1018">
                    <c:v>Rolling Mean (30 Minute)</c:v>
                  </c:pt>
                  <c:pt idx="1019">
                    <c:v>Rolling Mean (30 Minute)</c:v>
                  </c:pt>
                  <c:pt idx="1020">
                    <c:v>Rolling Mean (30 Minute)</c:v>
                  </c:pt>
                  <c:pt idx="1021">
                    <c:v>Rolling Mean (30 Minute)</c:v>
                  </c:pt>
                  <c:pt idx="1022">
                    <c:v>Rolling Mean (30 Minute)</c:v>
                  </c:pt>
                  <c:pt idx="1023">
                    <c:v>Rolling Mean (30 Minute)</c:v>
                  </c:pt>
                  <c:pt idx="1024">
                    <c:v>Rolling Mean (30 Minute)</c:v>
                  </c:pt>
                  <c:pt idx="1025">
                    <c:v>Rolling Mean (30 Minute)</c:v>
                  </c:pt>
                  <c:pt idx="1026">
                    <c:v>Rolling Mean (30 Minute)</c:v>
                  </c:pt>
                  <c:pt idx="1027">
                    <c:v>Rolling Mean (30 Minute)</c:v>
                  </c:pt>
                  <c:pt idx="1028">
                    <c:v>Rolling Mean (30 Minute)</c:v>
                  </c:pt>
                  <c:pt idx="1029">
                    <c:v>Rolling Mean (30 Minute)</c:v>
                  </c:pt>
                  <c:pt idx="1030">
                    <c:v>Rolling Mean (30 Minute)</c:v>
                  </c:pt>
                  <c:pt idx="1031">
                    <c:v>Rolling Mean (30 Minute)</c:v>
                  </c:pt>
                  <c:pt idx="1032">
                    <c:v>Rolling Mean (30 Minute)</c:v>
                  </c:pt>
                  <c:pt idx="1033">
                    <c:v>Rolling Mean (30 Minute)</c:v>
                  </c:pt>
                  <c:pt idx="1034">
                    <c:v>Rolling Mean (30 Minute)</c:v>
                  </c:pt>
                  <c:pt idx="1035">
                    <c:v>Rolling Mean (30 Minute)</c:v>
                  </c:pt>
                  <c:pt idx="1036">
                    <c:v>Rolling Mean (30 Minute)</c:v>
                  </c:pt>
                  <c:pt idx="1037">
                    <c:v>Rolling Mean (30 Minute)</c:v>
                  </c:pt>
                  <c:pt idx="1038">
                    <c:v>Rolling Mean (30 Minute)</c:v>
                  </c:pt>
                  <c:pt idx="1039">
                    <c:v>Rolling Mean (30 Minute)</c:v>
                  </c:pt>
                  <c:pt idx="1040">
                    <c:v>Rolling Mean (30 Minute)</c:v>
                  </c:pt>
                  <c:pt idx="1041">
                    <c:v>Rolling Mean (30 Minute)</c:v>
                  </c:pt>
                  <c:pt idx="1042">
                    <c:v>Rolling Mean (30 Minute)</c:v>
                  </c:pt>
                  <c:pt idx="1043">
                    <c:v>Rolling Mean (30 Minute)</c:v>
                  </c:pt>
                  <c:pt idx="1044">
                    <c:v>Rolling Mean (30 Minute)</c:v>
                  </c:pt>
                  <c:pt idx="1045">
                    <c:v>Rolling Mean (30 Minute)</c:v>
                  </c:pt>
                  <c:pt idx="1046">
                    <c:v>Rolling Mean (30 Minute)</c:v>
                  </c:pt>
                  <c:pt idx="1047">
                    <c:v>Rolling Mean (30 Minute)</c:v>
                  </c:pt>
                  <c:pt idx="1048">
                    <c:v>Rolling Mean (30 Minute)</c:v>
                  </c:pt>
                  <c:pt idx="1049">
                    <c:v>Rolling Mean (30 Minute)</c:v>
                  </c:pt>
                  <c:pt idx="1050">
                    <c:v>Rolling Mean (30 Minute)</c:v>
                  </c:pt>
                  <c:pt idx="1051">
                    <c:v>Rolling Mean (30 Minute)</c:v>
                  </c:pt>
                  <c:pt idx="1052">
                    <c:v>Rolling Mean (30 Minute)</c:v>
                  </c:pt>
                  <c:pt idx="1053">
                    <c:v>Rolling Mean (30 Minute)</c:v>
                  </c:pt>
                  <c:pt idx="1054">
                    <c:v>Rolling Mean (30 Minute)</c:v>
                  </c:pt>
                  <c:pt idx="1055">
                    <c:v>Rolling Mean (30 Minute)</c:v>
                  </c:pt>
                  <c:pt idx="1056">
                    <c:v>Rolling Mean (30 Minute)</c:v>
                  </c:pt>
                  <c:pt idx="1057">
                    <c:v>Rolling Mean (30 Minute)</c:v>
                  </c:pt>
                  <c:pt idx="1058">
                    <c:v>Rolling Mean (30 Minute)</c:v>
                  </c:pt>
                  <c:pt idx="1059">
                    <c:v>Rolling Mean (30 Minute)</c:v>
                  </c:pt>
                  <c:pt idx="1060">
                    <c:v>Rolling Mean (30 Minute)</c:v>
                  </c:pt>
                  <c:pt idx="1061">
                    <c:v>Rolling Mean (30 Minute)</c:v>
                  </c:pt>
                  <c:pt idx="1062">
                    <c:v>Rolling Mean (30 Minute)</c:v>
                  </c:pt>
                  <c:pt idx="1063">
                    <c:v>Rolling Mean (30 Minute)</c:v>
                  </c:pt>
                  <c:pt idx="1064">
                    <c:v>Rolling Mean (30 Minute)</c:v>
                  </c:pt>
                  <c:pt idx="1065">
                    <c:v>Rolling Mean (30 Minute)</c:v>
                  </c:pt>
                  <c:pt idx="1066">
                    <c:v>Rolling Mean (30 Minute)</c:v>
                  </c:pt>
                  <c:pt idx="1067">
                    <c:v>Rolling Mean (30 Minute)</c:v>
                  </c:pt>
                  <c:pt idx="1068">
                    <c:v>Rolling Mean (30 Minute)</c:v>
                  </c:pt>
                  <c:pt idx="1069">
                    <c:v>Rolling Mean (30 Minute)</c:v>
                  </c:pt>
                  <c:pt idx="1070">
                    <c:v>Rolling Mean (30 Minute)</c:v>
                  </c:pt>
                  <c:pt idx="1071">
                    <c:v>Rolling Mean (30 Minute)</c:v>
                  </c:pt>
                  <c:pt idx="1072">
                    <c:v>Rolling Mean (30 Minute)</c:v>
                  </c:pt>
                  <c:pt idx="1073">
                    <c:v>Rolling Mean (30 Minute)</c:v>
                  </c:pt>
                  <c:pt idx="1074">
                    <c:v>Rolling Mean (30 Minute)</c:v>
                  </c:pt>
                  <c:pt idx="1075">
                    <c:v>Rolling Mean (30 Minute)</c:v>
                  </c:pt>
                  <c:pt idx="1076">
                    <c:v>Rolling Mean (30 Minute)</c:v>
                  </c:pt>
                  <c:pt idx="1077">
                    <c:v>Rolling Mean (30 Minute)</c:v>
                  </c:pt>
                  <c:pt idx="1078">
                    <c:v>Rolling Mean (30 Minute)</c:v>
                  </c:pt>
                  <c:pt idx="1079">
                    <c:v>Rolling Mean (30 Minute)</c:v>
                  </c:pt>
                  <c:pt idx="1080">
                    <c:v>Rolling Mean (30 Minute)</c:v>
                  </c:pt>
                  <c:pt idx="1081">
                    <c:v>Rolling Mean (30 Minute)</c:v>
                  </c:pt>
                  <c:pt idx="1082">
                    <c:v>Rolling Mean (30 Minute)</c:v>
                  </c:pt>
                  <c:pt idx="1083">
                    <c:v>Rolling Mean (30 Minute)</c:v>
                  </c:pt>
                  <c:pt idx="1084">
                    <c:v>Rolling Mean (30 Minute)</c:v>
                  </c:pt>
                  <c:pt idx="1085">
                    <c:v>Rolling Mean (30 Minute)</c:v>
                  </c:pt>
                  <c:pt idx="1086">
                    <c:v>Rolling Mean (30 Minute)</c:v>
                  </c:pt>
                  <c:pt idx="1087">
                    <c:v>Rolling Mean (30 Minute)</c:v>
                  </c:pt>
                  <c:pt idx="1088">
                    <c:v>Rolling Mean (30 Minute)</c:v>
                  </c:pt>
                  <c:pt idx="1089">
                    <c:v>Rolling Mean (30 Minute)</c:v>
                  </c:pt>
                  <c:pt idx="1090">
                    <c:v>Rolling Mean (30 Minute)</c:v>
                  </c:pt>
                  <c:pt idx="1091">
                    <c:v>Rolling Mean (30 Minute)</c:v>
                  </c:pt>
                  <c:pt idx="1092">
                    <c:v>Rolling Mean (30 Minute)</c:v>
                  </c:pt>
                  <c:pt idx="1093">
                    <c:v>Rolling Mean (30 Minute)</c:v>
                  </c:pt>
                  <c:pt idx="1094">
                    <c:v>Rolling Mean (30 Minute)</c:v>
                  </c:pt>
                  <c:pt idx="1095">
                    <c:v>Rolling Mean (30 Minute)</c:v>
                  </c:pt>
                  <c:pt idx="1096">
                    <c:v>Rolling Mean (30 Minute)</c:v>
                  </c:pt>
                  <c:pt idx="1097">
                    <c:v>Rolling Mean (30 Minute)</c:v>
                  </c:pt>
                  <c:pt idx="1098">
                    <c:v>Rolling Mean (30 Minute)</c:v>
                  </c:pt>
                  <c:pt idx="1099">
                    <c:v>Rolling Mean (30 Minute)</c:v>
                  </c:pt>
                  <c:pt idx="1100">
                    <c:v>Rolling Mean (30 Minute)</c:v>
                  </c:pt>
                  <c:pt idx="1101">
                    <c:v>Rolling Mean (30 Minute)</c:v>
                  </c:pt>
                  <c:pt idx="1102">
                    <c:v>Rolling Mean (30 Minute)</c:v>
                  </c:pt>
                  <c:pt idx="1103">
                    <c:v>Rolling Mean (30 Minute)</c:v>
                  </c:pt>
                  <c:pt idx="1104">
                    <c:v>Rolling Mean (30 Minute)</c:v>
                  </c:pt>
                  <c:pt idx="1105">
                    <c:v>Rolling Mean (30 Minute)</c:v>
                  </c:pt>
                  <c:pt idx="1106">
                    <c:v>Rolling Mean (30 Minute)</c:v>
                  </c:pt>
                  <c:pt idx="1107">
                    <c:v>Rolling Mean (30 Minute)</c:v>
                  </c:pt>
                  <c:pt idx="1108">
                    <c:v>Rolling Mean (30 Minute)</c:v>
                  </c:pt>
                  <c:pt idx="1109">
                    <c:v>Rolling Mean (30 Minute)</c:v>
                  </c:pt>
                  <c:pt idx="1110">
                    <c:v>Rolling Mean (30 Minute)</c:v>
                  </c:pt>
                  <c:pt idx="1111">
                    <c:v>Rolling Mean (30 Minute)</c:v>
                  </c:pt>
                  <c:pt idx="1112">
                    <c:v>Rolling Mean (30 Minute)</c:v>
                  </c:pt>
                  <c:pt idx="1113">
                    <c:v>Rolling Mean (30 Minute)</c:v>
                  </c:pt>
                  <c:pt idx="1114">
                    <c:v>Rolling Mean (30 Minute)</c:v>
                  </c:pt>
                  <c:pt idx="1115">
                    <c:v>Rolling Mean (30 Minute)</c:v>
                  </c:pt>
                  <c:pt idx="1116">
                    <c:v>Rolling Mean (30 Minute)</c:v>
                  </c:pt>
                  <c:pt idx="1117">
                    <c:v>Rolling Mean (30 Minute)</c:v>
                  </c:pt>
                  <c:pt idx="1118">
                    <c:v>Rolling Mean (30 Minute)</c:v>
                  </c:pt>
                  <c:pt idx="1119">
                    <c:v>Rolling Mean (30 Minute)</c:v>
                  </c:pt>
                  <c:pt idx="1120">
                    <c:v>Rolling Mean (30 Minute)</c:v>
                  </c:pt>
                  <c:pt idx="1121">
                    <c:v>Rolling Mean (30 Minute)</c:v>
                  </c:pt>
                  <c:pt idx="1122">
                    <c:v>Rolling Mean (30 Minute)</c:v>
                  </c:pt>
                  <c:pt idx="1123">
                    <c:v>Rolling Mean (30 Minute)</c:v>
                  </c:pt>
                  <c:pt idx="1124">
                    <c:v>Rolling Mean (30 Minute)</c:v>
                  </c:pt>
                  <c:pt idx="1125">
                    <c:v>Rolling Mean (30 Minute)</c:v>
                  </c:pt>
                  <c:pt idx="1126">
                    <c:v>Rolling Mean (30 Minute)</c:v>
                  </c:pt>
                  <c:pt idx="1127">
                    <c:v>Rolling Mean (30 Minute)</c:v>
                  </c:pt>
                  <c:pt idx="1128">
                    <c:v>Rolling Mean (30 Minute)</c:v>
                  </c:pt>
                  <c:pt idx="1129">
                    <c:v>Rolling Mean (30 Minute)</c:v>
                  </c:pt>
                  <c:pt idx="1130">
                    <c:v>Rolling Mean (30 Minute)</c:v>
                  </c:pt>
                  <c:pt idx="1131">
                    <c:v>Rolling Mean (30 Minute)</c:v>
                  </c:pt>
                  <c:pt idx="1132">
                    <c:v>Rolling Mean (30 Minute)</c:v>
                  </c:pt>
                  <c:pt idx="1133">
                    <c:v>Rolling Mean (30 Minute)</c:v>
                  </c:pt>
                  <c:pt idx="1134">
                    <c:v>Rolling Mean (30 Minute)</c:v>
                  </c:pt>
                  <c:pt idx="1135">
                    <c:v>Rolling Mean (30 Minute)</c:v>
                  </c:pt>
                  <c:pt idx="1136">
                    <c:v>Rolling Mean (30 Minute)</c:v>
                  </c:pt>
                  <c:pt idx="1137">
                    <c:v>Rolling Mean (30 Minute)</c:v>
                  </c:pt>
                  <c:pt idx="1138">
                    <c:v>Rolling Mean (30 Minute)</c:v>
                  </c:pt>
                  <c:pt idx="1139">
                    <c:v>Rolling Mean (30 Minute)</c:v>
                  </c:pt>
                  <c:pt idx="1140">
                    <c:v>Rolling Mean (30 Minute)</c:v>
                  </c:pt>
                  <c:pt idx="1141">
                    <c:v>Rolling Mean (30 Minute)</c:v>
                  </c:pt>
                  <c:pt idx="1142">
                    <c:v>Rolling Mean (30 Minute)</c:v>
                  </c:pt>
                  <c:pt idx="1143">
                    <c:v>Rolling Mean (30 Minute)</c:v>
                  </c:pt>
                  <c:pt idx="1144">
                    <c:v>Rolling Mean (30 Minute)</c:v>
                  </c:pt>
                  <c:pt idx="1145">
                    <c:v>Rolling Mean (30 Minute)</c:v>
                  </c:pt>
                  <c:pt idx="1146">
                    <c:v>Rolling Mean (30 Minute)</c:v>
                  </c:pt>
                  <c:pt idx="1147">
                    <c:v>Rolling Mean (30 Minute)</c:v>
                  </c:pt>
                  <c:pt idx="1148">
                    <c:v>Rolling Mean (30 Minute)</c:v>
                  </c:pt>
                  <c:pt idx="1149">
                    <c:v>Rolling Mean (30 Minute)</c:v>
                  </c:pt>
                  <c:pt idx="1150">
                    <c:v>Rolling Mean (30 Minute)</c:v>
                  </c:pt>
                  <c:pt idx="1151">
                    <c:v>Rolling Mean (30 Minute)</c:v>
                  </c:pt>
                  <c:pt idx="1152">
                    <c:v>Rolling Mean (30 Minute)</c:v>
                  </c:pt>
                  <c:pt idx="1153">
                    <c:v>Rolling Mean (30 Minute)</c:v>
                  </c:pt>
                  <c:pt idx="1154">
                    <c:v>Rolling Mean (30 Minute)</c:v>
                  </c:pt>
                  <c:pt idx="1155">
                    <c:v>Rolling Mean (30 Minute)</c:v>
                  </c:pt>
                  <c:pt idx="1156">
                    <c:v>Rolling Mean (30 Minute)</c:v>
                  </c:pt>
                  <c:pt idx="1157">
                    <c:v>Rolling Mean (30 Minute)</c:v>
                  </c:pt>
                  <c:pt idx="1158">
                    <c:v>Rolling Mean (30 Minute)</c:v>
                  </c:pt>
                  <c:pt idx="1159">
                    <c:v>Rolling Mean (30 Minute)</c:v>
                  </c:pt>
                  <c:pt idx="1160">
                    <c:v>Rolling Mean (30 Minute)</c:v>
                  </c:pt>
                  <c:pt idx="1161">
                    <c:v>Rolling Mean (30 Minute)</c:v>
                  </c:pt>
                  <c:pt idx="1162">
                    <c:v>Rolling Mean (30 Minute)</c:v>
                  </c:pt>
                  <c:pt idx="1163">
                    <c:v>Rolling Mean (30 Minute)</c:v>
                  </c:pt>
                  <c:pt idx="1164">
                    <c:v>Rolling Mean (30 Minute)</c:v>
                  </c:pt>
                  <c:pt idx="1165">
                    <c:v>Rolling Mean (30 Minute)</c:v>
                  </c:pt>
                  <c:pt idx="1166">
                    <c:v>Rolling Mean (30 Minute)</c:v>
                  </c:pt>
                  <c:pt idx="1167">
                    <c:v>Rolling Mean (30 Minute)</c:v>
                  </c:pt>
                  <c:pt idx="1168">
                    <c:v>Rolling Mean (30 Minute)</c:v>
                  </c:pt>
                  <c:pt idx="1169">
                    <c:v>Rolling Mean (30 Minute)</c:v>
                  </c:pt>
                  <c:pt idx="1170">
                    <c:v>Rolling Mean (30 Minute)</c:v>
                  </c:pt>
                  <c:pt idx="1171">
                    <c:v>Rolling Mean (30 Minute)</c:v>
                  </c:pt>
                  <c:pt idx="1172">
                    <c:v>Rolling Mean (30 Minute)</c:v>
                  </c:pt>
                  <c:pt idx="1173">
                    <c:v>Rolling Mean (30 Minute)</c:v>
                  </c:pt>
                  <c:pt idx="1174">
                    <c:v>Rolling Mean (30 Minute)</c:v>
                  </c:pt>
                  <c:pt idx="1175">
                    <c:v>Rolling Mean (30 Minute)</c:v>
                  </c:pt>
                  <c:pt idx="1176">
                    <c:v>Rolling Mean (30 Minute)</c:v>
                  </c:pt>
                  <c:pt idx="1177">
                    <c:v>Rolling Mean (30 Minute)</c:v>
                  </c:pt>
                  <c:pt idx="1178">
                    <c:v>Rolling Mean (30 Minute)</c:v>
                  </c:pt>
                  <c:pt idx="1179">
                    <c:v>Rolling Mean (30 Minute)</c:v>
                  </c:pt>
                  <c:pt idx="1180">
                    <c:v>Rolling Mean (30 Minute)</c:v>
                  </c:pt>
                  <c:pt idx="1181">
                    <c:v>Rolling Mean (30 Minute)</c:v>
                  </c:pt>
                  <c:pt idx="1182">
                    <c:v>Rolling Mean (30 Minute)</c:v>
                  </c:pt>
                  <c:pt idx="1183">
                    <c:v>Rolling Mean (30 Minute)</c:v>
                  </c:pt>
                  <c:pt idx="1184">
                    <c:v>Rolling Mean (30 Minute)</c:v>
                  </c:pt>
                  <c:pt idx="1185">
                    <c:v>Rolling Mean (30 Minute)</c:v>
                  </c:pt>
                  <c:pt idx="1186">
                    <c:v>Rolling Mean (30 Minute)</c:v>
                  </c:pt>
                  <c:pt idx="1187">
                    <c:v>Rolling Mean (30 Minute)</c:v>
                  </c:pt>
                  <c:pt idx="1188">
                    <c:v>Rolling Mean (30 Minute)</c:v>
                  </c:pt>
                  <c:pt idx="1189">
                    <c:v>Rolling Mean (30 Minute)</c:v>
                  </c:pt>
                  <c:pt idx="1190">
                    <c:v>Rolling Mean (30 Minute)</c:v>
                  </c:pt>
                  <c:pt idx="1191">
                    <c:v>Rolling Mean (30 Minute)</c:v>
                  </c:pt>
                  <c:pt idx="1192">
                    <c:v>Rolling Mean (30 Minute)</c:v>
                  </c:pt>
                  <c:pt idx="1193">
                    <c:v>Rolling Mean (30 Minute)</c:v>
                  </c:pt>
                  <c:pt idx="1194">
                    <c:v>Rolling Mean (30 Minute)</c:v>
                  </c:pt>
                  <c:pt idx="1195">
                    <c:v>Rolling Mean (30 Minute)</c:v>
                  </c:pt>
                  <c:pt idx="1196">
                    <c:v>Rolling Mean (30 Minute)</c:v>
                  </c:pt>
                  <c:pt idx="1197">
                    <c:v>Rolling Mean (30 Minute)</c:v>
                  </c:pt>
                  <c:pt idx="1198">
                    <c:v>Rolling Mean (30 Minute)</c:v>
                  </c:pt>
                  <c:pt idx="1199">
                    <c:v>Rolling Mean (30 Minute)</c:v>
                  </c:pt>
                  <c:pt idx="1200">
                    <c:v>Rolling Mean (30 Minute)</c:v>
                  </c:pt>
                  <c:pt idx="1201">
                    <c:v>Rolling Mean (30 Minute)</c:v>
                  </c:pt>
                  <c:pt idx="1202">
                    <c:v>Rolling Mean (30 Minute)</c:v>
                  </c:pt>
                  <c:pt idx="1203">
                    <c:v>Rolling Mean (30 Minute)</c:v>
                  </c:pt>
                  <c:pt idx="1204">
                    <c:v>Rolling Mean (30 Minute)</c:v>
                  </c:pt>
                  <c:pt idx="1205">
                    <c:v>Rolling Mean (30 Minute)</c:v>
                  </c:pt>
                  <c:pt idx="1206">
                    <c:v>Rolling Mean (30 Minute)</c:v>
                  </c:pt>
                  <c:pt idx="1207">
                    <c:v>Rolling Mean (30 Minute)</c:v>
                  </c:pt>
                  <c:pt idx="1208">
                    <c:v>Rolling Mean (30 Minute)</c:v>
                  </c:pt>
                  <c:pt idx="1209">
                    <c:v>Rolling Mean (30 Minute)</c:v>
                  </c:pt>
                  <c:pt idx="1210">
                    <c:v>Rolling Mean (30 Minute)</c:v>
                  </c:pt>
                  <c:pt idx="1211">
                    <c:v>Rolling Mean (30 Minute)</c:v>
                  </c:pt>
                  <c:pt idx="1212">
                    <c:v>Rolling Mean (30 Minute)</c:v>
                  </c:pt>
                  <c:pt idx="1213">
                    <c:v>Rolling Mean (30 Minute)</c:v>
                  </c:pt>
                  <c:pt idx="1214">
                    <c:v>Rolling Mean (30 Minute)</c:v>
                  </c:pt>
                  <c:pt idx="1215">
                    <c:v>Rolling Mean (30 Minute)</c:v>
                  </c:pt>
                  <c:pt idx="1216">
                    <c:v>Rolling Mean (30 Minute)</c:v>
                  </c:pt>
                  <c:pt idx="1217">
                    <c:v>Rolling Mean (30 Minute)</c:v>
                  </c:pt>
                  <c:pt idx="1218">
                    <c:v>Rolling Mean (30 Minute)</c:v>
                  </c:pt>
                  <c:pt idx="1219">
                    <c:v>Rolling Mean (30 Minute)</c:v>
                  </c:pt>
                  <c:pt idx="1220">
                    <c:v>Rolling Mean (30 Minute)</c:v>
                  </c:pt>
                  <c:pt idx="1221">
                    <c:v>Rolling Mean (30 Minute)</c:v>
                  </c:pt>
                  <c:pt idx="1222">
                    <c:v>Rolling Mean (30 Minute)</c:v>
                  </c:pt>
                  <c:pt idx="1223">
                    <c:v>Rolling Mean (30 Minute)</c:v>
                  </c:pt>
                  <c:pt idx="1224">
                    <c:v>Rolling Mean (30 Minute)</c:v>
                  </c:pt>
                  <c:pt idx="1225">
                    <c:v>Rolling Mean (30 Minute)</c:v>
                  </c:pt>
                  <c:pt idx="1226">
                    <c:v>Rolling Mean (30 Minute)</c:v>
                  </c:pt>
                  <c:pt idx="1227">
                    <c:v>Rolling Mean (30 Minute)</c:v>
                  </c:pt>
                  <c:pt idx="1228">
                    <c:v>Rolling Mean (30 Minute)</c:v>
                  </c:pt>
                  <c:pt idx="1229">
                    <c:v>Rolling Mean (30 Minute)</c:v>
                  </c:pt>
                  <c:pt idx="1230">
                    <c:v>Rolling Mean (30 Minute)</c:v>
                  </c:pt>
                  <c:pt idx="1231">
                    <c:v>Rolling Mean (30 Minute)</c:v>
                  </c:pt>
                  <c:pt idx="1232">
                    <c:v>Rolling Mean (30 Minute)</c:v>
                  </c:pt>
                  <c:pt idx="1233">
                    <c:v>Rolling Mean (30 Minute)</c:v>
                  </c:pt>
                  <c:pt idx="1234">
                    <c:v>Rolling Mean (30 Minute)</c:v>
                  </c:pt>
                  <c:pt idx="1235">
                    <c:v>Rolling Mean (30 Minute)</c:v>
                  </c:pt>
                  <c:pt idx="1236">
                    <c:v>Rolling Mean (30 Minute)</c:v>
                  </c:pt>
                  <c:pt idx="1237">
                    <c:v>Rolling Mean (30 Minute)</c:v>
                  </c:pt>
                  <c:pt idx="1238">
                    <c:v>Rolling Mean (30 Minute)</c:v>
                  </c:pt>
                  <c:pt idx="1239">
                    <c:v>Rolling Mean (30 Minute)</c:v>
                  </c:pt>
                  <c:pt idx="1240">
                    <c:v>Rolling Mean (30 Minute)</c:v>
                  </c:pt>
                  <c:pt idx="1241">
                    <c:v>Rolling Mean (30 Minute)</c:v>
                  </c:pt>
                  <c:pt idx="1242">
                    <c:v>Rolling Mean (30 Minute)</c:v>
                  </c:pt>
                  <c:pt idx="1243">
                    <c:v>Rolling Mean (30 Minute)</c:v>
                  </c:pt>
                  <c:pt idx="1244">
                    <c:v>Rolling Mean (30 Minute)</c:v>
                  </c:pt>
                  <c:pt idx="1245">
                    <c:v>Rolling Mean (30 Minute)</c:v>
                  </c:pt>
                  <c:pt idx="1246">
                    <c:v>Rolling Mean (30 Minute)</c:v>
                  </c:pt>
                  <c:pt idx="1247">
                    <c:v>Rolling Mean (30 Minute)</c:v>
                  </c:pt>
                  <c:pt idx="1248">
                    <c:v>Rolling Mean (30 Minute)</c:v>
                  </c:pt>
                  <c:pt idx="1249">
                    <c:v>Rolling Mean (30 Minute)</c:v>
                  </c:pt>
                  <c:pt idx="1250">
                    <c:v>Rolling Mean (30 Minute)</c:v>
                  </c:pt>
                  <c:pt idx="1251">
                    <c:v>Rolling Mean (30 Minute)</c:v>
                  </c:pt>
                  <c:pt idx="1252">
                    <c:v>Rolling Mean (30 Minute)</c:v>
                  </c:pt>
                  <c:pt idx="1253">
                    <c:v>Rolling Mean (30 Minute)</c:v>
                  </c:pt>
                  <c:pt idx="1254">
                    <c:v>Rolling Mean (30 Minute)</c:v>
                  </c:pt>
                  <c:pt idx="1255">
                    <c:v>Rolling Mean (30 Minute)</c:v>
                  </c:pt>
                  <c:pt idx="1256">
                    <c:v>Rolling Mean (30 Minute)</c:v>
                  </c:pt>
                  <c:pt idx="1257">
                    <c:v>Rolling Mean (30 Minute)</c:v>
                  </c:pt>
                  <c:pt idx="1258">
                    <c:v>Rolling Mean (30 Minute)</c:v>
                  </c:pt>
                  <c:pt idx="1259">
                    <c:v>Rolling Mean (30 Minute)</c:v>
                  </c:pt>
                  <c:pt idx="1260">
                    <c:v>Rolling Mean (30 Minute)</c:v>
                  </c:pt>
                  <c:pt idx="1261">
                    <c:v>Rolling Mean (30 Minute)</c:v>
                  </c:pt>
                  <c:pt idx="1262">
                    <c:v>Rolling Mean (30 Minute)</c:v>
                  </c:pt>
                  <c:pt idx="1263">
                    <c:v>Rolling Mean (30 Minute)</c:v>
                  </c:pt>
                  <c:pt idx="1264">
                    <c:v>Rolling Mean (30 Minute)</c:v>
                  </c:pt>
                  <c:pt idx="1265">
                    <c:v>Rolling Mean (30 Minute)</c:v>
                  </c:pt>
                  <c:pt idx="1266">
                    <c:v>Rolling Mean (30 Minute)</c:v>
                  </c:pt>
                  <c:pt idx="1267">
                    <c:v>Rolling Mean (30 Minute)</c:v>
                  </c:pt>
                  <c:pt idx="1268">
                    <c:v>Rolling Mean (30 Minute)</c:v>
                  </c:pt>
                  <c:pt idx="1269">
                    <c:v>Rolling Mean (30 Minute)</c:v>
                  </c:pt>
                  <c:pt idx="1270">
                    <c:v>Rolling Mean (30 Minute)</c:v>
                  </c:pt>
                  <c:pt idx="1271">
                    <c:v>Rolling Mean (30 Minute)</c:v>
                  </c:pt>
                  <c:pt idx="1272">
                    <c:v>Rolling Mean (30 Minute)</c:v>
                  </c:pt>
                  <c:pt idx="1273">
                    <c:v>Rolling Mean (30 Minute)</c:v>
                  </c:pt>
                  <c:pt idx="1274">
                    <c:v>Rolling Mean (30 Minute)</c:v>
                  </c:pt>
                  <c:pt idx="1275">
                    <c:v>Rolling Mean (30 Minute)</c:v>
                  </c:pt>
                  <c:pt idx="1276">
                    <c:v>Rolling Mean (30 Minute)</c:v>
                  </c:pt>
                  <c:pt idx="1277">
                    <c:v>Rolling Mean (30 Minute)</c:v>
                  </c:pt>
                  <c:pt idx="1278">
                    <c:v>Rolling Mean (30 Minute)</c:v>
                  </c:pt>
                  <c:pt idx="1279">
                    <c:v>Rolling Mean (30 Minute)</c:v>
                  </c:pt>
                  <c:pt idx="1280">
                    <c:v>Rolling Mean (30 Minute)</c:v>
                  </c:pt>
                  <c:pt idx="1281">
                    <c:v>Rolling Mean (30 Minute)</c:v>
                  </c:pt>
                  <c:pt idx="1282">
                    <c:v>Rolling Mean (30 Minute)</c:v>
                  </c:pt>
                  <c:pt idx="1283">
                    <c:v>Rolling Mean (30 Minute)</c:v>
                  </c:pt>
                  <c:pt idx="1284">
                    <c:v>Rolling Mean (30 Minute)</c:v>
                  </c:pt>
                  <c:pt idx="1285">
                    <c:v>Rolling Mean (30 Minute)</c:v>
                  </c:pt>
                  <c:pt idx="1286">
                    <c:v>Rolling Mean (30 Minute)</c:v>
                  </c:pt>
                  <c:pt idx="1287">
                    <c:v>Rolling Mean (30 Minute)</c:v>
                  </c:pt>
                  <c:pt idx="1288">
                    <c:v>Rolling Mean (30 Minute)</c:v>
                  </c:pt>
                  <c:pt idx="1289">
                    <c:v>Rolling Mean (30 Minute)</c:v>
                  </c:pt>
                  <c:pt idx="1290">
                    <c:v>Rolling Mean (30 Minute)</c:v>
                  </c:pt>
                  <c:pt idx="1291">
                    <c:v>Rolling Mean (30 Minute)</c:v>
                  </c:pt>
                  <c:pt idx="1292">
                    <c:v>Rolling Mean (30 Minute)</c:v>
                  </c:pt>
                  <c:pt idx="1293">
                    <c:v>Rolling Mean (30 Minute)</c:v>
                  </c:pt>
                  <c:pt idx="1294">
                    <c:v>Rolling Mean (30 Minute)</c:v>
                  </c:pt>
                  <c:pt idx="1295">
                    <c:v>Rolling Mean (30 Minute)</c:v>
                  </c:pt>
                  <c:pt idx="1296">
                    <c:v>Rolling Mean (30 Minute)</c:v>
                  </c:pt>
                  <c:pt idx="1297">
                    <c:v>Rolling Mean (30 Minute)</c:v>
                  </c:pt>
                  <c:pt idx="1298">
                    <c:v>Rolling Mean (30 Minute)</c:v>
                  </c:pt>
                  <c:pt idx="1299">
                    <c:v>Rolling Mean (30 Minute)</c:v>
                  </c:pt>
                  <c:pt idx="1300">
                    <c:v>Rolling Mean (30 Minute)</c:v>
                  </c:pt>
                  <c:pt idx="1301">
                    <c:v>Rolling Mean (30 Minute)</c:v>
                  </c:pt>
                  <c:pt idx="1302">
                    <c:v>Rolling Mean (30 Minute)</c:v>
                  </c:pt>
                  <c:pt idx="1303">
                    <c:v>Rolling Mean (30 Minute)</c:v>
                  </c:pt>
                  <c:pt idx="1304">
                    <c:v>Rolling Mean (30 Minute)</c:v>
                  </c:pt>
                  <c:pt idx="1305">
                    <c:v>Rolling Mean (30 Minute)</c:v>
                  </c:pt>
                  <c:pt idx="1306">
                    <c:v>Rolling Mean (30 Minute)</c:v>
                  </c:pt>
                  <c:pt idx="1307">
                    <c:v>Rolling Mean (30 Minute)</c:v>
                  </c:pt>
                  <c:pt idx="1308">
                    <c:v>Rolling Mean (30 Minute)</c:v>
                  </c:pt>
                  <c:pt idx="1309">
                    <c:v>Rolling Mean (30 Minute)</c:v>
                  </c:pt>
                  <c:pt idx="1310">
                    <c:v>Rolling Mean (30 Minute)</c:v>
                  </c:pt>
                  <c:pt idx="1311">
                    <c:v>Rolling Mean (30 Minute)</c:v>
                  </c:pt>
                  <c:pt idx="1312">
                    <c:v>Rolling Mean (30 Minute)</c:v>
                  </c:pt>
                  <c:pt idx="1313">
                    <c:v>Rolling Mean (30 Minute)</c:v>
                  </c:pt>
                  <c:pt idx="1314">
                    <c:v>Rolling Mean (30 Minute)</c:v>
                  </c:pt>
                  <c:pt idx="1315">
                    <c:v>Rolling Mean (30 Minute)</c:v>
                  </c:pt>
                  <c:pt idx="1316">
                    <c:v>Rolling Mean (30 Minute)</c:v>
                  </c:pt>
                  <c:pt idx="1317">
                    <c:v>Rolling Mean (30 Minute)</c:v>
                  </c:pt>
                  <c:pt idx="1318">
                    <c:v>Rolling Mean (30 Minute)</c:v>
                  </c:pt>
                  <c:pt idx="1319">
                    <c:v>Rolling Mean (30 Minute)</c:v>
                  </c:pt>
                  <c:pt idx="1320">
                    <c:v>Rolling Mean (30 Minute)</c:v>
                  </c:pt>
                  <c:pt idx="1321">
                    <c:v>Rolling Mean (30 Minute)</c:v>
                  </c:pt>
                  <c:pt idx="1322">
                    <c:v>Rolling Mean (30 Minute)</c:v>
                  </c:pt>
                  <c:pt idx="1323">
                    <c:v>Rolling Mean (30 Minute)</c:v>
                  </c:pt>
                  <c:pt idx="1324">
                    <c:v>Rolling Mean (30 Minute)</c:v>
                  </c:pt>
                  <c:pt idx="1325">
                    <c:v>Rolling Mean (30 Minute)</c:v>
                  </c:pt>
                  <c:pt idx="1326">
                    <c:v>Rolling Mean (30 Minute)</c:v>
                  </c:pt>
                  <c:pt idx="1327">
                    <c:v>Rolling Mean (30 Minute)</c:v>
                  </c:pt>
                  <c:pt idx="1328">
                    <c:v>Rolling Mean (30 Minute)</c:v>
                  </c:pt>
                  <c:pt idx="1329">
                    <c:v>Rolling Mean (30 Minute)</c:v>
                  </c:pt>
                  <c:pt idx="1330">
                    <c:v>Rolling Mean (30 Minute)</c:v>
                  </c:pt>
                  <c:pt idx="1331">
                    <c:v>Rolling Mean (30 Minute)</c:v>
                  </c:pt>
                  <c:pt idx="1332">
                    <c:v>Rolling Mean (30 Minute)</c:v>
                  </c:pt>
                  <c:pt idx="1333">
                    <c:v>Rolling Mean (30 Minute)</c:v>
                  </c:pt>
                  <c:pt idx="1334">
                    <c:v>Rolling Mean (30 Minute)</c:v>
                  </c:pt>
                  <c:pt idx="1335">
                    <c:v>Rolling Mean (30 Minute)</c:v>
                  </c:pt>
                  <c:pt idx="1336">
                    <c:v>Rolling Mean (30 Minute)</c:v>
                  </c:pt>
                  <c:pt idx="1337">
                    <c:v>Rolling Mean (30 Minute)</c:v>
                  </c:pt>
                  <c:pt idx="1338">
                    <c:v>Rolling Mean (30 Minute)</c:v>
                  </c:pt>
                  <c:pt idx="1339">
                    <c:v>Rolling Mean (30 Minute)</c:v>
                  </c:pt>
                  <c:pt idx="1340">
                    <c:v>Rolling Mean (30 Minute)</c:v>
                  </c:pt>
                  <c:pt idx="1341">
                    <c:v>Rolling Mean (30 Minute)</c:v>
                  </c:pt>
                  <c:pt idx="1342">
                    <c:v>Rolling Mean (30 Minute)</c:v>
                  </c:pt>
                  <c:pt idx="1343">
                    <c:v>Rolling Mean (30 Minute)</c:v>
                  </c:pt>
                  <c:pt idx="1344">
                    <c:v>Rolling Mean (30 Minute)</c:v>
                  </c:pt>
                  <c:pt idx="1345">
                    <c:v>Rolling Mean (30 Minute)</c:v>
                  </c:pt>
                  <c:pt idx="1346">
                    <c:v>Rolling Mean (30 Minute)</c:v>
                  </c:pt>
                  <c:pt idx="1347">
                    <c:v>Rolling Mean (30 Minute)</c:v>
                  </c:pt>
                  <c:pt idx="1348">
                    <c:v>Rolling Mean (30 Minute)</c:v>
                  </c:pt>
                  <c:pt idx="1349">
                    <c:v>Rolling Mean (30 Minute)</c:v>
                  </c:pt>
                  <c:pt idx="1350">
                    <c:v>Rolling Mean (30 Minute)</c:v>
                  </c:pt>
                  <c:pt idx="1351">
                    <c:v>Rolling Mean (30 Minute)</c:v>
                  </c:pt>
                  <c:pt idx="1352">
                    <c:v>Rolling Mean (30 Minute)</c:v>
                  </c:pt>
                  <c:pt idx="1353">
                    <c:v>Rolling Mean (30 Minute)</c:v>
                  </c:pt>
                  <c:pt idx="1354">
                    <c:v>Rolling Mean (30 Minute)</c:v>
                  </c:pt>
                  <c:pt idx="1355">
                    <c:v>Rolling Mean (30 Minute)</c:v>
                  </c:pt>
                  <c:pt idx="1356">
                    <c:v>Rolling Mean (30 Minute)</c:v>
                  </c:pt>
                  <c:pt idx="1357">
                    <c:v>Rolling Mean (30 Minute)</c:v>
                  </c:pt>
                  <c:pt idx="1358">
                    <c:v>Rolling Mean (30 Minute)</c:v>
                  </c:pt>
                  <c:pt idx="1359">
                    <c:v>Rolling Mean (30 Minute)</c:v>
                  </c:pt>
                  <c:pt idx="1360">
                    <c:v>Rolling Mean (30 Minute)</c:v>
                  </c:pt>
                  <c:pt idx="1361">
                    <c:v>Rolling Mean (30 Minute)</c:v>
                  </c:pt>
                  <c:pt idx="1362">
                    <c:v>Rolling Mean (30 Minute)</c:v>
                  </c:pt>
                  <c:pt idx="1363">
                    <c:v>Rolling Mean (30 Minute)</c:v>
                  </c:pt>
                  <c:pt idx="1364">
                    <c:v>Rolling Mean (30 Minute)</c:v>
                  </c:pt>
                  <c:pt idx="1365">
                    <c:v>Rolling Mean (30 Minute)</c:v>
                  </c:pt>
                  <c:pt idx="1366">
                    <c:v>Rolling Mean (30 Minute)</c:v>
                  </c:pt>
                  <c:pt idx="1367">
                    <c:v>Rolling Mean (30 Minute)</c:v>
                  </c:pt>
                  <c:pt idx="1368">
                    <c:v>Rolling Mean (30 Minute)</c:v>
                  </c:pt>
                  <c:pt idx="1369">
                    <c:v>Rolling Mean (30 Minute)</c:v>
                  </c:pt>
                  <c:pt idx="1370">
                    <c:v>Rolling Mean (30 Minute)</c:v>
                  </c:pt>
                  <c:pt idx="1371">
                    <c:v>Rolling Mean (30 Minute)</c:v>
                  </c:pt>
                  <c:pt idx="1372">
                    <c:v>Rolling Mean (30 Minute)</c:v>
                  </c:pt>
                  <c:pt idx="1373">
                    <c:v>Rolling Mean (30 Minute)</c:v>
                  </c:pt>
                  <c:pt idx="1374">
                    <c:v>Rolling Mean (30 Minute)</c:v>
                  </c:pt>
                  <c:pt idx="1375">
                    <c:v>Rolling Mean (30 Minute)</c:v>
                  </c:pt>
                  <c:pt idx="1376">
                    <c:v>Rolling Mean (30 Minute)</c:v>
                  </c:pt>
                  <c:pt idx="1377">
                    <c:v>Rolling Mean (30 Minute)</c:v>
                  </c:pt>
                  <c:pt idx="1378">
                    <c:v>Rolling Mean (30 Minute)</c:v>
                  </c:pt>
                  <c:pt idx="1379">
                    <c:v>Rolling Mean (30 Minute)</c:v>
                  </c:pt>
                  <c:pt idx="1380">
                    <c:v>Rolling Mean (30 Minute)</c:v>
                  </c:pt>
                  <c:pt idx="1381">
                    <c:v>Rolling Mean (30 Minute)</c:v>
                  </c:pt>
                  <c:pt idx="1382">
                    <c:v>Rolling Mean (30 Minute)</c:v>
                  </c:pt>
                  <c:pt idx="1383">
                    <c:v>Rolling Mean (30 Minute)</c:v>
                  </c:pt>
                  <c:pt idx="1384">
                    <c:v>Rolling Mean (30 Minute)</c:v>
                  </c:pt>
                  <c:pt idx="1385">
                    <c:v>Rolling Mean (30 Minute)</c:v>
                  </c:pt>
                  <c:pt idx="1386">
                    <c:v>Rolling Mean (30 Minute)</c:v>
                  </c:pt>
                  <c:pt idx="1387">
                    <c:v>Rolling Mean (30 Minute)</c:v>
                  </c:pt>
                  <c:pt idx="1388">
                    <c:v>Rolling Mean (30 Minute)</c:v>
                  </c:pt>
                  <c:pt idx="1389">
                    <c:v>Rolling Mean (30 Minute)</c:v>
                  </c:pt>
                  <c:pt idx="1390">
                    <c:v>Rolling Mean (30 Minute)</c:v>
                  </c:pt>
                  <c:pt idx="1391">
                    <c:v>Rolling Mean (30 Minute)</c:v>
                  </c:pt>
                  <c:pt idx="1392">
                    <c:v>Rolling Mean (30 Minute)</c:v>
                  </c:pt>
                  <c:pt idx="1393">
                    <c:v>Rolling Mean (30 Minute)</c:v>
                  </c:pt>
                  <c:pt idx="1394">
                    <c:v>Rolling Mean (30 Minute)</c:v>
                  </c:pt>
                  <c:pt idx="1395">
                    <c:v>Rolling Mean (30 Minute)</c:v>
                  </c:pt>
                  <c:pt idx="1396">
                    <c:v>Rolling Mean (30 Minute)</c:v>
                  </c:pt>
                  <c:pt idx="1397">
                    <c:v>Rolling Mean (30 Minute)</c:v>
                  </c:pt>
                  <c:pt idx="1398">
                    <c:v>Rolling Mean (30 Minute)</c:v>
                  </c:pt>
                  <c:pt idx="1399">
                    <c:v>Rolling Mean (30 Minute)</c:v>
                  </c:pt>
                  <c:pt idx="1400">
                    <c:v>Rolling Mean (30 Minute)</c:v>
                  </c:pt>
                  <c:pt idx="1401">
                    <c:v>Rolling Mean (30 Minute)</c:v>
                  </c:pt>
                  <c:pt idx="1402">
                    <c:v>Rolling Mean (30 Minute)</c:v>
                  </c:pt>
                  <c:pt idx="1403">
                    <c:v>Rolling Mean (30 Minute)</c:v>
                  </c:pt>
                  <c:pt idx="1404">
                    <c:v>Rolling Mean (30 Minute)</c:v>
                  </c:pt>
                  <c:pt idx="1405">
                    <c:v>Rolling Mean (30 Minute)</c:v>
                  </c:pt>
                  <c:pt idx="1406">
                    <c:v>Rolling Mean (30 Minute)</c:v>
                  </c:pt>
                  <c:pt idx="1407">
                    <c:v>Rolling Mean (30 Minute)</c:v>
                  </c:pt>
                  <c:pt idx="1408">
                    <c:v>Rolling Mean (30 Minute)</c:v>
                  </c:pt>
                  <c:pt idx="1409">
                    <c:v>Rolling Mean (30 Minute)</c:v>
                  </c:pt>
                  <c:pt idx="1410">
                    <c:v>Rolling Mean (30 Minute)</c:v>
                  </c:pt>
                  <c:pt idx="1411">
                    <c:v>Rolling Mean (30 Minute)</c:v>
                  </c:pt>
                  <c:pt idx="1412">
                    <c:v>Rolling Mean (30 Minute)</c:v>
                  </c:pt>
                  <c:pt idx="1413">
                    <c:v>Rolling Mean (30 Minute)</c:v>
                  </c:pt>
                  <c:pt idx="1414">
                    <c:v>Rolling Mean (30 Minute)</c:v>
                  </c:pt>
                  <c:pt idx="1415">
                    <c:v>Rolling Mean (30 Minute)</c:v>
                  </c:pt>
                  <c:pt idx="1416">
                    <c:v>Rolling Mean (30 Minute)</c:v>
                  </c:pt>
                  <c:pt idx="1417">
                    <c:v>Rolling Mean (30 Minute)</c:v>
                  </c:pt>
                  <c:pt idx="1418">
                    <c:v>Rolling Mean (30 Minute)</c:v>
                  </c:pt>
                  <c:pt idx="1419">
                    <c:v>Rolling Mean (30 Minute)</c:v>
                  </c:pt>
                  <c:pt idx="1420">
                    <c:v>Rolling Mean (30 Minute)</c:v>
                  </c:pt>
                  <c:pt idx="1421">
                    <c:v>Rolling Mean (30 Minute)</c:v>
                  </c:pt>
                  <c:pt idx="1422">
                    <c:v>Rolling Mean (30 Minute)</c:v>
                  </c:pt>
                  <c:pt idx="1423">
                    <c:v>Rolling Mean (30 Minute)</c:v>
                  </c:pt>
                  <c:pt idx="1424">
                    <c:v>Rolling Mean (30 Minute)</c:v>
                  </c:pt>
                  <c:pt idx="1425">
                    <c:v>Rolling Mean (30 Minute)</c:v>
                  </c:pt>
                  <c:pt idx="1426">
                    <c:v>Rolling Mean (30 Minute)</c:v>
                  </c:pt>
                  <c:pt idx="1427">
                    <c:v>Rolling Mean (30 Minute)</c:v>
                  </c:pt>
                  <c:pt idx="1428">
                    <c:v>Rolling Mean (30 Minute)</c:v>
                  </c:pt>
                  <c:pt idx="1429">
                    <c:v>Rolling Mean (30 Minute)</c:v>
                  </c:pt>
                  <c:pt idx="1430">
                    <c:v>Rolling Mean (30 Minute)</c:v>
                  </c:pt>
                  <c:pt idx="1431">
                    <c:v>Rolling Mean (30 Minute)</c:v>
                  </c:pt>
                  <c:pt idx="1432">
                    <c:v>Rolling Mean (30 Minute)</c:v>
                  </c:pt>
                  <c:pt idx="1433">
                    <c:v>Rolling Mean (30 Minute)</c:v>
                  </c:pt>
                  <c:pt idx="1434">
                    <c:v>Rolling Mean (30 Minute)</c:v>
                  </c:pt>
                  <c:pt idx="1435">
                    <c:v>Rolling Mean (30 Minute)</c:v>
                  </c:pt>
                  <c:pt idx="1436">
                    <c:v>Rolling Mean (30 Minute)</c:v>
                  </c:pt>
                  <c:pt idx="1437">
                    <c:v>Rolling Mean (30 Minute)</c:v>
                  </c:pt>
                  <c:pt idx="1438">
                    <c:v>Rolling Mean (30 Minute)</c:v>
                  </c:pt>
                  <c:pt idx="1439">
                    <c:v>Rolling Mean (30 Minute)</c:v>
                  </c:pt>
                  <c:pt idx="1440">
                    <c:v>Rolling Mean (30 Minute)</c:v>
                  </c:pt>
                  <c:pt idx="1441">
                    <c:v>Rolling Mean (30 Minute)</c:v>
                  </c:pt>
                  <c:pt idx="1442">
                    <c:v>Rolling Mean (30 Minute)</c:v>
                  </c:pt>
                  <c:pt idx="1443">
                    <c:v>Rolling Mean (30 Minute)</c:v>
                  </c:pt>
                  <c:pt idx="1444">
                    <c:v>Rolling Mean (30 Minute)</c:v>
                  </c:pt>
                  <c:pt idx="1445">
                    <c:v>Rolling Mean (30 Minute)</c:v>
                  </c:pt>
                  <c:pt idx="1446">
                    <c:v>Rolling Mean (30 Minute)</c:v>
                  </c:pt>
                  <c:pt idx="1447">
                    <c:v>Rolling Mean (30 Minute)</c:v>
                  </c:pt>
                  <c:pt idx="1448">
                    <c:v>Rolling Mean (30 Minute)</c:v>
                  </c:pt>
                  <c:pt idx="1449">
                    <c:v>Rolling Mean (30 Minute)</c:v>
                  </c:pt>
                  <c:pt idx="1450">
                    <c:v>Rolling Mean (30 Minute)</c:v>
                  </c:pt>
                  <c:pt idx="1451">
                    <c:v>Rolling Mean (30 Minute)</c:v>
                  </c:pt>
                  <c:pt idx="1452">
                    <c:v>Rolling Mean (30 Minute)</c:v>
                  </c:pt>
                  <c:pt idx="1453">
                    <c:v>Rolling Mean (30 Minute)</c:v>
                  </c:pt>
                  <c:pt idx="1454">
                    <c:v>Rolling Mean (30 Minute)</c:v>
                  </c:pt>
                  <c:pt idx="1455">
                    <c:v>Rolling Mean (30 Minute)</c:v>
                  </c:pt>
                  <c:pt idx="1456">
                    <c:v>Rolling Mean (30 Minute)</c:v>
                  </c:pt>
                  <c:pt idx="1457">
                    <c:v>Rolling Mean (30 Minute)</c:v>
                  </c:pt>
                  <c:pt idx="1458">
                    <c:v>Rolling Mean (30 Minute)</c:v>
                  </c:pt>
                  <c:pt idx="1459">
                    <c:v>Rolling Mean (30 Minute)</c:v>
                  </c:pt>
                  <c:pt idx="1460">
                    <c:v>Rolling Mean (30 Minute)</c:v>
                  </c:pt>
                  <c:pt idx="1461">
                    <c:v>Rolling Mean (30 Minute)</c:v>
                  </c:pt>
                  <c:pt idx="1462">
                    <c:v>Rolling Mean (30 Minute)</c:v>
                  </c:pt>
                  <c:pt idx="1463">
                    <c:v>Rolling Mean (30 Minute)</c:v>
                  </c:pt>
                  <c:pt idx="1464">
                    <c:v>Rolling Mean (30 Minute)</c:v>
                  </c:pt>
                  <c:pt idx="1465">
                    <c:v>Rolling Mean (30 Minute)</c:v>
                  </c:pt>
                  <c:pt idx="1466">
                    <c:v>Rolling Mean (30 Minute)</c:v>
                  </c:pt>
                  <c:pt idx="1467">
                    <c:v>Rolling Mean (30 Minute)</c:v>
                  </c:pt>
                  <c:pt idx="1468">
                    <c:v>Rolling Mean (30 Minute)</c:v>
                  </c:pt>
                  <c:pt idx="1469">
                    <c:v>Rolling Mean (30 Minute)</c:v>
                  </c:pt>
                  <c:pt idx="1470">
                    <c:v>Rolling Mean (30 Minute)</c:v>
                  </c:pt>
                  <c:pt idx="1471">
                    <c:v>Rolling Mean (30 Minute)</c:v>
                  </c:pt>
                  <c:pt idx="1472">
                    <c:v>Rolling Mean (30 Minute)</c:v>
                  </c:pt>
                  <c:pt idx="1473">
                    <c:v>Rolling Mean (30 Minute)</c:v>
                  </c:pt>
                  <c:pt idx="1474">
                    <c:v>Rolling Mean (30 Minute)</c:v>
                  </c:pt>
                  <c:pt idx="1475">
                    <c:v>Rolling Mean (30 Minute)</c:v>
                  </c:pt>
                  <c:pt idx="1476">
                    <c:v>Rolling Mean (30 Minute)</c:v>
                  </c:pt>
                  <c:pt idx="1477">
                    <c:v>Rolling Mean (30 Minute)</c:v>
                  </c:pt>
                  <c:pt idx="1478">
                    <c:v>Rolling Mean (30 Minute)</c:v>
                  </c:pt>
                  <c:pt idx="1479">
                    <c:v>Rolling Mean (30 Minute)</c:v>
                  </c:pt>
                  <c:pt idx="1480">
                    <c:v>Rolling Mean (30 Minute)</c:v>
                  </c:pt>
                  <c:pt idx="1481">
                    <c:v>Rolling Mean (30 Minute)</c:v>
                  </c:pt>
                  <c:pt idx="1482">
                    <c:v>Rolling Mean (30 Minute)</c:v>
                  </c:pt>
                  <c:pt idx="1483">
                    <c:v>Rolling Mean (30 Minute)</c:v>
                  </c:pt>
                  <c:pt idx="1484">
                    <c:v>Rolling Mean (30 Minute)</c:v>
                  </c:pt>
                  <c:pt idx="1485">
                    <c:v>Rolling Mean (30 Minute)</c:v>
                  </c:pt>
                  <c:pt idx="1486">
                    <c:v>Rolling Mean (30 Minute)</c:v>
                  </c:pt>
                  <c:pt idx="1487">
                    <c:v>Rolling Mean (30 Minute)</c:v>
                  </c:pt>
                  <c:pt idx="1488">
                    <c:v>Rolling Mean (30 Minute)</c:v>
                  </c:pt>
                  <c:pt idx="1489">
                    <c:v>Rolling Mean (30 Minute)</c:v>
                  </c:pt>
                  <c:pt idx="1490">
                    <c:v>Rolling Mean (30 Minute)</c:v>
                  </c:pt>
                  <c:pt idx="1491">
                    <c:v>Rolling Mean (30 Minute)</c:v>
                  </c:pt>
                  <c:pt idx="1492">
                    <c:v>Rolling Mean (30 Minute)</c:v>
                  </c:pt>
                  <c:pt idx="1493">
                    <c:v>Rolling Mean (30 Minute)</c:v>
                  </c:pt>
                  <c:pt idx="1494">
                    <c:v>Rolling Mean (30 Minute)</c:v>
                  </c:pt>
                  <c:pt idx="1495">
                    <c:v>Rolling Mean (30 Minute)</c:v>
                  </c:pt>
                  <c:pt idx="1496">
                    <c:v>Rolling Mean (30 Minute)</c:v>
                  </c:pt>
                  <c:pt idx="1497">
                    <c:v>Rolling Mean (30 Minute)</c:v>
                  </c:pt>
                  <c:pt idx="1498">
                    <c:v>Rolling Mean (30 Minute)</c:v>
                  </c:pt>
                  <c:pt idx="1499">
                    <c:v>Rolling Mean (30 Minute)</c:v>
                  </c:pt>
                  <c:pt idx="1500">
                    <c:v>Rolling Mean (30 Minute)</c:v>
                  </c:pt>
                  <c:pt idx="1501">
                    <c:v>Rolling Mean (30 Minute)</c:v>
                  </c:pt>
                  <c:pt idx="1502">
                    <c:v>Rolling Mean (30 Minute)</c:v>
                  </c:pt>
                  <c:pt idx="1503">
                    <c:v>Rolling Mean (30 Minute)</c:v>
                  </c:pt>
                  <c:pt idx="1504">
                    <c:v>Rolling Mean (30 Minute)</c:v>
                  </c:pt>
                  <c:pt idx="1505">
                    <c:v>Rolling Mean (30 Minute)</c:v>
                  </c:pt>
                  <c:pt idx="1506">
                    <c:v>Rolling Mean (30 Minute)</c:v>
                  </c:pt>
                  <c:pt idx="1507">
                    <c:v>Rolling Mean (30 Minute)</c:v>
                  </c:pt>
                  <c:pt idx="1508">
                    <c:v>Rolling Mean (30 Minute)</c:v>
                  </c:pt>
                  <c:pt idx="1509">
                    <c:v>Rolling Mean (30 Minute)</c:v>
                  </c:pt>
                  <c:pt idx="1510">
                    <c:v>Rolling Mean (30 Minute)</c:v>
                  </c:pt>
                  <c:pt idx="1511">
                    <c:v>Rolling Mean (30 Minute)</c:v>
                  </c:pt>
                  <c:pt idx="1512">
                    <c:v>Rolling Mean (30 Minute)</c:v>
                  </c:pt>
                  <c:pt idx="1513">
                    <c:v>Rolling Mean (30 Minute)</c:v>
                  </c:pt>
                  <c:pt idx="1514">
                    <c:v>Rolling Mean (30 Minute)</c:v>
                  </c:pt>
                  <c:pt idx="1515">
                    <c:v>Rolling Mean (30 Minute)</c:v>
                  </c:pt>
                  <c:pt idx="1516">
                    <c:v>Rolling Mean (30 Minute)</c:v>
                  </c:pt>
                  <c:pt idx="1517">
                    <c:v>Rolling Mean (30 Minute)</c:v>
                  </c:pt>
                  <c:pt idx="1518">
                    <c:v>Rolling Mean (30 Minute)</c:v>
                  </c:pt>
                  <c:pt idx="1519">
                    <c:v>Rolling Mean (30 Minute)</c:v>
                  </c:pt>
                  <c:pt idx="1520">
                    <c:v>Rolling Mean (30 Minute)</c:v>
                  </c:pt>
                  <c:pt idx="1521">
                    <c:v>Rolling Mean (30 Minute)</c:v>
                  </c:pt>
                  <c:pt idx="1522">
                    <c:v>Rolling Mean (30 Minute)</c:v>
                  </c:pt>
                  <c:pt idx="1523">
                    <c:v>Rolling Mean (30 Minute)</c:v>
                  </c:pt>
                  <c:pt idx="1524">
                    <c:v>Rolling Mean (30 Minute)</c:v>
                  </c:pt>
                  <c:pt idx="1525">
                    <c:v>Rolling Mean (30 Minute)</c:v>
                  </c:pt>
                  <c:pt idx="1526">
                    <c:v>Rolling Mean (30 Minute)</c:v>
                  </c:pt>
                  <c:pt idx="1527">
                    <c:v>Rolling Mean (30 Minute)</c:v>
                  </c:pt>
                  <c:pt idx="1528">
                    <c:v>Rolling Mean (30 Minute)</c:v>
                  </c:pt>
                  <c:pt idx="1529">
                    <c:v>Rolling Mean (30 Minute)</c:v>
                  </c:pt>
                  <c:pt idx="1530">
                    <c:v>Rolling Mean (30 Minute)</c:v>
                  </c:pt>
                  <c:pt idx="1531">
                    <c:v>Rolling Mean (30 Minute)</c:v>
                  </c:pt>
                  <c:pt idx="1532">
                    <c:v>Rolling Mean (30 Minute)</c:v>
                  </c:pt>
                  <c:pt idx="1533">
                    <c:v>Rolling Mean (30 Minute)</c:v>
                  </c:pt>
                  <c:pt idx="1534">
                    <c:v>Rolling Mean (30 Minute)</c:v>
                  </c:pt>
                  <c:pt idx="1535">
                    <c:v>Rolling Mean (30 Minute)</c:v>
                  </c:pt>
                  <c:pt idx="1536">
                    <c:v>Rolling Mean (30 Minute)</c:v>
                  </c:pt>
                  <c:pt idx="1537">
                    <c:v>Rolling Mean (30 Minute)</c:v>
                  </c:pt>
                  <c:pt idx="1538">
                    <c:v>Rolling Mean (30 Minute)</c:v>
                  </c:pt>
                  <c:pt idx="1539">
                    <c:v>Rolling Mean (30 Minute)</c:v>
                  </c:pt>
                  <c:pt idx="1540">
                    <c:v>Rolling Mean (30 Minute)</c:v>
                  </c:pt>
                  <c:pt idx="1541">
                    <c:v>Rolling Mean (30 Minute)</c:v>
                  </c:pt>
                  <c:pt idx="1542">
                    <c:v>Rolling Mean (30 Minute)</c:v>
                  </c:pt>
                  <c:pt idx="1543">
                    <c:v>Rolling Mean (30 Minute)</c:v>
                  </c:pt>
                  <c:pt idx="1544">
                    <c:v>Rolling Mean (30 Minute)</c:v>
                  </c:pt>
                  <c:pt idx="1545">
                    <c:v>Rolling Mean (30 Minute)</c:v>
                  </c:pt>
                  <c:pt idx="1546">
                    <c:v>Rolling Mean (30 Minute)</c:v>
                  </c:pt>
                  <c:pt idx="1547">
                    <c:v>Rolling Mean (30 Minute)</c:v>
                  </c:pt>
                  <c:pt idx="1548">
                    <c:v>Rolling Mean (30 Minute)</c:v>
                  </c:pt>
                  <c:pt idx="1549">
                    <c:v>Rolling Mean (30 Minute)</c:v>
                  </c:pt>
                  <c:pt idx="1550">
                    <c:v>Rolling Mean (30 Minute)</c:v>
                  </c:pt>
                  <c:pt idx="1551">
                    <c:v>Rolling Mean (30 Minute)</c:v>
                  </c:pt>
                  <c:pt idx="1552">
                    <c:v>Rolling Mean (30 Minute)</c:v>
                  </c:pt>
                  <c:pt idx="1553">
                    <c:v>Rolling Mean (30 Minute)</c:v>
                  </c:pt>
                  <c:pt idx="1554">
                    <c:v>Rolling Mean (30 Minute)</c:v>
                  </c:pt>
                  <c:pt idx="1555">
                    <c:v>Rolling Mean (30 Minute)</c:v>
                  </c:pt>
                  <c:pt idx="1556">
                    <c:v>Rolling Mean (30 Minute)</c:v>
                  </c:pt>
                  <c:pt idx="1557">
                    <c:v>Rolling Mean (30 Minute)</c:v>
                  </c:pt>
                  <c:pt idx="1558">
                    <c:v>Rolling Mean (30 Minute)</c:v>
                  </c:pt>
                  <c:pt idx="1559">
                    <c:v>Rolling Mean (30 Minute)</c:v>
                  </c:pt>
                  <c:pt idx="1560">
                    <c:v>Rolling Mean (30 Minute)</c:v>
                  </c:pt>
                  <c:pt idx="1561">
                    <c:v>Rolling Mean (30 Minute)</c:v>
                  </c:pt>
                  <c:pt idx="1562">
                    <c:v>Rolling Mean (30 Minute)</c:v>
                  </c:pt>
                  <c:pt idx="1563">
                    <c:v>Rolling Mean (30 Minute)</c:v>
                  </c:pt>
                  <c:pt idx="1564">
                    <c:v>Rolling Mean (30 Minute)</c:v>
                  </c:pt>
                  <c:pt idx="1565">
                    <c:v>Rolling Mean (30 Minute)</c:v>
                  </c:pt>
                  <c:pt idx="1566">
                    <c:v>Rolling Mean (30 Minute)</c:v>
                  </c:pt>
                  <c:pt idx="1567">
                    <c:v>Rolling Mean (30 Minute)</c:v>
                  </c:pt>
                  <c:pt idx="1568">
                    <c:v>Rolling Mean (30 Minute)</c:v>
                  </c:pt>
                  <c:pt idx="1569">
                    <c:v>Rolling Mean (30 Minute)</c:v>
                  </c:pt>
                  <c:pt idx="1570">
                    <c:v>Rolling Mean (30 Minute)</c:v>
                  </c:pt>
                  <c:pt idx="1571">
                    <c:v>Rolling Mean (30 Minute)</c:v>
                  </c:pt>
                  <c:pt idx="1572">
                    <c:v>Rolling Mean (30 Minute)</c:v>
                  </c:pt>
                  <c:pt idx="1573">
                    <c:v>Rolling Mean (30 Minute)</c:v>
                  </c:pt>
                  <c:pt idx="1574">
                    <c:v>Rolling Mean (30 Minute)</c:v>
                  </c:pt>
                  <c:pt idx="1575">
                    <c:v>Rolling Mean (30 Minute)</c:v>
                  </c:pt>
                  <c:pt idx="1576">
                    <c:v>Rolling Mean (30 Minute)</c:v>
                  </c:pt>
                  <c:pt idx="1577">
                    <c:v>Rolling Mean (30 Minute)</c:v>
                  </c:pt>
                  <c:pt idx="1578">
                    <c:v>Rolling Mean (30 Minute)</c:v>
                  </c:pt>
                  <c:pt idx="1579">
                    <c:v>Rolling Mean (30 Minute)</c:v>
                  </c:pt>
                  <c:pt idx="1580">
                    <c:v>Rolling Mean (30 Minute)</c:v>
                  </c:pt>
                  <c:pt idx="1581">
                    <c:v>Rolling Mean (30 Minute)</c:v>
                  </c:pt>
                  <c:pt idx="1582">
                    <c:v>Rolling Mean (30 Minute)</c:v>
                  </c:pt>
                  <c:pt idx="1583">
                    <c:v>Rolling Mean (30 Minute)</c:v>
                  </c:pt>
                  <c:pt idx="1584">
                    <c:v>Rolling Mean (30 Minute)</c:v>
                  </c:pt>
                  <c:pt idx="1585">
                    <c:v>Rolling Mean (30 Minute)</c:v>
                  </c:pt>
                  <c:pt idx="1586">
                    <c:v>Rolling Mean (30 Minute)</c:v>
                  </c:pt>
                  <c:pt idx="1587">
                    <c:v>Rolling Mean (30 Minute)</c:v>
                  </c:pt>
                  <c:pt idx="1588">
                    <c:v>Rolling Mean (30 Minute)</c:v>
                  </c:pt>
                  <c:pt idx="1589">
                    <c:v>Rolling Mean (30 Minute)</c:v>
                  </c:pt>
                  <c:pt idx="1590">
                    <c:v>Rolling Mean (30 Minute)</c:v>
                  </c:pt>
                  <c:pt idx="1591">
                    <c:v>Rolling Mean (30 Minute)</c:v>
                  </c:pt>
                  <c:pt idx="1592">
                    <c:v>Rolling Mean (30 Minute)</c:v>
                  </c:pt>
                  <c:pt idx="1593">
                    <c:v>Rolling Mean (30 Minute)</c:v>
                  </c:pt>
                  <c:pt idx="1594">
                    <c:v>Rolling Mean (30 Minute)</c:v>
                  </c:pt>
                  <c:pt idx="1595">
                    <c:v>Rolling Mean (30 Minute)</c:v>
                  </c:pt>
                  <c:pt idx="1596">
                    <c:v>Rolling Mean (30 Minute)</c:v>
                  </c:pt>
                  <c:pt idx="1597">
                    <c:v>Rolling Mean (30 Minute)</c:v>
                  </c:pt>
                  <c:pt idx="1598">
                    <c:v>Rolling Mean (30 Minute)</c:v>
                  </c:pt>
                  <c:pt idx="1599">
                    <c:v>Rolling Mean (30 Minute)</c:v>
                  </c:pt>
                  <c:pt idx="1600">
                    <c:v>Rolling Mean (30 Minute)</c:v>
                  </c:pt>
                  <c:pt idx="1601">
                    <c:v>Rolling Mean (30 Minute)</c:v>
                  </c:pt>
                  <c:pt idx="1602">
                    <c:v>Rolling Mean (30 Minute)</c:v>
                  </c:pt>
                  <c:pt idx="1603">
                    <c:v>Rolling Mean (30 Minute)</c:v>
                  </c:pt>
                  <c:pt idx="1604">
                    <c:v>Rolling Mean (30 Minute)</c:v>
                  </c:pt>
                  <c:pt idx="1605">
                    <c:v>Rolling Mean (30 Minute)</c:v>
                  </c:pt>
                  <c:pt idx="1606">
                    <c:v>Rolling Mean (30 Minute)</c:v>
                  </c:pt>
                  <c:pt idx="1607">
                    <c:v>Rolling Mean (30 Minute)</c:v>
                  </c:pt>
                  <c:pt idx="1608">
                    <c:v>Rolling Mean (30 Minute)</c:v>
                  </c:pt>
                  <c:pt idx="1609">
                    <c:v>Rolling Mean (30 Minute)</c:v>
                  </c:pt>
                  <c:pt idx="1610">
                    <c:v>Rolling Mean (30 Minute)</c:v>
                  </c:pt>
                  <c:pt idx="1611">
                    <c:v>Rolling Mean (30 Minute)</c:v>
                  </c:pt>
                  <c:pt idx="1612">
                    <c:v>Rolling Mean (30 Minute)</c:v>
                  </c:pt>
                  <c:pt idx="1613">
                    <c:v>Rolling Mean (30 Minute)</c:v>
                  </c:pt>
                  <c:pt idx="1614">
                    <c:v>Rolling Mean (30 Minute)</c:v>
                  </c:pt>
                  <c:pt idx="1615">
                    <c:v>Rolling Mean (30 Minute)</c:v>
                  </c:pt>
                  <c:pt idx="1616">
                    <c:v>Rolling Mean (30 Minute)</c:v>
                  </c:pt>
                  <c:pt idx="1617">
                    <c:v>Rolling Mean (30 Minute)</c:v>
                  </c:pt>
                  <c:pt idx="1618">
                    <c:v>Rolling Mean (30 Minute)</c:v>
                  </c:pt>
                  <c:pt idx="1619">
                    <c:v>Rolling Mean (30 Minute)</c:v>
                  </c:pt>
                  <c:pt idx="1620">
                    <c:v>Rolling Mean (30 Minute)</c:v>
                  </c:pt>
                  <c:pt idx="1621">
                    <c:v>Rolling Mean (30 Minute)</c:v>
                  </c:pt>
                  <c:pt idx="1622">
                    <c:v>Rolling Mean (30 Minute)</c:v>
                  </c:pt>
                  <c:pt idx="1623">
                    <c:v>Rolling Mean (30 Minute)</c:v>
                  </c:pt>
                  <c:pt idx="1624">
                    <c:v>Rolling Mean (30 Minute)</c:v>
                  </c:pt>
                  <c:pt idx="1625">
                    <c:v>Rolling Mean (30 Minute)</c:v>
                  </c:pt>
                  <c:pt idx="1626">
                    <c:v>Rolling Mean (30 Minute)</c:v>
                  </c:pt>
                  <c:pt idx="1627">
                    <c:v>Rolling Mean (30 Minute)</c:v>
                  </c:pt>
                  <c:pt idx="1628">
                    <c:v>Rolling Mean (30 Minute)</c:v>
                  </c:pt>
                  <c:pt idx="1629">
                    <c:v>Rolling Mean (30 Minute)</c:v>
                  </c:pt>
                  <c:pt idx="1630">
                    <c:v>Rolling Mean (30 Minute)</c:v>
                  </c:pt>
                  <c:pt idx="1631">
                    <c:v>Rolling Mean (30 Minute)</c:v>
                  </c:pt>
                  <c:pt idx="1632">
                    <c:v>Rolling Mean (30 Minute)</c:v>
                  </c:pt>
                  <c:pt idx="1633">
                    <c:v>Rolling Mean (30 Minute)</c:v>
                  </c:pt>
                  <c:pt idx="1634">
                    <c:v>Rolling Mean (30 Minute)</c:v>
                  </c:pt>
                  <c:pt idx="1635">
                    <c:v>Rolling Mean (30 Minute)</c:v>
                  </c:pt>
                  <c:pt idx="1636">
                    <c:v>Rolling Mean (30 Minute)</c:v>
                  </c:pt>
                  <c:pt idx="1637">
                    <c:v>Rolling Mean (30 Minute)</c:v>
                  </c:pt>
                  <c:pt idx="1638">
                    <c:v>Rolling Mean (30 Minute)</c:v>
                  </c:pt>
                  <c:pt idx="1639">
                    <c:v>Rolling Mean (30 Minute)</c:v>
                  </c:pt>
                  <c:pt idx="1640">
                    <c:v>Rolling Mean (30 Minute)</c:v>
                  </c:pt>
                  <c:pt idx="1641">
                    <c:v>Rolling Mean (30 Minute)</c:v>
                  </c:pt>
                  <c:pt idx="1642">
                    <c:v>Rolling Mean (30 Minute)</c:v>
                  </c:pt>
                  <c:pt idx="1643">
                    <c:v>Rolling Mean (30 Minute)</c:v>
                  </c:pt>
                  <c:pt idx="1644">
                    <c:v>Rolling Mean (30 Minute)</c:v>
                  </c:pt>
                  <c:pt idx="1645">
                    <c:v>Rolling Mean (30 Minute)</c:v>
                  </c:pt>
                  <c:pt idx="1646">
                    <c:v>Rolling Mean (30 Minute)</c:v>
                  </c:pt>
                  <c:pt idx="1647">
                    <c:v>Rolling Mean (30 Minute)</c:v>
                  </c:pt>
                  <c:pt idx="1648">
                    <c:v>Rolling Mean (30 Minute)</c:v>
                  </c:pt>
                  <c:pt idx="1649">
                    <c:v>Rolling Mean (30 Minute)</c:v>
                  </c:pt>
                  <c:pt idx="1650">
                    <c:v>Rolling Mean (30 Minute)</c:v>
                  </c:pt>
                  <c:pt idx="1651">
                    <c:v>Rolling Mean (30 Minute)</c:v>
                  </c:pt>
                  <c:pt idx="1652">
                    <c:v>Rolling Mean (30 Minute)</c:v>
                  </c:pt>
                  <c:pt idx="1653">
                    <c:v>Rolling Mean (30 Minute)</c:v>
                  </c:pt>
                  <c:pt idx="1654">
                    <c:v>Rolling Mean (30 Minute)</c:v>
                  </c:pt>
                  <c:pt idx="1655">
                    <c:v>Rolling Mean (30 Minute)</c:v>
                  </c:pt>
                  <c:pt idx="1656">
                    <c:v>Rolling Mean (30 Minute)</c:v>
                  </c:pt>
                  <c:pt idx="1657">
                    <c:v>Rolling Mean (30 Minute)</c:v>
                  </c:pt>
                  <c:pt idx="1658">
                    <c:v>Rolling Mean (30 Minute)</c:v>
                  </c:pt>
                  <c:pt idx="1659">
                    <c:v>Rolling Mean (30 Minute)</c:v>
                  </c:pt>
                  <c:pt idx="1660">
                    <c:v>Rolling Mean (30 Minute)</c:v>
                  </c:pt>
                  <c:pt idx="1661">
                    <c:v>Rolling Mean (30 Minute)</c:v>
                  </c:pt>
                  <c:pt idx="1662">
                    <c:v>Rolling Mean (30 Minute)</c:v>
                  </c:pt>
                  <c:pt idx="1663">
                    <c:v>Rolling Mean (30 Minute)</c:v>
                  </c:pt>
                  <c:pt idx="1664">
                    <c:v>Rolling Mean (30 Minute)</c:v>
                  </c:pt>
                  <c:pt idx="1665">
                    <c:v>Rolling Mean (30 Minute)</c:v>
                  </c:pt>
                  <c:pt idx="1666">
                    <c:v>Rolling Mean (30 Minute)</c:v>
                  </c:pt>
                  <c:pt idx="1667">
                    <c:v>Rolling Mean (30 Minute)</c:v>
                  </c:pt>
                  <c:pt idx="1668">
                    <c:v>Rolling Mean (30 Minute)</c:v>
                  </c:pt>
                  <c:pt idx="1669">
                    <c:v>Rolling Mean (30 Minute)</c:v>
                  </c:pt>
                  <c:pt idx="1670">
                    <c:v>Rolling Mean (30 Minute)</c:v>
                  </c:pt>
                  <c:pt idx="1671">
                    <c:v>Rolling Mean (30 Minute)</c:v>
                  </c:pt>
                  <c:pt idx="1672">
                    <c:v>Rolling Mean (30 Minute)</c:v>
                  </c:pt>
                  <c:pt idx="1673">
                    <c:v>Rolling Mean (30 Minute)</c:v>
                  </c:pt>
                  <c:pt idx="1674">
                    <c:v>Rolling Mean (30 Minute)</c:v>
                  </c:pt>
                  <c:pt idx="1675">
                    <c:v>Rolling Mean (30 Minute)</c:v>
                  </c:pt>
                  <c:pt idx="1676">
                    <c:v>Rolling Mean (30 Minute)</c:v>
                  </c:pt>
                  <c:pt idx="1677">
                    <c:v>Rolling Mean (30 Minute)</c:v>
                  </c:pt>
                  <c:pt idx="1678">
                    <c:v>Rolling Mean (30 Minute)</c:v>
                  </c:pt>
                  <c:pt idx="1679">
                    <c:v>Rolling Mean (30 Minute)</c:v>
                  </c:pt>
                  <c:pt idx="1680">
                    <c:v>Rolling Mean (30 Minute)</c:v>
                  </c:pt>
                  <c:pt idx="1681">
                    <c:v>Rolling Mean (30 Minute)</c:v>
                  </c:pt>
                  <c:pt idx="1682">
                    <c:v>Rolling Mean (30 Minute)</c:v>
                  </c:pt>
                  <c:pt idx="1683">
                    <c:v>Rolling Mean (30 Minute)</c:v>
                  </c:pt>
                  <c:pt idx="1684">
                    <c:v>Rolling Mean (30 Minute)</c:v>
                  </c:pt>
                  <c:pt idx="1685">
                    <c:v>Rolling Mean (30 Minute)</c:v>
                  </c:pt>
                  <c:pt idx="1686">
                    <c:v>Rolling Mean (30 Minute)</c:v>
                  </c:pt>
                  <c:pt idx="1687">
                    <c:v>Rolling Mean (30 Minute)</c:v>
                  </c:pt>
                  <c:pt idx="1688">
                    <c:v>Rolling Mean (30 Minute)</c:v>
                  </c:pt>
                  <c:pt idx="1689">
                    <c:v>Rolling Mean (30 Minute)</c:v>
                  </c:pt>
                  <c:pt idx="1690">
                    <c:v>Rolling Mean (30 Minute)</c:v>
                  </c:pt>
                  <c:pt idx="1691">
                    <c:v>Rolling Mean (30 Minute)</c:v>
                  </c:pt>
                  <c:pt idx="1692">
                    <c:v>Rolling Mean (30 Minute)</c:v>
                  </c:pt>
                  <c:pt idx="1693">
                    <c:v>Rolling Mean (30 Minute)</c:v>
                  </c:pt>
                  <c:pt idx="1694">
                    <c:v>Rolling Mean (30 Minute)</c:v>
                  </c:pt>
                  <c:pt idx="1695">
                    <c:v>Rolling Mean (30 Minute)</c:v>
                  </c:pt>
                  <c:pt idx="1696">
                    <c:v>Rolling Mean (30 Minute)</c:v>
                  </c:pt>
                  <c:pt idx="1697">
                    <c:v>Rolling Mean (30 Minute)</c:v>
                  </c:pt>
                  <c:pt idx="1698">
                    <c:v>Rolling Mean (30 Minute)</c:v>
                  </c:pt>
                  <c:pt idx="1699">
                    <c:v>Rolling Mean (30 Minute)</c:v>
                  </c:pt>
                  <c:pt idx="1700">
                    <c:v>Rolling Mean (30 Minute)</c:v>
                  </c:pt>
                  <c:pt idx="1701">
                    <c:v>Rolling Mean (30 Minute)</c:v>
                  </c:pt>
                  <c:pt idx="1702">
                    <c:v>Rolling Mean (30 Minute)</c:v>
                  </c:pt>
                  <c:pt idx="1703">
                    <c:v>Rolling Mean (30 Minute)</c:v>
                  </c:pt>
                  <c:pt idx="1704">
                    <c:v>Rolling Mean (30 Minute)</c:v>
                  </c:pt>
                  <c:pt idx="1705">
                    <c:v>Rolling Mean (30 Minute)</c:v>
                  </c:pt>
                  <c:pt idx="1706">
                    <c:v>Rolling Mean (30 Minute)</c:v>
                  </c:pt>
                  <c:pt idx="1707">
                    <c:v>Rolling Mean (30 Minute)</c:v>
                  </c:pt>
                  <c:pt idx="1708">
                    <c:v>Rolling Mean (30 Minute)</c:v>
                  </c:pt>
                  <c:pt idx="1709">
                    <c:v>Rolling Mean (30 Minute)</c:v>
                  </c:pt>
                  <c:pt idx="1710">
                    <c:v>Rolling Mean (30 Minute)</c:v>
                  </c:pt>
                  <c:pt idx="1711">
                    <c:v>Rolling Mean (30 Minute)</c:v>
                  </c:pt>
                  <c:pt idx="1712">
                    <c:v>Rolling Mean (30 Minute)</c:v>
                  </c:pt>
                  <c:pt idx="1713">
                    <c:v>Rolling Mean (30 Minute)</c:v>
                  </c:pt>
                  <c:pt idx="1714">
                    <c:v>Rolling Mean (30 Minute)</c:v>
                  </c:pt>
                  <c:pt idx="1715">
                    <c:v>Rolling Mean (30 Minute)</c:v>
                  </c:pt>
                  <c:pt idx="1716">
                    <c:v>Rolling Mean (30 Minute)</c:v>
                  </c:pt>
                  <c:pt idx="1717">
                    <c:v>Rolling Mean (30 Minute)</c:v>
                  </c:pt>
                  <c:pt idx="1718">
                    <c:v>Rolling Mean (30 Minute)</c:v>
                  </c:pt>
                  <c:pt idx="1719">
                    <c:v>Rolling Mean (30 Minute)</c:v>
                  </c:pt>
                  <c:pt idx="1720">
                    <c:v>Rolling Mean (30 Minute)</c:v>
                  </c:pt>
                  <c:pt idx="1721">
                    <c:v>Rolling Mean (30 Minute)</c:v>
                  </c:pt>
                  <c:pt idx="1722">
                    <c:v>Rolling Mean (30 Minute)</c:v>
                  </c:pt>
                  <c:pt idx="1723">
                    <c:v>Rolling Mean (30 Minute)</c:v>
                  </c:pt>
                  <c:pt idx="1724">
                    <c:v>Rolling Mean (30 Minute)</c:v>
                  </c:pt>
                  <c:pt idx="1725">
                    <c:v>Rolling Mean (30 Minute)</c:v>
                  </c:pt>
                  <c:pt idx="1726">
                    <c:v>Rolling Mean (30 Minute)</c:v>
                  </c:pt>
                  <c:pt idx="1727">
                    <c:v>Rolling Mean (30 Minute)</c:v>
                  </c:pt>
                  <c:pt idx="1728">
                    <c:v>Rolling Mean (30 Minute)</c:v>
                  </c:pt>
                  <c:pt idx="1729">
                    <c:v>Rolling Mean (30 Minute)</c:v>
                  </c:pt>
                  <c:pt idx="1730">
                    <c:v>Rolling Mean (30 Minute)</c:v>
                  </c:pt>
                  <c:pt idx="1731">
                    <c:v>Rolling Mean (30 Minute)</c:v>
                  </c:pt>
                  <c:pt idx="1732">
                    <c:v>Rolling Mean (30 Minute)</c:v>
                  </c:pt>
                  <c:pt idx="1733">
                    <c:v>Rolling Mean (30 Minute)</c:v>
                  </c:pt>
                  <c:pt idx="1734">
                    <c:v>Rolling Mean (30 Minute)</c:v>
                  </c:pt>
                  <c:pt idx="1735">
                    <c:v>Rolling Mean (30 Minute)</c:v>
                  </c:pt>
                  <c:pt idx="1736">
                    <c:v>Rolling Mean (30 Minute)</c:v>
                  </c:pt>
                  <c:pt idx="1737">
                    <c:v>Rolling Mean (30 Minute)</c:v>
                  </c:pt>
                  <c:pt idx="1738">
                    <c:v>Rolling Mean (30 Minute)</c:v>
                  </c:pt>
                  <c:pt idx="1739">
                    <c:v>Rolling Mean (30 Minute)</c:v>
                  </c:pt>
                  <c:pt idx="1740">
                    <c:v>Rolling Mean (30 Minute)</c:v>
                  </c:pt>
                  <c:pt idx="1741">
                    <c:v>Rolling Mean (30 Minute)</c:v>
                  </c:pt>
                  <c:pt idx="1742">
                    <c:v>Rolling Mean (30 Minute)</c:v>
                  </c:pt>
                  <c:pt idx="1743">
                    <c:v>Rolling Mean (30 Minute)</c:v>
                  </c:pt>
                  <c:pt idx="1744">
                    <c:v>Rolling Mean (30 Minute)</c:v>
                  </c:pt>
                  <c:pt idx="1745">
                    <c:v>Rolling Mean (30 Minute)</c:v>
                  </c:pt>
                  <c:pt idx="1746">
                    <c:v>Rolling Mean (30 Minute)</c:v>
                  </c:pt>
                  <c:pt idx="1747">
                    <c:v>Rolling Mean (30 Minute)</c:v>
                  </c:pt>
                  <c:pt idx="1748">
                    <c:v>Rolling Mean (30 Minute)</c:v>
                  </c:pt>
                  <c:pt idx="1749">
                    <c:v>Rolling Mean (30 Minute)</c:v>
                  </c:pt>
                  <c:pt idx="1750">
                    <c:v>Rolling Mean (30 Minute)</c:v>
                  </c:pt>
                  <c:pt idx="1751">
                    <c:v>Rolling Mean (30 Minute)</c:v>
                  </c:pt>
                  <c:pt idx="1752">
                    <c:v>Rolling Mean (30 Minute)</c:v>
                  </c:pt>
                  <c:pt idx="1753">
                    <c:v>Rolling Mean (30 Minute)</c:v>
                  </c:pt>
                  <c:pt idx="1754">
                    <c:v>Rolling Mean (30 Minute)</c:v>
                  </c:pt>
                  <c:pt idx="1755">
                    <c:v>Rolling Mean (30 Minute)</c:v>
                  </c:pt>
                  <c:pt idx="1756">
                    <c:v>Rolling Mean (30 Minute)</c:v>
                  </c:pt>
                  <c:pt idx="1757">
                    <c:v>Rolling Mean (30 Minute)</c:v>
                  </c:pt>
                  <c:pt idx="1758">
                    <c:v>Rolling Mean (30 Minute)</c:v>
                  </c:pt>
                  <c:pt idx="1759">
                    <c:v>Rolling Mean (30 Minute)</c:v>
                  </c:pt>
                  <c:pt idx="1760">
                    <c:v>Rolling Mean (30 Minute)</c:v>
                  </c:pt>
                  <c:pt idx="1761">
                    <c:v>Rolling Mean (30 Minute)</c:v>
                  </c:pt>
                  <c:pt idx="1762">
                    <c:v>Rolling Mean (30 Minute)</c:v>
                  </c:pt>
                  <c:pt idx="1763">
                    <c:v>Rolling Mean (30 Minute)</c:v>
                  </c:pt>
                  <c:pt idx="1764">
                    <c:v>Rolling Mean (30 Minute)</c:v>
                  </c:pt>
                  <c:pt idx="1765">
                    <c:v>Rolling Mean (30 Minute)</c:v>
                  </c:pt>
                  <c:pt idx="1766">
                    <c:v>Rolling Mean (30 Minute)</c:v>
                  </c:pt>
                  <c:pt idx="1767">
                    <c:v>Rolling Mean (30 Minute)</c:v>
                  </c:pt>
                  <c:pt idx="1768">
                    <c:v>Rolling Mean (30 Minute)</c:v>
                  </c:pt>
                  <c:pt idx="1769">
                    <c:v>Rolling Mean (30 Minute)</c:v>
                  </c:pt>
                  <c:pt idx="1770">
                    <c:v>Rolling Mean (30 Minute)</c:v>
                  </c:pt>
                  <c:pt idx="1771">
                    <c:v>Rolling Mean (30 Minute)</c:v>
                  </c:pt>
                  <c:pt idx="1772">
                    <c:v>Rolling Mean (30 Minute)</c:v>
                  </c:pt>
                  <c:pt idx="1773">
                    <c:v>Rolling Mean (30 Minute)</c:v>
                  </c:pt>
                  <c:pt idx="1774">
                    <c:v>Rolling Mean (30 Minute)</c:v>
                  </c:pt>
                  <c:pt idx="1775">
                    <c:v>Rolling Mean (30 Minute)</c:v>
                  </c:pt>
                  <c:pt idx="1776">
                    <c:v>Rolling Mean (30 Minute)</c:v>
                  </c:pt>
                  <c:pt idx="1777">
                    <c:v>Rolling Mean (30 Minute)</c:v>
                  </c:pt>
                  <c:pt idx="1778">
                    <c:v>Rolling Mean (30 Minute)</c:v>
                  </c:pt>
                  <c:pt idx="1779">
                    <c:v>Rolling Mean (30 Minute)</c:v>
                  </c:pt>
                  <c:pt idx="1780">
                    <c:v>Rolling Mean (30 Minute)</c:v>
                  </c:pt>
                  <c:pt idx="1781">
                    <c:v>Rolling Mean (30 Minute)</c:v>
                  </c:pt>
                  <c:pt idx="1782">
                    <c:v>Rolling Mean (30 Minute)</c:v>
                  </c:pt>
                  <c:pt idx="1783">
                    <c:v>Rolling Mean (30 Minute)</c:v>
                  </c:pt>
                  <c:pt idx="1784">
                    <c:v>Rolling Mean (30 Minute)</c:v>
                  </c:pt>
                  <c:pt idx="1785">
                    <c:v>Rolling Mean (30 Minute)</c:v>
                  </c:pt>
                  <c:pt idx="1786">
                    <c:v>Rolling Mean (30 Minute)</c:v>
                  </c:pt>
                  <c:pt idx="1787">
                    <c:v>Rolling Mean (30 Minute)</c:v>
                  </c:pt>
                  <c:pt idx="1788">
                    <c:v>Rolling Mean (30 Minute)</c:v>
                  </c:pt>
                  <c:pt idx="1789">
                    <c:v>Rolling Mean (30 Minute)</c:v>
                  </c:pt>
                  <c:pt idx="1790">
                    <c:v>Rolling Mean (30 Minute)</c:v>
                  </c:pt>
                  <c:pt idx="1791">
                    <c:v>Rolling Mean (30 Minute)</c:v>
                  </c:pt>
                  <c:pt idx="1792">
                    <c:v>Rolling Mean (30 Minute)</c:v>
                  </c:pt>
                  <c:pt idx="1793">
                    <c:v>Rolling Mean (30 Minute)</c:v>
                  </c:pt>
                  <c:pt idx="1794">
                    <c:v>Rolling Mean (30 Minute)</c:v>
                  </c:pt>
                  <c:pt idx="1795">
                    <c:v>Rolling Mean (30 Minute)</c:v>
                  </c:pt>
                  <c:pt idx="1796">
                    <c:v>Rolling Mean (30 Minute)</c:v>
                  </c:pt>
                  <c:pt idx="1797">
                    <c:v>Rolling Mean (30 Minute)</c:v>
                  </c:pt>
                  <c:pt idx="1798">
                    <c:v>Rolling Mean (30 Minute)</c:v>
                  </c:pt>
                  <c:pt idx="1799">
                    <c:v>Rolling Mean (30 Minute)</c:v>
                  </c:pt>
                  <c:pt idx="1800">
                    <c:v>Rolling Mean (30 Minute)</c:v>
                  </c:pt>
                  <c:pt idx="1801">
                    <c:v>Rolling Mean (30 Minute)</c:v>
                  </c:pt>
                  <c:pt idx="1802">
                    <c:v>Rolling Mean (30 Minute)</c:v>
                  </c:pt>
                  <c:pt idx="1803">
                    <c:v>Rolling Mean (30 Minute)</c:v>
                  </c:pt>
                  <c:pt idx="1804">
                    <c:v>Rolling Mean (30 Minute)</c:v>
                  </c:pt>
                  <c:pt idx="1805">
                    <c:v>Rolling Mean (30 Minute)</c:v>
                  </c:pt>
                  <c:pt idx="1806">
                    <c:v>Rolling Mean (30 Minute)</c:v>
                  </c:pt>
                  <c:pt idx="1807">
                    <c:v>Rolling Mean (30 Minute)</c:v>
                  </c:pt>
                  <c:pt idx="1808">
                    <c:v>Rolling Mean (30 Minute)</c:v>
                  </c:pt>
                  <c:pt idx="1809">
                    <c:v>Rolling Mean (30 Minute)</c:v>
                  </c:pt>
                  <c:pt idx="1810">
                    <c:v>Rolling Mean (30 Minute)</c:v>
                  </c:pt>
                  <c:pt idx="1811">
                    <c:v>Rolling Mean (30 Minute)</c:v>
                  </c:pt>
                  <c:pt idx="1812">
                    <c:v>Rolling Mean (30 Minute)</c:v>
                  </c:pt>
                  <c:pt idx="1813">
                    <c:v>Rolling Mean (30 Minute)</c:v>
                  </c:pt>
                  <c:pt idx="1814">
                    <c:v>Rolling Mean (30 Minute)</c:v>
                  </c:pt>
                  <c:pt idx="1815">
                    <c:v>Rolling Mean (30 Minute)</c:v>
                  </c:pt>
                  <c:pt idx="1816">
                    <c:v>Rolling Mean (30 Minute)</c:v>
                  </c:pt>
                  <c:pt idx="1817">
                    <c:v>Rolling Mean (30 Minute)</c:v>
                  </c:pt>
                  <c:pt idx="1818">
                    <c:v>Rolling Mean (30 Minute)</c:v>
                  </c:pt>
                  <c:pt idx="1819">
                    <c:v>Rolling Mean (30 Minute)</c:v>
                  </c:pt>
                  <c:pt idx="1820">
                    <c:v>Rolling Mean (30 Minute)</c:v>
                  </c:pt>
                  <c:pt idx="1821">
                    <c:v>Rolling Mean (30 Minute)</c:v>
                  </c:pt>
                  <c:pt idx="1822">
                    <c:v>Rolling Mean (30 Minute)</c:v>
                  </c:pt>
                  <c:pt idx="1823">
                    <c:v>Rolling Mean (30 Minute)</c:v>
                  </c:pt>
                  <c:pt idx="1824">
                    <c:v>Rolling Mean (30 Minute)</c:v>
                  </c:pt>
                  <c:pt idx="1825">
                    <c:v>Rolling Mean (30 Minute)</c:v>
                  </c:pt>
                  <c:pt idx="1826">
                    <c:v>Rolling Mean (30 Minute)</c:v>
                  </c:pt>
                  <c:pt idx="1827">
                    <c:v>Rolling Mean (30 Minute)</c:v>
                  </c:pt>
                  <c:pt idx="1828">
                    <c:v>Rolling Mean (30 Minute)</c:v>
                  </c:pt>
                  <c:pt idx="1829">
                    <c:v>Rolling Mean (30 Minute)</c:v>
                  </c:pt>
                  <c:pt idx="1830">
                    <c:v>Rolling Mean (30 Minute)</c:v>
                  </c:pt>
                  <c:pt idx="1831">
                    <c:v>Rolling Mean (30 Minute)</c:v>
                  </c:pt>
                  <c:pt idx="1832">
                    <c:v>Rolling Mean (30 Minute)</c:v>
                  </c:pt>
                  <c:pt idx="1833">
                    <c:v>Rolling Mean (30 Minute)</c:v>
                  </c:pt>
                  <c:pt idx="1834">
                    <c:v>Rolling Mean (30 Minute)</c:v>
                  </c:pt>
                  <c:pt idx="1835">
                    <c:v>Rolling Mean (30 Minute)</c:v>
                  </c:pt>
                  <c:pt idx="1836">
                    <c:v>Rolling Mean (30 Minute)</c:v>
                  </c:pt>
                  <c:pt idx="1837">
                    <c:v>Rolling Mean (30 Minute)</c:v>
                  </c:pt>
                  <c:pt idx="1838">
                    <c:v>Rolling Mean (30 Minute)</c:v>
                  </c:pt>
                  <c:pt idx="1839">
                    <c:v>Rolling Mean (30 Minute)</c:v>
                  </c:pt>
                  <c:pt idx="1840">
                    <c:v>Rolling Mean (30 Minute)</c:v>
                  </c:pt>
                  <c:pt idx="1841">
                    <c:v>Rolling Mean (30 Minute)</c:v>
                  </c:pt>
                  <c:pt idx="1842">
                    <c:v>Rolling Mean (30 Minute)</c:v>
                  </c:pt>
                  <c:pt idx="1843">
                    <c:v>Rolling Mean (30 Minute)</c:v>
                  </c:pt>
                  <c:pt idx="1844">
                    <c:v>Rolling Mean (30 Minute)</c:v>
                  </c:pt>
                  <c:pt idx="1845">
                    <c:v>Rolling Mean (30 Minute)</c:v>
                  </c:pt>
                  <c:pt idx="1846">
                    <c:v>Rolling Mean (30 Minute)</c:v>
                  </c:pt>
                  <c:pt idx="1847">
                    <c:v>Rolling Mean (30 Minute)</c:v>
                  </c:pt>
                  <c:pt idx="1848">
                    <c:v>Rolling Mean (30 Minute)</c:v>
                  </c:pt>
                  <c:pt idx="1849">
                    <c:v>Rolling Mean (30 Minute)</c:v>
                  </c:pt>
                  <c:pt idx="1850">
                    <c:v>Rolling Mean (30 Minute)</c:v>
                  </c:pt>
                  <c:pt idx="1851">
                    <c:v>Rolling Mean (30 Minute)</c:v>
                  </c:pt>
                  <c:pt idx="1852">
                    <c:v>Rolling Mean (30 Minute)</c:v>
                  </c:pt>
                  <c:pt idx="1853">
                    <c:v>Rolling Mean (30 Minute)</c:v>
                  </c:pt>
                  <c:pt idx="1854">
                    <c:v>Rolling Mean (30 Minute)</c:v>
                  </c:pt>
                  <c:pt idx="1855">
                    <c:v>Rolling Mean (30 Minute)</c:v>
                  </c:pt>
                  <c:pt idx="1856">
                    <c:v>Rolling Mean (30 Minute)</c:v>
                  </c:pt>
                  <c:pt idx="1857">
                    <c:v>Rolling Mean (30 Minute)</c:v>
                  </c:pt>
                  <c:pt idx="1858">
                    <c:v>Rolling Mean (30 Minute)</c:v>
                  </c:pt>
                  <c:pt idx="1859">
                    <c:v>Rolling Mean (30 Minute)</c:v>
                  </c:pt>
                  <c:pt idx="1860">
                    <c:v>Rolling Mean (30 Minute)</c:v>
                  </c:pt>
                  <c:pt idx="1861">
                    <c:v>Rolling Mean (30 Minute)</c:v>
                  </c:pt>
                  <c:pt idx="1862">
                    <c:v>Rolling Mean (30 Minute)</c:v>
                  </c:pt>
                  <c:pt idx="1863">
                    <c:v>Rolling Mean (30 Minute)</c:v>
                  </c:pt>
                  <c:pt idx="1864">
                    <c:v>Rolling Mean (30 Minute)</c:v>
                  </c:pt>
                  <c:pt idx="1865">
                    <c:v>Rolling Mean (30 Minute)</c:v>
                  </c:pt>
                  <c:pt idx="1866">
                    <c:v>Rolling Mean (30 Minute)</c:v>
                  </c:pt>
                  <c:pt idx="1867">
                    <c:v>Rolling Mean (30 Minute)</c:v>
                  </c:pt>
                  <c:pt idx="1868">
                    <c:v>Rolling Mean (30 Minute)</c:v>
                  </c:pt>
                  <c:pt idx="1869">
                    <c:v>Rolling Mean (30 Minute)</c:v>
                  </c:pt>
                  <c:pt idx="1870">
                    <c:v>Rolling Mean (30 Minute)</c:v>
                  </c:pt>
                  <c:pt idx="1871">
                    <c:v>Rolling Mean (30 Minute)</c:v>
                  </c:pt>
                  <c:pt idx="1872">
                    <c:v>Rolling Mean (30 Minute)</c:v>
                  </c:pt>
                  <c:pt idx="1873">
                    <c:v>Rolling Mean (30 Minute)</c:v>
                  </c:pt>
                  <c:pt idx="1874">
                    <c:v>Rolling Mean (30 Minute)</c:v>
                  </c:pt>
                  <c:pt idx="1875">
                    <c:v>Rolling Mean (30 Minute)</c:v>
                  </c:pt>
                  <c:pt idx="1876">
                    <c:v>Rolling Mean (30 Minute)</c:v>
                  </c:pt>
                  <c:pt idx="1877">
                    <c:v>Rolling Mean (30 Minute)</c:v>
                  </c:pt>
                  <c:pt idx="1878">
                    <c:v>Rolling Mean (30 Minute)</c:v>
                  </c:pt>
                  <c:pt idx="1879">
                    <c:v>Rolling Mean (30 Minute)</c:v>
                  </c:pt>
                  <c:pt idx="1880">
                    <c:v>Rolling Mean (30 Minute)</c:v>
                  </c:pt>
                  <c:pt idx="1881">
                    <c:v>Rolling Mean (30 Minute)</c:v>
                  </c:pt>
                  <c:pt idx="1882">
                    <c:v>Rolling Mean (30 Minute)</c:v>
                  </c:pt>
                  <c:pt idx="1883">
                    <c:v>Rolling Mean (30 Minute)</c:v>
                  </c:pt>
                  <c:pt idx="1884">
                    <c:v>Rolling Mean (30 Minute)</c:v>
                  </c:pt>
                  <c:pt idx="1885">
                    <c:v>Rolling Mean (30 Minute)</c:v>
                  </c:pt>
                  <c:pt idx="1886">
                    <c:v>Rolling Mean (30 Minute)</c:v>
                  </c:pt>
                  <c:pt idx="1887">
                    <c:v>Rolling Mean (30 Minute)</c:v>
                  </c:pt>
                  <c:pt idx="1888">
                    <c:v>Rolling Mean (30 Minute)</c:v>
                  </c:pt>
                  <c:pt idx="1889">
                    <c:v>Rolling Mean (30 Minute)</c:v>
                  </c:pt>
                  <c:pt idx="1890">
                    <c:v>Rolling Mean (30 Minute)</c:v>
                  </c:pt>
                  <c:pt idx="1891">
                    <c:v>Rolling Mean (30 Minute)</c:v>
                  </c:pt>
                  <c:pt idx="1892">
                    <c:v>Rolling Mean (30 Minute)</c:v>
                  </c:pt>
                  <c:pt idx="1893">
                    <c:v>Rolling Mean (30 Minute)</c:v>
                  </c:pt>
                  <c:pt idx="1894">
                    <c:v>Rolling Mean (30 Minute)</c:v>
                  </c:pt>
                  <c:pt idx="1895">
                    <c:v>Rolling Mean (30 Minute)</c:v>
                  </c:pt>
                  <c:pt idx="1896">
                    <c:v>Rolling Mean (30 Minute)</c:v>
                  </c:pt>
                  <c:pt idx="1897">
                    <c:v>Rolling Mean (30 Minute)</c:v>
                  </c:pt>
                  <c:pt idx="1898">
                    <c:v>Rolling Mean (30 Minute)</c:v>
                  </c:pt>
                  <c:pt idx="1899">
                    <c:v>Rolling Mean (30 Minute)</c:v>
                  </c:pt>
                  <c:pt idx="1900">
                    <c:v>Rolling Mean (30 Minute)</c:v>
                  </c:pt>
                  <c:pt idx="1901">
                    <c:v>Rolling Mean (30 Minute)</c:v>
                  </c:pt>
                  <c:pt idx="1902">
                    <c:v>Rolling Mean (30 Minute)</c:v>
                  </c:pt>
                  <c:pt idx="1903">
                    <c:v>Rolling Mean (30 Minute)</c:v>
                  </c:pt>
                  <c:pt idx="1904">
                    <c:v>Rolling Mean (30 Minute)</c:v>
                  </c:pt>
                  <c:pt idx="1905">
                    <c:v>Rolling Mean (30 Minute)</c:v>
                  </c:pt>
                  <c:pt idx="1906">
                    <c:v>Rolling Mean (30 Minute)</c:v>
                  </c:pt>
                  <c:pt idx="1907">
                    <c:v>Rolling Mean (30 Minute)</c:v>
                  </c:pt>
                  <c:pt idx="1908">
                    <c:v>Rolling Mean (30 Minute)</c:v>
                  </c:pt>
                  <c:pt idx="1909">
                    <c:v>Rolling Mean (30 Minute)</c:v>
                  </c:pt>
                  <c:pt idx="1910">
                    <c:v>Rolling Mean (30 Minute)</c:v>
                  </c:pt>
                  <c:pt idx="1911">
                    <c:v>Rolling Mean (30 Minute)</c:v>
                  </c:pt>
                  <c:pt idx="1912">
                    <c:v>Rolling Mean (30 Minute)</c:v>
                  </c:pt>
                  <c:pt idx="1913">
                    <c:v>Rolling Mean (30 Minute)</c:v>
                  </c:pt>
                  <c:pt idx="1914">
                    <c:v>Rolling Mean (30 Minute)</c:v>
                  </c:pt>
                  <c:pt idx="1915">
                    <c:v>Rolling Mean (30 Minute)</c:v>
                  </c:pt>
                  <c:pt idx="1916">
                    <c:v>Rolling Mean (30 Minute)</c:v>
                  </c:pt>
                  <c:pt idx="1917">
                    <c:v>Rolling Mean (30 Minute)</c:v>
                  </c:pt>
                  <c:pt idx="1918">
                    <c:v>Rolling Mean (30 Minute)</c:v>
                  </c:pt>
                  <c:pt idx="1919">
                    <c:v>Rolling Mean (30 Minute)</c:v>
                  </c:pt>
                  <c:pt idx="1920">
                    <c:v>Rolling Mean (30 Minute)</c:v>
                  </c:pt>
                  <c:pt idx="1921">
                    <c:v>Rolling Mean (30 Minute)</c:v>
                  </c:pt>
                  <c:pt idx="1922">
                    <c:v>Rolling Mean (30 Minute)</c:v>
                  </c:pt>
                  <c:pt idx="1923">
                    <c:v>Rolling Mean (30 Minute)</c:v>
                  </c:pt>
                  <c:pt idx="1924">
                    <c:v>Rolling Mean (30 Minute)</c:v>
                  </c:pt>
                  <c:pt idx="1925">
                    <c:v>Rolling Mean (30 Minute)</c:v>
                  </c:pt>
                  <c:pt idx="1926">
                    <c:v>Rolling Mean (30 Minute)</c:v>
                  </c:pt>
                  <c:pt idx="1927">
                    <c:v>Rolling Mean (30 Minute)</c:v>
                  </c:pt>
                  <c:pt idx="1928">
                    <c:v>Rolling Mean (30 Minute)</c:v>
                  </c:pt>
                  <c:pt idx="1929">
                    <c:v>Rolling Mean (30 Minute)</c:v>
                  </c:pt>
                  <c:pt idx="1930">
                    <c:v>Rolling Mean (30 Minute)</c:v>
                  </c:pt>
                  <c:pt idx="1931">
                    <c:v>Rolling Mean (30 Minute)</c:v>
                  </c:pt>
                  <c:pt idx="1932">
                    <c:v>Rolling Mean (30 Minute)</c:v>
                  </c:pt>
                  <c:pt idx="1933">
                    <c:v>Rolling Mean (30 Minute)</c:v>
                  </c:pt>
                  <c:pt idx="1934">
                    <c:v>Rolling Mean (30 Minute)</c:v>
                  </c:pt>
                  <c:pt idx="1935">
                    <c:v>Rolling Mean (30 Minute)</c:v>
                  </c:pt>
                  <c:pt idx="1936">
                    <c:v>Rolling Mean (30 Minute)</c:v>
                  </c:pt>
                  <c:pt idx="1937">
                    <c:v>Rolling Mean (30 Minute)</c:v>
                  </c:pt>
                  <c:pt idx="1938">
                    <c:v>Rolling Mean (30 Minute)</c:v>
                  </c:pt>
                  <c:pt idx="1939">
                    <c:v>Rolling Mean (30 Minute)</c:v>
                  </c:pt>
                  <c:pt idx="1940">
                    <c:v>Rolling Mean (30 Minute)</c:v>
                  </c:pt>
                  <c:pt idx="1941">
                    <c:v>Rolling Mean (30 Minute)</c:v>
                  </c:pt>
                  <c:pt idx="1942">
                    <c:v>Rolling Mean (30 Minute)</c:v>
                  </c:pt>
                  <c:pt idx="1943">
                    <c:v>Rolling Mean (30 Minute)</c:v>
                  </c:pt>
                  <c:pt idx="1944">
                    <c:v>Rolling Mean (30 Minute)</c:v>
                  </c:pt>
                  <c:pt idx="1945">
                    <c:v>Rolling Mean (30 Minute)</c:v>
                  </c:pt>
                  <c:pt idx="1946">
                    <c:v>Rolling Mean (30 Minute)</c:v>
                  </c:pt>
                  <c:pt idx="1947">
                    <c:v>Rolling Mean (30 Minute)</c:v>
                  </c:pt>
                  <c:pt idx="1948">
                    <c:v>Rolling Mean (30 Minute)</c:v>
                  </c:pt>
                  <c:pt idx="1949">
                    <c:v>Rolling Mean (30 Minute)</c:v>
                  </c:pt>
                  <c:pt idx="1950">
                    <c:v>Rolling Mean (30 Minute)</c:v>
                  </c:pt>
                  <c:pt idx="1951">
                    <c:v>Rolling Mean (30 Minute)</c:v>
                  </c:pt>
                  <c:pt idx="1952">
                    <c:v>Rolling Mean (30 Minute)</c:v>
                  </c:pt>
                  <c:pt idx="1953">
                    <c:v>Rolling Mean (30 Minute)</c:v>
                  </c:pt>
                  <c:pt idx="1954">
                    <c:v>Rolling Mean (30 Minute)</c:v>
                  </c:pt>
                  <c:pt idx="1955">
                    <c:v>Rolling Mean (30 Minute)</c:v>
                  </c:pt>
                  <c:pt idx="1956">
                    <c:v>Rolling Mean (30 Minute)</c:v>
                  </c:pt>
                  <c:pt idx="1957">
                    <c:v>Rolling Mean (30 Minute)</c:v>
                  </c:pt>
                  <c:pt idx="1958">
                    <c:v>Rolling Mean (30 Minute)</c:v>
                  </c:pt>
                  <c:pt idx="1959">
                    <c:v>Rolling Mean (30 Minute)</c:v>
                  </c:pt>
                  <c:pt idx="1960">
                    <c:v>Rolling Mean (30 Minute)</c:v>
                  </c:pt>
                  <c:pt idx="1961">
                    <c:v>Rolling Mean (30 Minute)</c:v>
                  </c:pt>
                  <c:pt idx="1962">
                    <c:v>Rolling Mean (30 Minute)</c:v>
                  </c:pt>
                  <c:pt idx="1963">
                    <c:v>Rolling Mean (30 Minute)</c:v>
                  </c:pt>
                  <c:pt idx="1964">
                    <c:v>Rolling Mean (30 Minute)</c:v>
                  </c:pt>
                  <c:pt idx="1965">
                    <c:v>Rolling Mean (30 Minute)</c:v>
                  </c:pt>
                  <c:pt idx="1966">
                    <c:v>Rolling Mean (30 Minute)</c:v>
                  </c:pt>
                  <c:pt idx="1967">
                    <c:v>Rolling Mean (30 Minute)</c:v>
                  </c:pt>
                  <c:pt idx="1968">
                    <c:v>Rolling Mean (30 Minute)</c:v>
                  </c:pt>
                  <c:pt idx="1969">
                    <c:v>Rolling Mean (30 Minute)</c:v>
                  </c:pt>
                  <c:pt idx="1970">
                    <c:v>Rolling Mean (30 Minute)</c:v>
                  </c:pt>
                  <c:pt idx="1971">
                    <c:v>Rolling Mean (30 Minute)</c:v>
                  </c:pt>
                  <c:pt idx="1972">
                    <c:v>Rolling Mean (30 Minute)</c:v>
                  </c:pt>
                  <c:pt idx="1973">
                    <c:v>Rolling Mean (30 Minute)</c:v>
                  </c:pt>
                  <c:pt idx="1974">
                    <c:v>Rolling Mean (30 Minute)</c:v>
                  </c:pt>
                  <c:pt idx="1975">
                    <c:v>Rolling Mean (30 Minute)</c:v>
                  </c:pt>
                  <c:pt idx="1976">
                    <c:v>Rolling Mean (30 Minute)</c:v>
                  </c:pt>
                  <c:pt idx="1977">
                    <c:v>Rolling Mean (30 Minute)</c:v>
                  </c:pt>
                  <c:pt idx="1978">
                    <c:v>Rolling Mean (30 Minute)</c:v>
                  </c:pt>
                  <c:pt idx="1979">
                    <c:v>Rolling Mean (30 Minute)</c:v>
                  </c:pt>
                  <c:pt idx="1980">
                    <c:v>Rolling Mean (30 Minute)</c:v>
                  </c:pt>
                  <c:pt idx="1981">
                    <c:v>Rolling Mean (30 Minute)</c:v>
                  </c:pt>
                  <c:pt idx="1982">
                    <c:v>Rolling Mean (30 Minute)</c:v>
                  </c:pt>
                  <c:pt idx="1983">
                    <c:v>Rolling Mean (30 Minute)</c:v>
                  </c:pt>
                  <c:pt idx="1984">
                    <c:v>Rolling Mean (30 Minute)</c:v>
                  </c:pt>
                  <c:pt idx="1985">
                    <c:v>Rolling Mean (30 Minute)</c:v>
                  </c:pt>
                  <c:pt idx="1986">
                    <c:v>Rolling Mean (30 Minute)</c:v>
                  </c:pt>
                  <c:pt idx="1987">
                    <c:v>Rolling Mean (30 Minute)</c:v>
                  </c:pt>
                  <c:pt idx="1988">
                    <c:v>Rolling Mean (30 Minute)</c:v>
                  </c:pt>
                  <c:pt idx="1989">
                    <c:v>Rolling Mean (30 Minute)</c:v>
                  </c:pt>
                  <c:pt idx="1990">
                    <c:v>Rolling Mean (30 Minute)</c:v>
                  </c:pt>
                  <c:pt idx="1991">
                    <c:v>Rolling Mean (30 Minute)</c:v>
                  </c:pt>
                  <c:pt idx="1992">
                    <c:v>Rolling Mean (30 Minute)</c:v>
                  </c:pt>
                  <c:pt idx="1993">
                    <c:v>Rolling Mean (30 Minute)</c:v>
                  </c:pt>
                  <c:pt idx="1994">
                    <c:v>Rolling Mean (30 Minute)</c:v>
                  </c:pt>
                  <c:pt idx="1995">
                    <c:v>Rolling Mean (30 Minute)</c:v>
                  </c:pt>
                  <c:pt idx="1996">
                    <c:v>Rolling Mean (30 Minute)</c:v>
                  </c:pt>
                  <c:pt idx="1997">
                    <c:v>Rolling Mean (30 Minute)</c:v>
                  </c:pt>
                  <c:pt idx="1998">
                    <c:v>Rolling Mean (30 Minute)</c:v>
                  </c:pt>
                  <c:pt idx="1999">
                    <c:v>Rolling Mean (30 Minute)</c:v>
                  </c:pt>
                  <c:pt idx="2000">
                    <c:v>Rolling Mean (30 Minute)</c:v>
                  </c:pt>
                  <c:pt idx="2001">
                    <c:v>Rolling Mean (30 Minute)</c:v>
                  </c:pt>
                  <c:pt idx="2002">
                    <c:v>Rolling Mean (30 Minute)</c:v>
                  </c:pt>
                  <c:pt idx="2003">
                    <c:v>Rolling Mean (30 Minute)</c:v>
                  </c:pt>
                  <c:pt idx="2004">
                    <c:v>Rolling Mean (30 Minute)</c:v>
                  </c:pt>
                  <c:pt idx="2005">
                    <c:v>Rolling Mean (30 Minute)</c:v>
                  </c:pt>
                  <c:pt idx="2006">
                    <c:v>Rolling Mean (30 Minute)</c:v>
                  </c:pt>
                  <c:pt idx="2007">
                    <c:v>Rolling Mean (30 Minute)</c:v>
                  </c:pt>
                  <c:pt idx="2008">
                    <c:v>Rolling Mean (30 Minute)</c:v>
                  </c:pt>
                  <c:pt idx="2009">
                    <c:v>Rolling Mean (30 Minute)</c:v>
                  </c:pt>
                  <c:pt idx="2010">
                    <c:v>Rolling Mean (30 Minute)</c:v>
                  </c:pt>
                  <c:pt idx="2011">
                    <c:v>Rolling Mean (30 Minute)</c:v>
                  </c:pt>
                  <c:pt idx="2012">
                    <c:v>Rolling Mean (30 Minute)</c:v>
                  </c:pt>
                  <c:pt idx="2013">
                    <c:v>Rolling Mean (30 Minute)</c:v>
                  </c:pt>
                  <c:pt idx="2014">
                    <c:v>Rolling Mean (30 Minute)</c:v>
                  </c:pt>
                  <c:pt idx="2015">
                    <c:v>Rolling Mean (30 Minute)</c:v>
                  </c:pt>
                  <c:pt idx="2016">
                    <c:v>Rolling Mean (30 Minute)</c:v>
                  </c:pt>
                  <c:pt idx="2017">
                    <c:v>Rolling Mean (30 Minute)</c:v>
                  </c:pt>
                  <c:pt idx="2018">
                    <c:v>Rolling Mean (30 Minute)</c:v>
                  </c:pt>
                  <c:pt idx="2019">
                    <c:v>Rolling Mean (30 Minute)</c:v>
                  </c:pt>
                  <c:pt idx="2020">
                    <c:v>Rolling Mean (30 Minute)</c:v>
                  </c:pt>
                  <c:pt idx="2021">
                    <c:v>Rolling Mean (30 Minute)</c:v>
                  </c:pt>
                  <c:pt idx="2022">
                    <c:v>Rolling Mean (30 Minute)</c:v>
                  </c:pt>
                  <c:pt idx="2023">
                    <c:v>Rolling Mean (30 Minute)</c:v>
                  </c:pt>
                  <c:pt idx="2024">
                    <c:v>Rolling Mean (30 Minute)</c:v>
                  </c:pt>
                  <c:pt idx="2025">
                    <c:v>Rolling Mean (30 Minute)</c:v>
                  </c:pt>
                  <c:pt idx="2026">
                    <c:v>Rolling Mean (30 Minute)</c:v>
                  </c:pt>
                  <c:pt idx="2027">
                    <c:v>Rolling Mean (30 Minute)</c:v>
                  </c:pt>
                  <c:pt idx="2028">
                    <c:v>Rolling Mean (30 Minute)</c:v>
                  </c:pt>
                  <c:pt idx="2029">
                    <c:v>Rolling Mean (30 Minute)</c:v>
                  </c:pt>
                  <c:pt idx="2030">
                    <c:v>Rolling Mean (30 Minute)</c:v>
                  </c:pt>
                  <c:pt idx="2031">
                    <c:v>Rolling Mean (30 Minute)</c:v>
                  </c:pt>
                  <c:pt idx="2032">
                    <c:v>Rolling Mean (30 Minute)</c:v>
                  </c:pt>
                  <c:pt idx="2033">
                    <c:v>Rolling Mean (30 Minute)</c:v>
                  </c:pt>
                  <c:pt idx="2034">
                    <c:v>Rolling Mean (30 Minute)</c:v>
                  </c:pt>
                  <c:pt idx="2035">
                    <c:v>Rolling Mean (30 Minute)</c:v>
                  </c:pt>
                  <c:pt idx="2036">
                    <c:v>Rolling Mean (30 Minute)</c:v>
                  </c:pt>
                  <c:pt idx="2037">
                    <c:v>Rolling Mean (30 Minute)</c:v>
                  </c:pt>
                  <c:pt idx="2038">
                    <c:v>Rolling Mean (30 Minute)</c:v>
                  </c:pt>
                  <c:pt idx="2039">
                    <c:v>Rolling Mean (30 Minute)</c:v>
                  </c:pt>
                  <c:pt idx="2040">
                    <c:v>Rolling Mean (30 Minute)</c:v>
                  </c:pt>
                  <c:pt idx="2041">
                    <c:v>Rolling Mean (30 Minute)</c:v>
                  </c:pt>
                  <c:pt idx="2042">
                    <c:v>Rolling Mean (30 Minute)</c:v>
                  </c:pt>
                  <c:pt idx="2043">
                    <c:v>Rolling Mean (30 Minute)</c:v>
                  </c:pt>
                  <c:pt idx="2044">
                    <c:v>Rolling Mean (30 Minute)</c:v>
                  </c:pt>
                  <c:pt idx="2045">
                    <c:v>Rolling Mean (30 Minute)</c:v>
                  </c:pt>
                  <c:pt idx="2046">
                    <c:v>Rolling Mean (30 Minute)</c:v>
                  </c:pt>
                  <c:pt idx="2047">
                    <c:v>Rolling Mean (30 Minute)</c:v>
                  </c:pt>
                  <c:pt idx="2048">
                    <c:v>Rolling Mean (30 Minute)</c:v>
                  </c:pt>
                  <c:pt idx="2049">
                    <c:v>Rolling Mean (30 Minute)</c:v>
                  </c:pt>
                  <c:pt idx="2050">
                    <c:v>Rolling Mean (30 Minute)</c:v>
                  </c:pt>
                  <c:pt idx="2051">
                    <c:v>Rolling Mean (30 Minute)</c:v>
                  </c:pt>
                  <c:pt idx="2052">
                    <c:v>Rolling Mean (30 Minute)</c:v>
                  </c:pt>
                  <c:pt idx="2053">
                    <c:v>Rolling Mean (30 Minute)</c:v>
                  </c:pt>
                  <c:pt idx="2054">
                    <c:v>Rolling Mean (30 Minute)</c:v>
                  </c:pt>
                  <c:pt idx="2055">
                    <c:v>Rolling Mean (30 Minute)</c:v>
                  </c:pt>
                  <c:pt idx="2056">
                    <c:v>Rolling Mean (30 Minute)</c:v>
                  </c:pt>
                  <c:pt idx="2057">
                    <c:v>Rolling Mean (30 Minute)</c:v>
                  </c:pt>
                  <c:pt idx="2058">
                    <c:v>Rolling Mean (30 Minute)</c:v>
                  </c:pt>
                  <c:pt idx="2059">
                    <c:v>Rolling Mean (30 Minute)</c:v>
                  </c:pt>
                  <c:pt idx="2060">
                    <c:v>Rolling Mean (30 Minute)</c:v>
                  </c:pt>
                  <c:pt idx="2061">
                    <c:v>Rolling Mean (30 Minute)</c:v>
                  </c:pt>
                  <c:pt idx="2062">
                    <c:v>Rolling Mean (30 Minute)</c:v>
                  </c:pt>
                  <c:pt idx="2063">
                    <c:v>Rolling Mean (30 Minute)</c:v>
                  </c:pt>
                  <c:pt idx="2064">
                    <c:v>Rolling Mean (30 Minute)</c:v>
                  </c:pt>
                  <c:pt idx="2065">
                    <c:v>Rolling Mean (30 Minute)</c:v>
                  </c:pt>
                  <c:pt idx="2066">
                    <c:v>Rolling Mean (30 Minute)</c:v>
                  </c:pt>
                  <c:pt idx="2067">
                    <c:v>Rolling Mean (30 Minute)</c:v>
                  </c:pt>
                  <c:pt idx="2068">
                    <c:v>Rolling Mean (30 Minute)</c:v>
                  </c:pt>
                  <c:pt idx="2069">
                    <c:v>Rolling Mean (30 Minute)</c:v>
                  </c:pt>
                  <c:pt idx="2070">
                    <c:v>Rolling Mean (30 Minute)</c:v>
                  </c:pt>
                  <c:pt idx="2071">
                    <c:v>Rolling Mean (30 Minute)</c:v>
                  </c:pt>
                  <c:pt idx="2072">
                    <c:v>Rolling Mean (30 Minute)</c:v>
                  </c:pt>
                  <c:pt idx="2073">
                    <c:v>Rolling Mean (30 Minute)</c:v>
                  </c:pt>
                  <c:pt idx="2074">
                    <c:v>Rolling Mean (30 Minute)</c:v>
                  </c:pt>
                  <c:pt idx="2075">
                    <c:v>Rolling Mean (30 Minute)</c:v>
                  </c:pt>
                  <c:pt idx="2076">
                    <c:v>Rolling Mean (30 Minute)</c:v>
                  </c:pt>
                  <c:pt idx="2077">
                    <c:v>Rolling Mean (30 Minute)</c:v>
                  </c:pt>
                  <c:pt idx="2078">
                    <c:v>Rolling Mean (30 Minute)</c:v>
                  </c:pt>
                  <c:pt idx="2079">
                    <c:v>Rolling Mean (30 Minute)</c:v>
                  </c:pt>
                  <c:pt idx="2080">
                    <c:v>Rolling Mean (30 Minute)</c:v>
                  </c:pt>
                  <c:pt idx="2081">
                    <c:v>Rolling Mean (30 Minute)</c:v>
                  </c:pt>
                  <c:pt idx="2082">
                    <c:v>Rolling Mean (30 Minute)</c:v>
                  </c:pt>
                  <c:pt idx="2083">
                    <c:v>Rolling Mean (30 Minute)</c:v>
                  </c:pt>
                  <c:pt idx="2084">
                    <c:v>Rolling Mean (30 Minute)</c:v>
                  </c:pt>
                  <c:pt idx="2085">
                    <c:v>Rolling Mean (30 Minute)</c:v>
                  </c:pt>
                  <c:pt idx="2086">
                    <c:v>Rolling Mean (30 Minute)</c:v>
                  </c:pt>
                  <c:pt idx="2087">
                    <c:v>Rolling Mean (30 Minute)</c:v>
                  </c:pt>
                  <c:pt idx="2088">
                    <c:v>Rolling Mean (30 Minute)</c:v>
                  </c:pt>
                  <c:pt idx="2089">
                    <c:v>Rolling Mean (30 Minute)</c:v>
                  </c:pt>
                  <c:pt idx="2090">
                    <c:v>Rolling Mean (30 Minute)</c:v>
                  </c:pt>
                  <c:pt idx="2091">
                    <c:v>Rolling Mean (30 Minute)</c:v>
                  </c:pt>
                  <c:pt idx="2092">
                    <c:v>Rolling Mean (30 Minute)</c:v>
                  </c:pt>
                  <c:pt idx="2093">
                    <c:v>Rolling Mean (30 Minute)</c:v>
                  </c:pt>
                  <c:pt idx="2094">
                    <c:v>Rolling Mean (30 Minute)</c:v>
                  </c:pt>
                  <c:pt idx="2095">
                    <c:v>Rolling Mean (30 Minute)</c:v>
                  </c:pt>
                  <c:pt idx="2096">
                    <c:v>Rolling Mean (30 Minute)</c:v>
                  </c:pt>
                  <c:pt idx="2097">
                    <c:v>Rolling Mean (30 Minute)</c:v>
                  </c:pt>
                  <c:pt idx="2098">
                    <c:v>Rolling Mean (30 Minute)</c:v>
                  </c:pt>
                  <c:pt idx="2099">
                    <c:v>Rolling Mean (30 Minute)</c:v>
                  </c:pt>
                  <c:pt idx="2100">
                    <c:v>Rolling Mean (30 Minute)</c:v>
                  </c:pt>
                  <c:pt idx="2101">
                    <c:v>Rolling Mean (30 Minute)</c:v>
                  </c:pt>
                  <c:pt idx="2102">
                    <c:v>Rolling Mean (30 Minute)</c:v>
                  </c:pt>
                  <c:pt idx="2103">
                    <c:v>Rolling Mean (30 Minute)</c:v>
                  </c:pt>
                  <c:pt idx="2104">
                    <c:v>Rolling Mean (30 Minute)</c:v>
                  </c:pt>
                  <c:pt idx="2105">
                    <c:v>Rolling Mean (30 Minute)</c:v>
                  </c:pt>
                  <c:pt idx="2106">
                    <c:v>Rolling Mean (30 Minute)</c:v>
                  </c:pt>
                  <c:pt idx="2107">
                    <c:v>Rolling Mean (30 Minute)</c:v>
                  </c:pt>
                  <c:pt idx="2108">
                    <c:v>Rolling Mean (30 Minute)</c:v>
                  </c:pt>
                  <c:pt idx="2109">
                    <c:v>Rolling Mean (30 Minute)</c:v>
                  </c:pt>
                  <c:pt idx="2110">
                    <c:v>Rolling Mean (30 Minute)</c:v>
                  </c:pt>
                  <c:pt idx="2111">
                    <c:v>Rolling Mean (30 Minute)</c:v>
                  </c:pt>
                  <c:pt idx="2112">
                    <c:v>Rolling Mean (30 Minute)</c:v>
                  </c:pt>
                  <c:pt idx="2113">
                    <c:v>Rolling Mean (30 Minute)</c:v>
                  </c:pt>
                  <c:pt idx="2114">
                    <c:v>Rolling Mean (30 Minute)</c:v>
                  </c:pt>
                  <c:pt idx="2115">
                    <c:v>Rolling Mean (30 Minute)</c:v>
                  </c:pt>
                  <c:pt idx="2116">
                    <c:v>Rolling Mean (30 Minute)</c:v>
                  </c:pt>
                  <c:pt idx="2117">
                    <c:v>Rolling Mean (30 Minute)</c:v>
                  </c:pt>
                  <c:pt idx="2118">
                    <c:v>Rolling Mean (30 Minute)</c:v>
                  </c:pt>
                  <c:pt idx="2119">
                    <c:v>Rolling Mean (30 Minute)</c:v>
                  </c:pt>
                  <c:pt idx="2120">
                    <c:v>Rolling Mean (30 Minute)</c:v>
                  </c:pt>
                  <c:pt idx="2121">
                    <c:v>Rolling Mean (30 Minute)</c:v>
                  </c:pt>
                  <c:pt idx="2122">
                    <c:v>Rolling Mean (30 Minute)</c:v>
                  </c:pt>
                  <c:pt idx="2123">
                    <c:v>Rolling Mean (30 Minute)</c:v>
                  </c:pt>
                  <c:pt idx="2124">
                    <c:v>Rolling Mean (30 Minute)</c:v>
                  </c:pt>
                  <c:pt idx="2125">
                    <c:v>Rolling Mean (30 Minute)</c:v>
                  </c:pt>
                  <c:pt idx="2126">
                    <c:v>Rolling Mean (30 Minute)</c:v>
                  </c:pt>
                  <c:pt idx="2127">
                    <c:v>Rolling Mean (30 Minute)</c:v>
                  </c:pt>
                  <c:pt idx="2128">
                    <c:v>Rolling Mean (30 Minute)</c:v>
                  </c:pt>
                  <c:pt idx="2129">
                    <c:v>Rolling Mean (30 Minute)</c:v>
                  </c:pt>
                  <c:pt idx="2130">
                    <c:v>Rolling Mean (30 Minute)</c:v>
                  </c:pt>
                  <c:pt idx="2131">
                    <c:v>Rolling Mean (30 Minute)</c:v>
                  </c:pt>
                  <c:pt idx="2132">
                    <c:v>Rolling Mean (30 Minute)</c:v>
                  </c:pt>
                  <c:pt idx="2133">
                    <c:v>Rolling Mean (30 Minute)</c:v>
                  </c:pt>
                  <c:pt idx="2134">
                    <c:v>Rolling Mean (30 Minute)</c:v>
                  </c:pt>
                  <c:pt idx="2135">
                    <c:v>Rolling Mean (30 Minute)</c:v>
                  </c:pt>
                  <c:pt idx="2136">
                    <c:v>Rolling Mean (30 Minute)</c:v>
                  </c:pt>
                  <c:pt idx="2137">
                    <c:v>Rolling Mean (30 Minute)</c:v>
                  </c:pt>
                  <c:pt idx="2138">
                    <c:v>Rolling Mean (30 Minute)</c:v>
                  </c:pt>
                  <c:pt idx="2139">
                    <c:v>Rolling Mean (30 Minute)</c:v>
                  </c:pt>
                  <c:pt idx="2140">
                    <c:v>Rolling Mean (30 Minute)</c:v>
                  </c:pt>
                  <c:pt idx="2141">
                    <c:v>Rolling Mean (30 Minute)</c:v>
                  </c:pt>
                  <c:pt idx="2142">
                    <c:v>Rolling Mean (30 Minute)</c:v>
                  </c:pt>
                  <c:pt idx="2143">
                    <c:v>Rolling Mean (30 Minute)</c:v>
                  </c:pt>
                  <c:pt idx="2144">
                    <c:v>Rolling Mean (30 Minute)</c:v>
                  </c:pt>
                  <c:pt idx="2145">
                    <c:v>Rolling Mean (30 Minute)</c:v>
                  </c:pt>
                  <c:pt idx="2146">
                    <c:v>Rolling Mean (30 Minute)</c:v>
                  </c:pt>
                  <c:pt idx="2147">
                    <c:v>Rolling Mean (30 Minute)</c:v>
                  </c:pt>
                  <c:pt idx="2148">
                    <c:v>Rolling Mean (30 Minute)</c:v>
                  </c:pt>
                  <c:pt idx="2149">
                    <c:v>Rolling Mean (30 Minute)</c:v>
                  </c:pt>
                  <c:pt idx="2150">
                    <c:v>Rolling Mean (30 Minute)</c:v>
                  </c:pt>
                  <c:pt idx="2151">
                    <c:v>Rolling Mean (30 Minute)</c:v>
                  </c:pt>
                  <c:pt idx="2152">
                    <c:v>Rolling Mean (30 Minute)</c:v>
                  </c:pt>
                  <c:pt idx="2153">
                    <c:v>Rolling Mean (30 Minute)</c:v>
                  </c:pt>
                  <c:pt idx="2154">
                    <c:v>Rolling Mean (30 Minute)</c:v>
                  </c:pt>
                  <c:pt idx="2155">
                    <c:v>Rolling Mean (30 Minute)</c:v>
                  </c:pt>
                  <c:pt idx="2156">
                    <c:v>Rolling Mean (30 Minute)</c:v>
                  </c:pt>
                  <c:pt idx="2157">
                    <c:v>Rolling Mean (30 Minute)</c:v>
                  </c:pt>
                  <c:pt idx="2158">
                    <c:v>Rolling Mean (30 Minute)</c:v>
                  </c:pt>
                  <c:pt idx="2159">
                    <c:v>Rolling Mean (30 Minute)</c:v>
                  </c:pt>
                  <c:pt idx="2160">
                    <c:v>Rolling Mean (30 Minute)</c:v>
                  </c:pt>
                  <c:pt idx="2161">
                    <c:v>Rolling Mean (30 Minute)</c:v>
                  </c:pt>
                  <c:pt idx="2162">
                    <c:v>Rolling Mean (30 Minute)</c:v>
                  </c:pt>
                  <c:pt idx="2163">
                    <c:v>Rolling Mean (30 Minute)</c:v>
                  </c:pt>
                  <c:pt idx="2164">
                    <c:v>Rolling Mean (30 Minute)</c:v>
                  </c:pt>
                  <c:pt idx="2165">
                    <c:v>Rolling Mean (30 Minute)</c:v>
                  </c:pt>
                  <c:pt idx="2166">
                    <c:v>Rolling Mean (30 Minute)</c:v>
                  </c:pt>
                  <c:pt idx="2167">
                    <c:v>Rolling Mean (30 Minute)</c:v>
                  </c:pt>
                  <c:pt idx="2168">
                    <c:v>Rolling Mean (30 Minute)</c:v>
                  </c:pt>
                  <c:pt idx="2169">
                    <c:v>Rolling Mean (30 Minute)</c:v>
                  </c:pt>
                  <c:pt idx="2170">
                    <c:v>Rolling Mean (30 Minute)</c:v>
                  </c:pt>
                  <c:pt idx="2171">
                    <c:v>Rolling Mean (30 Minute)</c:v>
                  </c:pt>
                  <c:pt idx="2172">
                    <c:v>Rolling Mean (30 Minute)</c:v>
                  </c:pt>
                  <c:pt idx="2173">
                    <c:v>Rolling Mean (30 Minute)</c:v>
                  </c:pt>
                  <c:pt idx="2174">
                    <c:v>Rolling Mean (30 Minute)</c:v>
                  </c:pt>
                  <c:pt idx="2175">
                    <c:v>Rolling Mean (30 Minute)</c:v>
                  </c:pt>
                  <c:pt idx="2176">
                    <c:v>Rolling Mean (30 Minute)</c:v>
                  </c:pt>
                  <c:pt idx="2177">
                    <c:v>Rolling Mean (30 Minute)</c:v>
                  </c:pt>
                  <c:pt idx="2178">
                    <c:v>Rolling Mean (30 Minute)</c:v>
                  </c:pt>
                  <c:pt idx="2179">
                    <c:v>Rolling Mean (30 Minute)</c:v>
                  </c:pt>
                  <c:pt idx="2180">
                    <c:v>Rolling Mean (30 Minute)</c:v>
                  </c:pt>
                  <c:pt idx="2181">
                    <c:v>Rolling Mean (30 Minute)</c:v>
                  </c:pt>
                  <c:pt idx="2182">
                    <c:v>Rolling Mean (30 Minute)</c:v>
                  </c:pt>
                  <c:pt idx="2183">
                    <c:v>Rolling Mean (30 Minute)</c:v>
                  </c:pt>
                  <c:pt idx="2184">
                    <c:v>Rolling Mean (30 Minute)</c:v>
                  </c:pt>
                  <c:pt idx="2185">
                    <c:v>Rolling Mean (30 Minute)</c:v>
                  </c:pt>
                  <c:pt idx="2186">
                    <c:v>Rolling Mean (30 Minute)</c:v>
                  </c:pt>
                  <c:pt idx="2187">
                    <c:v>Rolling Mean (30 Minute)</c:v>
                  </c:pt>
                  <c:pt idx="2188">
                    <c:v>Rolling Mean (30 Minute)</c:v>
                  </c:pt>
                  <c:pt idx="2189">
                    <c:v>Rolling Mean (30 Minute)</c:v>
                  </c:pt>
                  <c:pt idx="2190">
                    <c:v>Rolling Mean (30 Minute)</c:v>
                  </c:pt>
                  <c:pt idx="2191">
                    <c:v>Rolling Mean (30 Minute)</c:v>
                  </c:pt>
                  <c:pt idx="2192">
                    <c:v>Rolling Mean (30 Minute)</c:v>
                  </c:pt>
                  <c:pt idx="2193">
                    <c:v>Rolling Mean (30 Minute)</c:v>
                  </c:pt>
                  <c:pt idx="2194">
                    <c:v>Rolling Mean (30 Minute)</c:v>
                  </c:pt>
                  <c:pt idx="2195">
                    <c:v>Rolling Mean (30 Minute)</c:v>
                  </c:pt>
                  <c:pt idx="2196">
                    <c:v>Rolling Mean (30 Minute)</c:v>
                  </c:pt>
                  <c:pt idx="2197">
                    <c:v>Rolling Mean (30 Minute)</c:v>
                  </c:pt>
                  <c:pt idx="2198">
                    <c:v>Rolling Mean (30 Minute)</c:v>
                  </c:pt>
                  <c:pt idx="2199">
                    <c:v>Rolling Mean (30 Minute)</c:v>
                  </c:pt>
                  <c:pt idx="2200">
                    <c:v>Rolling Mean (30 Minute)</c:v>
                  </c:pt>
                  <c:pt idx="2201">
                    <c:v>Rolling Mean (30 Minute)</c:v>
                  </c:pt>
                  <c:pt idx="2202">
                    <c:v>Rolling Mean (30 Minute)</c:v>
                  </c:pt>
                  <c:pt idx="2203">
                    <c:v>Rolling Mean (30 Minute)</c:v>
                  </c:pt>
                  <c:pt idx="2204">
                    <c:v>Rolling Mean (30 Minute)</c:v>
                  </c:pt>
                  <c:pt idx="2205">
                    <c:v>Rolling Mean (30 Minute)</c:v>
                  </c:pt>
                  <c:pt idx="2206">
                    <c:v>Rolling Mean (30 Minute)</c:v>
                  </c:pt>
                  <c:pt idx="2207">
                    <c:v>Rolling Mean (30 Minute)</c:v>
                  </c:pt>
                  <c:pt idx="2208">
                    <c:v>Rolling Mean (30 Minute)</c:v>
                  </c:pt>
                  <c:pt idx="2209">
                    <c:v>Rolling Mean (30 Minute)</c:v>
                  </c:pt>
                  <c:pt idx="2210">
                    <c:v>Rolling Mean (30 Minute)</c:v>
                  </c:pt>
                  <c:pt idx="2211">
                    <c:v>Rolling Mean (30 Minute)</c:v>
                  </c:pt>
                  <c:pt idx="2212">
                    <c:v>Rolling Mean (30 Minute)</c:v>
                  </c:pt>
                  <c:pt idx="2213">
                    <c:v>Rolling Mean (30 Minute)</c:v>
                  </c:pt>
                  <c:pt idx="2214">
                    <c:v>Rolling Mean (30 Minute)</c:v>
                  </c:pt>
                  <c:pt idx="2215">
                    <c:v>Rolling Mean (30 Minute)</c:v>
                  </c:pt>
                  <c:pt idx="2216">
                    <c:v>Rolling Mean (30 Minute)</c:v>
                  </c:pt>
                  <c:pt idx="2217">
                    <c:v>Rolling Mean (30 Minute)</c:v>
                  </c:pt>
                  <c:pt idx="2218">
                    <c:v>Rolling Mean (30 Minute)</c:v>
                  </c:pt>
                  <c:pt idx="2219">
                    <c:v>Rolling Mean (30 Minute)</c:v>
                  </c:pt>
                  <c:pt idx="2220">
                    <c:v>Rolling Mean (30 Minute)</c:v>
                  </c:pt>
                  <c:pt idx="2221">
                    <c:v>Rolling Mean (30 Minute)</c:v>
                  </c:pt>
                  <c:pt idx="2222">
                    <c:v>Rolling Mean (30 Minute)</c:v>
                  </c:pt>
                  <c:pt idx="2223">
                    <c:v>Rolling Mean (30 Minute)</c:v>
                  </c:pt>
                  <c:pt idx="2224">
                    <c:v>Rolling Mean (30 Minute)</c:v>
                  </c:pt>
                  <c:pt idx="2225">
                    <c:v>Rolling Mean (30 Minute)</c:v>
                  </c:pt>
                  <c:pt idx="2226">
                    <c:v>Rolling Mean (30 Minute)</c:v>
                  </c:pt>
                  <c:pt idx="2227">
                    <c:v>Rolling Mean (30 Minute)</c:v>
                  </c:pt>
                  <c:pt idx="2228">
                    <c:v>Rolling Mean (30 Minute)</c:v>
                  </c:pt>
                  <c:pt idx="2229">
                    <c:v>Rolling Mean (30 Minute)</c:v>
                  </c:pt>
                  <c:pt idx="2230">
                    <c:v>Rolling Mean (30 Minute)</c:v>
                  </c:pt>
                  <c:pt idx="2231">
                    <c:v>Rolling Mean (30 Minute)</c:v>
                  </c:pt>
                  <c:pt idx="2232">
                    <c:v>Rolling Mean (30 Minute)</c:v>
                  </c:pt>
                  <c:pt idx="2233">
                    <c:v>Rolling Mean (30 Minute)</c:v>
                  </c:pt>
                  <c:pt idx="2234">
                    <c:v>Rolling Mean (30 Minute)</c:v>
                  </c:pt>
                  <c:pt idx="2235">
                    <c:v>Rolling Mean (30 Minute)</c:v>
                  </c:pt>
                  <c:pt idx="2236">
                    <c:v>Rolling Mean (30 Minute)</c:v>
                  </c:pt>
                  <c:pt idx="2237">
                    <c:v>Rolling Mean (30 Minute)</c:v>
                  </c:pt>
                  <c:pt idx="2238">
                    <c:v>Rolling Mean (30 Minute)</c:v>
                  </c:pt>
                  <c:pt idx="2239">
                    <c:v>Rolling Mean (30 Minute)</c:v>
                  </c:pt>
                  <c:pt idx="2240">
                    <c:v>Rolling Mean (30 Minute)</c:v>
                  </c:pt>
                  <c:pt idx="2241">
                    <c:v>Rolling Mean (30 Minute)</c:v>
                  </c:pt>
                  <c:pt idx="2242">
                    <c:v>Rolling Mean (30 Minute)</c:v>
                  </c:pt>
                  <c:pt idx="2243">
                    <c:v>Rolling Mean (30 Minute)</c:v>
                  </c:pt>
                  <c:pt idx="2244">
                    <c:v>Rolling Mean (30 Minute)</c:v>
                  </c:pt>
                  <c:pt idx="2245">
                    <c:v>Rolling Mean (30 Minute)</c:v>
                  </c:pt>
                  <c:pt idx="2246">
                    <c:v>Rolling Mean (30 Minute)</c:v>
                  </c:pt>
                  <c:pt idx="2247">
                    <c:v>Rolling Mean (30 Minute)</c:v>
                  </c:pt>
                  <c:pt idx="2248">
                    <c:v>Rolling Mean (30 Minute)</c:v>
                  </c:pt>
                  <c:pt idx="2249">
                    <c:v>Rolling Mean (30 Minute)</c:v>
                  </c:pt>
                  <c:pt idx="2250">
                    <c:v>Rolling Mean (30 Minute)</c:v>
                  </c:pt>
                  <c:pt idx="2251">
                    <c:v>Rolling Mean (30 Minute)</c:v>
                  </c:pt>
                  <c:pt idx="2252">
                    <c:v>Rolling Mean (30 Minute)</c:v>
                  </c:pt>
                  <c:pt idx="2253">
                    <c:v>Rolling Mean (30 Minute)</c:v>
                  </c:pt>
                  <c:pt idx="2254">
                    <c:v>Rolling Mean (30 Minute)</c:v>
                  </c:pt>
                  <c:pt idx="2255">
                    <c:v>Rolling Mean (30 Minute)</c:v>
                  </c:pt>
                  <c:pt idx="2256">
                    <c:v>Rolling Mean (30 Minute)</c:v>
                  </c:pt>
                  <c:pt idx="2257">
                    <c:v>Rolling Mean (30 Minute)</c:v>
                  </c:pt>
                  <c:pt idx="2258">
                    <c:v>Rolling Mean (30 Minute)</c:v>
                  </c:pt>
                  <c:pt idx="2259">
                    <c:v>Rolling Mean (30 Minute)</c:v>
                  </c:pt>
                  <c:pt idx="2260">
                    <c:v>Rolling Mean (30 Minute)</c:v>
                  </c:pt>
                  <c:pt idx="2261">
                    <c:v>Rolling Mean (30 Minute)</c:v>
                  </c:pt>
                  <c:pt idx="2262">
                    <c:v>Rolling Mean (30 Minute)</c:v>
                  </c:pt>
                  <c:pt idx="2263">
                    <c:v>Rolling Mean (30 Minute)</c:v>
                  </c:pt>
                  <c:pt idx="2264">
                    <c:v>Rolling Mean (30 Minute)</c:v>
                  </c:pt>
                  <c:pt idx="2265">
                    <c:v>Rolling Mean (30 Minute)</c:v>
                  </c:pt>
                  <c:pt idx="2266">
                    <c:v>Rolling Mean (30 Minute)</c:v>
                  </c:pt>
                  <c:pt idx="2267">
                    <c:v>Rolling Mean (30 Minute)</c:v>
                  </c:pt>
                  <c:pt idx="2268">
                    <c:v>Rolling Mean (30 Minute)</c:v>
                  </c:pt>
                  <c:pt idx="2269">
                    <c:v>Rolling Mean (30 Minute)</c:v>
                  </c:pt>
                  <c:pt idx="2270">
                    <c:v>Rolling Mean (30 Minute)</c:v>
                  </c:pt>
                  <c:pt idx="2271">
                    <c:v>Rolling Mean (30 Minute)</c:v>
                  </c:pt>
                  <c:pt idx="2272">
                    <c:v>Rolling Mean (30 Minute)</c:v>
                  </c:pt>
                  <c:pt idx="2273">
                    <c:v>Rolling Mean (30 Minute)</c:v>
                  </c:pt>
                  <c:pt idx="2274">
                    <c:v>Rolling Mean (30 Minute)</c:v>
                  </c:pt>
                  <c:pt idx="2275">
                    <c:v>Rolling Mean (30 Minute)</c:v>
                  </c:pt>
                  <c:pt idx="2276">
                    <c:v>Rolling Mean (30 Minute)</c:v>
                  </c:pt>
                  <c:pt idx="2277">
                    <c:v>Rolling Mean (30 Minute)</c:v>
                  </c:pt>
                  <c:pt idx="2278">
                    <c:v>Rolling Mean (30 Minute)</c:v>
                  </c:pt>
                  <c:pt idx="2279">
                    <c:v>Rolling Mean (30 Minute)</c:v>
                  </c:pt>
                  <c:pt idx="2280">
                    <c:v>Rolling Mean (30 Minute)</c:v>
                  </c:pt>
                  <c:pt idx="2281">
                    <c:v>Rolling Mean (30 Minute)</c:v>
                  </c:pt>
                  <c:pt idx="2282">
                    <c:v>Rolling Mean (30 Minute)</c:v>
                  </c:pt>
                  <c:pt idx="2283">
                    <c:v>Rolling Mean (30 Minute)</c:v>
                  </c:pt>
                  <c:pt idx="2284">
                    <c:v>Rolling Mean (30 Minute)</c:v>
                  </c:pt>
                  <c:pt idx="2285">
                    <c:v>Rolling Mean (30 Minute)</c:v>
                  </c:pt>
                  <c:pt idx="2286">
                    <c:v>Rolling Mean (30 Minute)</c:v>
                  </c:pt>
                  <c:pt idx="2287">
                    <c:v>Rolling Mean (30 Minute)</c:v>
                  </c:pt>
                  <c:pt idx="2288">
                    <c:v>Rolling Mean (30 Minute)</c:v>
                  </c:pt>
                  <c:pt idx="2289">
                    <c:v>Rolling Mean (30 Minute)</c:v>
                  </c:pt>
                  <c:pt idx="2290">
                    <c:v>Rolling Mean (30 Minute)</c:v>
                  </c:pt>
                  <c:pt idx="2291">
                    <c:v>Rolling Mean (30 Minute)</c:v>
                  </c:pt>
                  <c:pt idx="2292">
                    <c:v>Rolling Mean (30 Minute)</c:v>
                  </c:pt>
                  <c:pt idx="2293">
                    <c:v>Rolling Mean (30 Minute)</c:v>
                  </c:pt>
                  <c:pt idx="2294">
                    <c:v>Rolling Mean (30 Minute)</c:v>
                  </c:pt>
                  <c:pt idx="2295">
                    <c:v>Rolling Mean (30 Minute)</c:v>
                  </c:pt>
                  <c:pt idx="2296">
                    <c:v>Rolling Mean (30 Minute)</c:v>
                  </c:pt>
                  <c:pt idx="2297">
                    <c:v>Rolling Mean (30 Minute)</c:v>
                  </c:pt>
                  <c:pt idx="2298">
                    <c:v>Rolling Mean (30 Minute)</c:v>
                  </c:pt>
                  <c:pt idx="2299">
                    <c:v>Rolling Mean (30 Minute)</c:v>
                  </c:pt>
                  <c:pt idx="2300">
                    <c:v>Rolling Mean (30 Minute)</c:v>
                  </c:pt>
                  <c:pt idx="2301">
                    <c:v>Rolling Mean (30 Minute)</c:v>
                  </c:pt>
                  <c:pt idx="2302">
                    <c:v>Rolling Mean (30 Minute)</c:v>
                  </c:pt>
                  <c:pt idx="2303">
                    <c:v>Rolling Mean (30 Minute)</c:v>
                  </c:pt>
                  <c:pt idx="2304">
                    <c:v>Rolling Mean (30 Minute)</c:v>
                  </c:pt>
                  <c:pt idx="2305">
                    <c:v>Rolling Mean (30 Minute)</c:v>
                  </c:pt>
                  <c:pt idx="2306">
                    <c:v>Rolling Mean (30 Minute)</c:v>
                  </c:pt>
                  <c:pt idx="2307">
                    <c:v>Rolling Mean (30 Minute)</c:v>
                  </c:pt>
                  <c:pt idx="2308">
                    <c:v>Rolling Mean (30 Minute)</c:v>
                  </c:pt>
                  <c:pt idx="2309">
                    <c:v>Rolling Mean (30 Minute)</c:v>
                  </c:pt>
                  <c:pt idx="2310">
                    <c:v>Rolling Mean (30 Minute)</c:v>
                  </c:pt>
                  <c:pt idx="2311">
                    <c:v>Rolling Mean (30 Minute)</c:v>
                  </c:pt>
                  <c:pt idx="2312">
                    <c:v>Rolling Mean (30 Minute)</c:v>
                  </c:pt>
                  <c:pt idx="2313">
                    <c:v>Rolling Mean (30 Minute)</c:v>
                  </c:pt>
                  <c:pt idx="2314">
                    <c:v>Rolling Mean (30 Minute)</c:v>
                  </c:pt>
                  <c:pt idx="2315">
                    <c:v>Rolling Mean (30 Minute)</c:v>
                  </c:pt>
                  <c:pt idx="2316">
                    <c:v>Rolling Mean (30 Minute)</c:v>
                  </c:pt>
                  <c:pt idx="2317">
                    <c:v>Rolling Mean (30 Minute)</c:v>
                  </c:pt>
                  <c:pt idx="2318">
                    <c:v>Rolling Mean (30 Minute)</c:v>
                  </c:pt>
                  <c:pt idx="2319">
                    <c:v>Rolling Mean (30 Minute)</c:v>
                  </c:pt>
                  <c:pt idx="2320">
                    <c:v>Rolling Mean (30 Minute)</c:v>
                  </c:pt>
                  <c:pt idx="2321">
                    <c:v>Rolling Mean (30 Minute)</c:v>
                  </c:pt>
                  <c:pt idx="2322">
                    <c:v>Rolling Mean (30 Minute)</c:v>
                  </c:pt>
                  <c:pt idx="2323">
                    <c:v>Rolling Mean (30 Minute)</c:v>
                  </c:pt>
                  <c:pt idx="2324">
                    <c:v>Rolling Mean (30 Minute)</c:v>
                  </c:pt>
                  <c:pt idx="2325">
                    <c:v>Rolling Mean (30 Minute)</c:v>
                  </c:pt>
                  <c:pt idx="2326">
                    <c:v>Rolling Mean (30 Minute)</c:v>
                  </c:pt>
                  <c:pt idx="2327">
                    <c:v>Rolling Mean (30 Minute)</c:v>
                  </c:pt>
                  <c:pt idx="2328">
                    <c:v>Rolling Mean (30 Minute)</c:v>
                  </c:pt>
                  <c:pt idx="2329">
                    <c:v>Rolling Mean (30 Minute)</c:v>
                  </c:pt>
                  <c:pt idx="2330">
                    <c:v>Rolling Mean (30 Minute)</c:v>
                  </c:pt>
                  <c:pt idx="2331">
                    <c:v>Rolling Mean (30 Minute)</c:v>
                  </c:pt>
                  <c:pt idx="2332">
                    <c:v>Rolling Mean (30 Minute)</c:v>
                  </c:pt>
                  <c:pt idx="2333">
                    <c:v>Rolling Mean (30 Minute)</c:v>
                  </c:pt>
                  <c:pt idx="2334">
                    <c:v>Rolling Mean (30 Minute)</c:v>
                  </c:pt>
                  <c:pt idx="2335">
                    <c:v>Rolling Mean (30 Minute)</c:v>
                  </c:pt>
                  <c:pt idx="2336">
                    <c:v>Rolling Mean (30 Minute)</c:v>
                  </c:pt>
                  <c:pt idx="2337">
                    <c:v>Rolling Mean (30 Minute)</c:v>
                  </c:pt>
                  <c:pt idx="2338">
                    <c:v>Rolling Mean (30 Minute)</c:v>
                  </c:pt>
                  <c:pt idx="2339">
                    <c:v>Rolling Mean (30 Minute)</c:v>
                  </c:pt>
                  <c:pt idx="2340">
                    <c:v>Rolling Mean (30 Minute)</c:v>
                  </c:pt>
                  <c:pt idx="2341">
                    <c:v>Rolling Mean (30 Minute)</c:v>
                  </c:pt>
                  <c:pt idx="2342">
                    <c:v>Rolling Mean (30 Minute)</c:v>
                  </c:pt>
                  <c:pt idx="2343">
                    <c:v>Rolling Mean (30 Minute)</c:v>
                  </c:pt>
                  <c:pt idx="2344">
                    <c:v>Rolling Mean (30 Minute)</c:v>
                  </c:pt>
                  <c:pt idx="2345">
                    <c:v>Rolling Mean (30 Minute)</c:v>
                  </c:pt>
                  <c:pt idx="2346">
                    <c:v>Rolling Mean (30 Minute)</c:v>
                  </c:pt>
                  <c:pt idx="2347">
                    <c:v>Rolling Mean (30 Minute)</c:v>
                  </c:pt>
                  <c:pt idx="2348">
                    <c:v>Rolling Mean (30 Minute)</c:v>
                  </c:pt>
                  <c:pt idx="2349">
                    <c:v>Rolling Mean (30 Minute)</c:v>
                  </c:pt>
                  <c:pt idx="2350">
                    <c:v>Rolling Mean (30 Minute)</c:v>
                  </c:pt>
                  <c:pt idx="2351">
                    <c:v>Rolling Mean (30 Minute)</c:v>
                  </c:pt>
                  <c:pt idx="2352">
                    <c:v>Rolling Mean (30 Minute)</c:v>
                  </c:pt>
                  <c:pt idx="2353">
                    <c:v>Rolling Mean (30 Minute)</c:v>
                  </c:pt>
                  <c:pt idx="2354">
                    <c:v>Rolling Mean (30 Minute)</c:v>
                  </c:pt>
                  <c:pt idx="2355">
                    <c:v>Rolling Mean (30 Minute)</c:v>
                  </c:pt>
                  <c:pt idx="2356">
                    <c:v>Rolling Mean (30 Minute)</c:v>
                  </c:pt>
                  <c:pt idx="2357">
                    <c:v>Rolling Mean (30 Minute)</c:v>
                  </c:pt>
                  <c:pt idx="2358">
                    <c:v>Rolling Mean (30 Minute)</c:v>
                  </c:pt>
                  <c:pt idx="2359">
                    <c:v>Rolling Mean (30 Minute)</c:v>
                  </c:pt>
                  <c:pt idx="2360">
                    <c:v>Rolling Mean (30 Minute)</c:v>
                  </c:pt>
                  <c:pt idx="2361">
                    <c:v>Rolling Mean (30 Minute)</c:v>
                  </c:pt>
                  <c:pt idx="2362">
                    <c:v>Rolling Mean (30 Minute)</c:v>
                  </c:pt>
                  <c:pt idx="2363">
                    <c:v>Rolling Mean (30 Minute)</c:v>
                  </c:pt>
                  <c:pt idx="2364">
                    <c:v>Rolling Mean (30 Minute)</c:v>
                  </c:pt>
                  <c:pt idx="2365">
                    <c:v>Rolling Mean (30 Minute)</c:v>
                  </c:pt>
                  <c:pt idx="2366">
                    <c:v>Rolling Mean (30 Minute)</c:v>
                  </c:pt>
                  <c:pt idx="2367">
                    <c:v>Rolling Mean (30 Minute)</c:v>
                  </c:pt>
                  <c:pt idx="2368">
                    <c:v>Rolling Mean (30 Minute)</c:v>
                  </c:pt>
                  <c:pt idx="2369">
                    <c:v>Rolling Mean (30 Minute)</c:v>
                  </c:pt>
                  <c:pt idx="2370">
                    <c:v>Rolling Mean (30 Minute)</c:v>
                  </c:pt>
                  <c:pt idx="2371">
                    <c:v>Rolling Mean (30 Minute)</c:v>
                  </c:pt>
                  <c:pt idx="2372">
                    <c:v>Rolling Mean (30 Minute)</c:v>
                  </c:pt>
                  <c:pt idx="2373">
                    <c:v>Rolling Mean (30 Minute)</c:v>
                  </c:pt>
                  <c:pt idx="2374">
                    <c:v>Rolling Mean (30 Minute)</c:v>
                  </c:pt>
                  <c:pt idx="2375">
                    <c:v>Rolling Mean (30 Minute)</c:v>
                  </c:pt>
                  <c:pt idx="2376">
                    <c:v>Rolling Mean (30 Minute)</c:v>
                  </c:pt>
                  <c:pt idx="2377">
                    <c:v>Rolling Mean (30 Minute)</c:v>
                  </c:pt>
                  <c:pt idx="2378">
                    <c:v>Rolling Mean (30 Minute)</c:v>
                  </c:pt>
                  <c:pt idx="2379">
                    <c:v>Rolling Mean (30 Minute)</c:v>
                  </c:pt>
                  <c:pt idx="2380">
                    <c:v>Rolling Mean (30 Minute)</c:v>
                  </c:pt>
                  <c:pt idx="2381">
                    <c:v>Rolling Mean (30 Minute)</c:v>
                  </c:pt>
                  <c:pt idx="2382">
                    <c:v>Rolling Mean (30 Minute)</c:v>
                  </c:pt>
                  <c:pt idx="2383">
                    <c:v>Rolling Mean (30 Minute)</c:v>
                  </c:pt>
                  <c:pt idx="2384">
                    <c:v>Rolling Mean (30 Minute)</c:v>
                  </c:pt>
                  <c:pt idx="2385">
                    <c:v>Rolling Mean (30 Minute)</c:v>
                  </c:pt>
                  <c:pt idx="2386">
                    <c:v>Rolling Mean (30 Minute)</c:v>
                  </c:pt>
                  <c:pt idx="2387">
                    <c:v>Rolling Mean (30 Minute)</c:v>
                  </c:pt>
                  <c:pt idx="2388">
                    <c:v>Rolling Mean (30 Minute)</c:v>
                  </c:pt>
                  <c:pt idx="2389">
                    <c:v>Rolling Mean (30 Minute)</c:v>
                  </c:pt>
                  <c:pt idx="2390">
                    <c:v>Rolling Mean (30 Minute)</c:v>
                  </c:pt>
                  <c:pt idx="2391">
                    <c:v>Rolling Mean (30 Minute)</c:v>
                  </c:pt>
                  <c:pt idx="2392">
                    <c:v>Rolling Mean (30 Minute)</c:v>
                  </c:pt>
                  <c:pt idx="2393">
                    <c:v>Rolling Mean (30 Minute)</c:v>
                  </c:pt>
                  <c:pt idx="2394">
                    <c:v>Rolling Mean (30 Minute)</c:v>
                  </c:pt>
                  <c:pt idx="2395">
                    <c:v>Rolling Mean (30 Minute)</c:v>
                  </c:pt>
                  <c:pt idx="2396">
                    <c:v>Rolling Mean (30 Minute)</c:v>
                  </c:pt>
                  <c:pt idx="2397">
                    <c:v>Rolling Mean (30 Minute)</c:v>
                  </c:pt>
                  <c:pt idx="2398">
                    <c:v>Rolling Mean (30 Minute)</c:v>
                  </c:pt>
                  <c:pt idx="2399">
                    <c:v>Rolling Mean (30 Minute)</c:v>
                  </c:pt>
                  <c:pt idx="2400">
                    <c:v>Rolling Mean (30 Minute)</c:v>
                  </c:pt>
                  <c:pt idx="2401">
                    <c:v>Rolling Mean (30 Minute)</c:v>
                  </c:pt>
                  <c:pt idx="2402">
                    <c:v>Rolling Mean (30 Minute)</c:v>
                  </c:pt>
                  <c:pt idx="2403">
                    <c:v>Rolling Mean (30 Minute)</c:v>
                  </c:pt>
                  <c:pt idx="2404">
                    <c:v>Rolling Mean (30 Minute)</c:v>
                  </c:pt>
                  <c:pt idx="2405">
                    <c:v>Rolling Mean (30 Minute)</c:v>
                  </c:pt>
                  <c:pt idx="2406">
                    <c:v>Rolling Mean (30 Minute)</c:v>
                  </c:pt>
                  <c:pt idx="2407">
                    <c:v>Rolling Mean (30 Minute)</c:v>
                  </c:pt>
                  <c:pt idx="2408">
                    <c:v>Rolling Mean (30 Minute)</c:v>
                  </c:pt>
                  <c:pt idx="2409">
                    <c:v>Rolling Mean (30 Minute)</c:v>
                  </c:pt>
                  <c:pt idx="2410">
                    <c:v>Rolling Mean (30 Minute)</c:v>
                  </c:pt>
                  <c:pt idx="2411">
                    <c:v>Rolling Mean (30 Minute)</c:v>
                  </c:pt>
                  <c:pt idx="2412">
                    <c:v>Rolling Mean (30 Minute)</c:v>
                  </c:pt>
                  <c:pt idx="2413">
                    <c:v>Rolling Mean (30 Minute)</c:v>
                  </c:pt>
                  <c:pt idx="2414">
                    <c:v>Rolling Mean (30 Minute)</c:v>
                  </c:pt>
                  <c:pt idx="2415">
                    <c:v>Rolling Mean (30 Minute)</c:v>
                  </c:pt>
                  <c:pt idx="2416">
                    <c:v>Rolling Mean (30 Minute)</c:v>
                  </c:pt>
                  <c:pt idx="2417">
                    <c:v>Rolling Mean (30 Minute)</c:v>
                  </c:pt>
                  <c:pt idx="2418">
                    <c:v>Rolling Mean (30 Minute)</c:v>
                  </c:pt>
                  <c:pt idx="2419">
                    <c:v>Rolling Mean (30 Minute)</c:v>
                  </c:pt>
                  <c:pt idx="2420">
                    <c:v>Rolling Mean (30 Minute)</c:v>
                  </c:pt>
                  <c:pt idx="2421">
                    <c:v>Rolling Mean (30 Minute)</c:v>
                  </c:pt>
                  <c:pt idx="2422">
                    <c:v>Rolling Mean (30 Minute)</c:v>
                  </c:pt>
                  <c:pt idx="2423">
                    <c:v>Rolling Mean (30 Minute)</c:v>
                  </c:pt>
                  <c:pt idx="2424">
                    <c:v>Rolling Mean (30 Minute)</c:v>
                  </c:pt>
                  <c:pt idx="2425">
                    <c:v>Rolling Mean (30 Minute)</c:v>
                  </c:pt>
                  <c:pt idx="2426">
                    <c:v>Rolling Mean (30 Minute)</c:v>
                  </c:pt>
                  <c:pt idx="2427">
                    <c:v>Rolling Mean (30 Minute)</c:v>
                  </c:pt>
                  <c:pt idx="2428">
                    <c:v>Rolling Mean (30 Minute)</c:v>
                  </c:pt>
                  <c:pt idx="2429">
                    <c:v>Rolling Mean (30 Minute)</c:v>
                  </c:pt>
                  <c:pt idx="2430">
                    <c:v>Rolling Mean (30 Minute)</c:v>
                  </c:pt>
                  <c:pt idx="2431">
                    <c:v>Rolling Mean (30 Minute)</c:v>
                  </c:pt>
                  <c:pt idx="2432">
                    <c:v>Rolling Mean (30 Minute)</c:v>
                  </c:pt>
                  <c:pt idx="2433">
                    <c:v>Rolling Mean (30 Minute)</c:v>
                  </c:pt>
                  <c:pt idx="2434">
                    <c:v>Rolling Mean (30 Minute)</c:v>
                  </c:pt>
                  <c:pt idx="2435">
                    <c:v>Rolling Mean (30 Minute)</c:v>
                  </c:pt>
                  <c:pt idx="2436">
                    <c:v>Rolling Mean (30 Minute)</c:v>
                  </c:pt>
                  <c:pt idx="2437">
                    <c:v>Rolling Mean (30 Minute)</c:v>
                  </c:pt>
                  <c:pt idx="2438">
                    <c:v>Rolling Mean (30 Minute)</c:v>
                  </c:pt>
                  <c:pt idx="2439">
                    <c:v>Rolling Mean (30 Minute)</c:v>
                  </c:pt>
                  <c:pt idx="2440">
                    <c:v>Rolling Mean (30 Minute)</c:v>
                  </c:pt>
                  <c:pt idx="2441">
                    <c:v>Rolling Mean (30 Minute)</c:v>
                  </c:pt>
                  <c:pt idx="2442">
                    <c:v>Rolling Mean (30 Minute)</c:v>
                  </c:pt>
                  <c:pt idx="2443">
                    <c:v>Rolling Mean (30 Minute)</c:v>
                  </c:pt>
                  <c:pt idx="2444">
                    <c:v>Rolling Mean (30 Minute)</c:v>
                  </c:pt>
                  <c:pt idx="2445">
                    <c:v>Rolling Mean (30 Minute)</c:v>
                  </c:pt>
                  <c:pt idx="2446">
                    <c:v>Rolling Mean (30 Minute)</c:v>
                  </c:pt>
                  <c:pt idx="2447">
                    <c:v>Rolling Mean (30 Minute)</c:v>
                  </c:pt>
                  <c:pt idx="2448">
                    <c:v>Rolling Mean (30 Minute)</c:v>
                  </c:pt>
                  <c:pt idx="2449">
                    <c:v>Rolling Mean (30 Minute)</c:v>
                  </c:pt>
                  <c:pt idx="2450">
                    <c:v>Rolling Mean (30 Minute)</c:v>
                  </c:pt>
                  <c:pt idx="2451">
                    <c:v>Rolling Mean (30 Minute)</c:v>
                  </c:pt>
                </c:lvl>
              </c:multiLvlStrCache>
            </c:multiLvlStrRef>
          </c:cat>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5-EEAA-4648-9585-8881DB12715D}"/>
            </c:ext>
          </c:extLst>
        </c:ser>
        <c:ser>
          <c:idx val="5"/>
          <c:order val="5"/>
          <c:tx>
            <c:strRef>
              <c:f>'DRT Rolling Mean'!$H$1</c:f>
              <c:strCache>
                <c:ptCount val="1"/>
                <c:pt idx="0">
                  <c:v>Horse Power</c:v>
                </c:pt>
              </c:strCache>
            </c:strRef>
          </c:tx>
          <c:spPr>
            <a:ln w="28575" cap="rnd">
              <a:solidFill>
                <a:schemeClr val="accent6"/>
              </a:solidFill>
              <a:round/>
            </a:ln>
            <a:effectLst/>
          </c:spPr>
          <c:marker>
            <c:symbol val="none"/>
          </c:marker>
          <c:cat>
            <c:multiLvlStrRef>
              <c:f>'DRT Rolling Mean'!$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Mean (30 Minute)</c:v>
                  </c:pt>
                  <c:pt idx="1">
                    <c:v>Rolling Mean (30 Minute)</c:v>
                  </c:pt>
                  <c:pt idx="2">
                    <c:v>Rolling Mean (30 Minute)</c:v>
                  </c:pt>
                  <c:pt idx="3">
                    <c:v>Rolling Mean (30 Minute)</c:v>
                  </c:pt>
                  <c:pt idx="4">
                    <c:v>Rolling Mean (30 Minute)</c:v>
                  </c:pt>
                  <c:pt idx="5">
                    <c:v>Rolling Mean (30 Minute)</c:v>
                  </c:pt>
                  <c:pt idx="6">
                    <c:v>Rolling Mean (30 Minute)</c:v>
                  </c:pt>
                  <c:pt idx="7">
                    <c:v>Rolling Mean (30 Minute)</c:v>
                  </c:pt>
                  <c:pt idx="8">
                    <c:v>Rolling Mean (30 Minute)</c:v>
                  </c:pt>
                  <c:pt idx="9">
                    <c:v>Rolling Mean (30 Minute)</c:v>
                  </c:pt>
                  <c:pt idx="10">
                    <c:v>Rolling Mean (30 Minute)</c:v>
                  </c:pt>
                  <c:pt idx="11">
                    <c:v>Rolling Mean (30 Minute)</c:v>
                  </c:pt>
                  <c:pt idx="12">
                    <c:v>Rolling Mean (30 Minute)</c:v>
                  </c:pt>
                  <c:pt idx="13">
                    <c:v>Rolling Mean (30 Minute)</c:v>
                  </c:pt>
                  <c:pt idx="14">
                    <c:v>Rolling Mean (30 Minute)</c:v>
                  </c:pt>
                  <c:pt idx="15">
                    <c:v>Rolling Mean (30 Minute)</c:v>
                  </c:pt>
                  <c:pt idx="16">
                    <c:v>Rolling Mean (30 Minute)</c:v>
                  </c:pt>
                  <c:pt idx="17">
                    <c:v>Rolling Mean (30 Minute)</c:v>
                  </c:pt>
                  <c:pt idx="18">
                    <c:v>Rolling Mean (30 Minute)</c:v>
                  </c:pt>
                  <c:pt idx="19">
                    <c:v>Rolling Mean (30 Minute)</c:v>
                  </c:pt>
                  <c:pt idx="20">
                    <c:v>Rolling Mean (30 Minute)</c:v>
                  </c:pt>
                  <c:pt idx="21">
                    <c:v>Rolling Mean (30 Minute)</c:v>
                  </c:pt>
                  <c:pt idx="22">
                    <c:v>Rolling Mean (30 Minute)</c:v>
                  </c:pt>
                  <c:pt idx="23">
                    <c:v>Rolling Mean (30 Minute)</c:v>
                  </c:pt>
                  <c:pt idx="24">
                    <c:v>Rolling Mean (30 Minute)</c:v>
                  </c:pt>
                  <c:pt idx="25">
                    <c:v>Rolling Mean (30 Minute)</c:v>
                  </c:pt>
                  <c:pt idx="26">
                    <c:v>Rolling Mean (30 Minute)</c:v>
                  </c:pt>
                  <c:pt idx="27">
                    <c:v>Rolling Mean (30 Minute)</c:v>
                  </c:pt>
                  <c:pt idx="28">
                    <c:v>Rolling Mean (30 Minute)</c:v>
                  </c:pt>
                  <c:pt idx="29">
                    <c:v>Rolling Mean (30 Minute)</c:v>
                  </c:pt>
                  <c:pt idx="30">
                    <c:v>Rolling Mean (30 Minute)</c:v>
                  </c:pt>
                  <c:pt idx="31">
                    <c:v>Rolling Mean (30 Minute)</c:v>
                  </c:pt>
                  <c:pt idx="32">
                    <c:v>Rolling Mean (30 Minute)</c:v>
                  </c:pt>
                  <c:pt idx="33">
                    <c:v>Rolling Mean (30 Minute)</c:v>
                  </c:pt>
                  <c:pt idx="34">
                    <c:v>Rolling Mean (30 Minute)</c:v>
                  </c:pt>
                  <c:pt idx="35">
                    <c:v>Rolling Mean (30 Minute)</c:v>
                  </c:pt>
                  <c:pt idx="36">
                    <c:v>Rolling Mean (30 Minute)</c:v>
                  </c:pt>
                  <c:pt idx="37">
                    <c:v>Rolling Mean (30 Minute)</c:v>
                  </c:pt>
                  <c:pt idx="38">
                    <c:v>Rolling Mean (30 Minute)</c:v>
                  </c:pt>
                  <c:pt idx="39">
                    <c:v>Rolling Mean (30 Minute)</c:v>
                  </c:pt>
                  <c:pt idx="40">
                    <c:v>Rolling Mean (30 Minute)</c:v>
                  </c:pt>
                  <c:pt idx="41">
                    <c:v>Rolling Mean (30 Minute)</c:v>
                  </c:pt>
                  <c:pt idx="42">
                    <c:v>Rolling Mean (30 Minute)</c:v>
                  </c:pt>
                  <c:pt idx="43">
                    <c:v>Rolling Mean (30 Minute)</c:v>
                  </c:pt>
                  <c:pt idx="44">
                    <c:v>Rolling Mean (30 Minute)</c:v>
                  </c:pt>
                  <c:pt idx="45">
                    <c:v>Rolling Mean (30 Minute)</c:v>
                  </c:pt>
                  <c:pt idx="46">
                    <c:v>Rolling Mean (30 Minute)</c:v>
                  </c:pt>
                  <c:pt idx="47">
                    <c:v>Rolling Mean (30 Minute)</c:v>
                  </c:pt>
                  <c:pt idx="48">
                    <c:v>Rolling Mean (30 Minute)</c:v>
                  </c:pt>
                  <c:pt idx="49">
                    <c:v>Rolling Mean (30 Minute)</c:v>
                  </c:pt>
                  <c:pt idx="50">
                    <c:v>Rolling Mean (30 Minute)</c:v>
                  </c:pt>
                  <c:pt idx="51">
                    <c:v>Rolling Mean (30 Minute)</c:v>
                  </c:pt>
                  <c:pt idx="52">
                    <c:v>Rolling Mean (30 Minute)</c:v>
                  </c:pt>
                  <c:pt idx="53">
                    <c:v>Rolling Mean (30 Minute)</c:v>
                  </c:pt>
                  <c:pt idx="54">
                    <c:v>Rolling Mean (30 Minute)</c:v>
                  </c:pt>
                  <c:pt idx="55">
                    <c:v>Rolling Mean (30 Minute)</c:v>
                  </c:pt>
                  <c:pt idx="56">
                    <c:v>Rolling Mean (30 Minute)</c:v>
                  </c:pt>
                  <c:pt idx="57">
                    <c:v>Rolling Mean (30 Minute)</c:v>
                  </c:pt>
                  <c:pt idx="58">
                    <c:v>Rolling Mean (30 Minute)</c:v>
                  </c:pt>
                  <c:pt idx="59">
                    <c:v>Rolling Mean (30 Minute)</c:v>
                  </c:pt>
                  <c:pt idx="60">
                    <c:v>Rolling Mean (30 Minute)</c:v>
                  </c:pt>
                  <c:pt idx="61">
                    <c:v>Rolling Mean (30 Minute)</c:v>
                  </c:pt>
                  <c:pt idx="62">
                    <c:v>Rolling Mean (30 Minute)</c:v>
                  </c:pt>
                  <c:pt idx="63">
                    <c:v>Rolling Mean (30 Minute)</c:v>
                  </c:pt>
                  <c:pt idx="64">
                    <c:v>Rolling Mean (30 Minute)</c:v>
                  </c:pt>
                  <c:pt idx="65">
                    <c:v>Rolling Mean (30 Minute)</c:v>
                  </c:pt>
                  <c:pt idx="66">
                    <c:v>Rolling Mean (30 Minute)</c:v>
                  </c:pt>
                  <c:pt idx="67">
                    <c:v>Rolling Mean (30 Minute)</c:v>
                  </c:pt>
                  <c:pt idx="68">
                    <c:v>Rolling Mean (30 Minute)</c:v>
                  </c:pt>
                  <c:pt idx="69">
                    <c:v>Rolling Mean (30 Minute)</c:v>
                  </c:pt>
                  <c:pt idx="70">
                    <c:v>Rolling Mean (30 Minute)</c:v>
                  </c:pt>
                  <c:pt idx="71">
                    <c:v>Rolling Mean (30 Minute)</c:v>
                  </c:pt>
                  <c:pt idx="72">
                    <c:v>Rolling Mean (30 Minute)</c:v>
                  </c:pt>
                  <c:pt idx="73">
                    <c:v>Rolling Mean (30 Minute)</c:v>
                  </c:pt>
                  <c:pt idx="74">
                    <c:v>Rolling Mean (30 Minute)</c:v>
                  </c:pt>
                  <c:pt idx="75">
                    <c:v>Rolling Mean (30 Minute)</c:v>
                  </c:pt>
                  <c:pt idx="76">
                    <c:v>Rolling Mean (30 Minute)</c:v>
                  </c:pt>
                  <c:pt idx="77">
                    <c:v>Rolling Mean (30 Minute)</c:v>
                  </c:pt>
                  <c:pt idx="78">
                    <c:v>Rolling Mean (30 Minute)</c:v>
                  </c:pt>
                  <c:pt idx="79">
                    <c:v>Rolling Mean (30 Minute)</c:v>
                  </c:pt>
                  <c:pt idx="80">
                    <c:v>Rolling Mean (30 Minute)</c:v>
                  </c:pt>
                  <c:pt idx="81">
                    <c:v>Rolling Mean (30 Minute)</c:v>
                  </c:pt>
                  <c:pt idx="82">
                    <c:v>Rolling Mean (30 Minute)</c:v>
                  </c:pt>
                  <c:pt idx="83">
                    <c:v>Rolling Mean (30 Minute)</c:v>
                  </c:pt>
                  <c:pt idx="84">
                    <c:v>Rolling Mean (30 Minute)</c:v>
                  </c:pt>
                  <c:pt idx="85">
                    <c:v>Rolling Mean (30 Minute)</c:v>
                  </c:pt>
                  <c:pt idx="86">
                    <c:v>Rolling Mean (30 Minute)</c:v>
                  </c:pt>
                  <c:pt idx="87">
                    <c:v>Rolling Mean (30 Minute)</c:v>
                  </c:pt>
                  <c:pt idx="88">
                    <c:v>Rolling Mean (30 Minute)</c:v>
                  </c:pt>
                  <c:pt idx="89">
                    <c:v>Rolling Mean (30 Minute)</c:v>
                  </c:pt>
                  <c:pt idx="90">
                    <c:v>Rolling Mean (30 Minute)</c:v>
                  </c:pt>
                  <c:pt idx="91">
                    <c:v>Rolling Mean (30 Minute)</c:v>
                  </c:pt>
                  <c:pt idx="92">
                    <c:v>Rolling Mean (30 Minute)</c:v>
                  </c:pt>
                  <c:pt idx="93">
                    <c:v>Rolling Mean (30 Minute)</c:v>
                  </c:pt>
                  <c:pt idx="94">
                    <c:v>Rolling Mean (30 Minute)</c:v>
                  </c:pt>
                  <c:pt idx="95">
                    <c:v>Rolling Mean (30 Minute)</c:v>
                  </c:pt>
                  <c:pt idx="96">
                    <c:v>Rolling Mean (30 Minute)</c:v>
                  </c:pt>
                  <c:pt idx="97">
                    <c:v>Rolling Mean (30 Minute)</c:v>
                  </c:pt>
                  <c:pt idx="98">
                    <c:v>Rolling Mean (30 Minute)</c:v>
                  </c:pt>
                  <c:pt idx="99">
                    <c:v>Rolling Mean (30 Minute)</c:v>
                  </c:pt>
                  <c:pt idx="100">
                    <c:v>Rolling Mean (30 Minute)</c:v>
                  </c:pt>
                  <c:pt idx="101">
                    <c:v>Rolling Mean (30 Minute)</c:v>
                  </c:pt>
                  <c:pt idx="102">
                    <c:v>Rolling Mean (30 Minute)</c:v>
                  </c:pt>
                  <c:pt idx="103">
                    <c:v>Rolling Mean (30 Minute)</c:v>
                  </c:pt>
                  <c:pt idx="104">
                    <c:v>Rolling Mean (30 Minute)</c:v>
                  </c:pt>
                  <c:pt idx="105">
                    <c:v>Rolling Mean (30 Minute)</c:v>
                  </c:pt>
                  <c:pt idx="106">
                    <c:v>Rolling Mean (30 Minute)</c:v>
                  </c:pt>
                  <c:pt idx="107">
                    <c:v>Rolling Mean (30 Minute)</c:v>
                  </c:pt>
                  <c:pt idx="108">
                    <c:v>Rolling Mean (30 Minute)</c:v>
                  </c:pt>
                  <c:pt idx="109">
                    <c:v>Rolling Mean (30 Minute)</c:v>
                  </c:pt>
                  <c:pt idx="110">
                    <c:v>Rolling Mean (30 Minute)</c:v>
                  </c:pt>
                  <c:pt idx="111">
                    <c:v>Rolling Mean (30 Minute)</c:v>
                  </c:pt>
                  <c:pt idx="112">
                    <c:v>Rolling Mean (30 Minute)</c:v>
                  </c:pt>
                  <c:pt idx="113">
                    <c:v>Rolling Mean (30 Minute)</c:v>
                  </c:pt>
                  <c:pt idx="114">
                    <c:v>Rolling Mean (30 Minute)</c:v>
                  </c:pt>
                  <c:pt idx="115">
                    <c:v>Rolling Mean (30 Minute)</c:v>
                  </c:pt>
                  <c:pt idx="116">
                    <c:v>Rolling Mean (30 Minute)</c:v>
                  </c:pt>
                  <c:pt idx="117">
                    <c:v>Rolling Mean (30 Minute)</c:v>
                  </c:pt>
                  <c:pt idx="118">
                    <c:v>Rolling Mean (30 Minute)</c:v>
                  </c:pt>
                  <c:pt idx="119">
                    <c:v>Rolling Mean (30 Minute)</c:v>
                  </c:pt>
                  <c:pt idx="120">
                    <c:v>Rolling Mean (30 Minute)</c:v>
                  </c:pt>
                  <c:pt idx="121">
                    <c:v>Rolling Mean (30 Minute)</c:v>
                  </c:pt>
                  <c:pt idx="122">
                    <c:v>Rolling Mean (30 Minute)</c:v>
                  </c:pt>
                  <c:pt idx="123">
                    <c:v>Rolling Mean (30 Minute)</c:v>
                  </c:pt>
                  <c:pt idx="124">
                    <c:v>Rolling Mean (30 Minute)</c:v>
                  </c:pt>
                  <c:pt idx="125">
                    <c:v>Rolling Mean (30 Minute)</c:v>
                  </c:pt>
                  <c:pt idx="126">
                    <c:v>Rolling Mean (30 Minute)</c:v>
                  </c:pt>
                  <c:pt idx="127">
                    <c:v>Rolling Mean (30 Minute)</c:v>
                  </c:pt>
                  <c:pt idx="128">
                    <c:v>Rolling Mean (30 Minute)</c:v>
                  </c:pt>
                  <c:pt idx="129">
                    <c:v>Rolling Mean (30 Minute)</c:v>
                  </c:pt>
                  <c:pt idx="130">
                    <c:v>Rolling Mean (30 Minute)</c:v>
                  </c:pt>
                  <c:pt idx="131">
                    <c:v>Rolling Mean (30 Minute)</c:v>
                  </c:pt>
                  <c:pt idx="132">
                    <c:v>Rolling Mean (30 Minute)</c:v>
                  </c:pt>
                  <c:pt idx="133">
                    <c:v>Rolling Mean (30 Minute)</c:v>
                  </c:pt>
                  <c:pt idx="134">
                    <c:v>Rolling Mean (30 Minute)</c:v>
                  </c:pt>
                  <c:pt idx="135">
                    <c:v>Rolling Mean (30 Minute)</c:v>
                  </c:pt>
                  <c:pt idx="136">
                    <c:v>Rolling Mean (30 Minute)</c:v>
                  </c:pt>
                  <c:pt idx="137">
                    <c:v>Rolling Mean (30 Minute)</c:v>
                  </c:pt>
                  <c:pt idx="138">
                    <c:v>Rolling Mean (30 Minute)</c:v>
                  </c:pt>
                  <c:pt idx="139">
                    <c:v>Rolling Mean (30 Minute)</c:v>
                  </c:pt>
                  <c:pt idx="140">
                    <c:v>Rolling Mean (30 Minute)</c:v>
                  </c:pt>
                  <c:pt idx="141">
                    <c:v>Rolling Mean (30 Minute)</c:v>
                  </c:pt>
                  <c:pt idx="142">
                    <c:v>Rolling Mean (30 Minute)</c:v>
                  </c:pt>
                  <c:pt idx="143">
                    <c:v>Rolling Mean (30 Minute)</c:v>
                  </c:pt>
                  <c:pt idx="144">
                    <c:v>Rolling Mean (30 Minute)</c:v>
                  </c:pt>
                  <c:pt idx="145">
                    <c:v>Rolling Mean (30 Minute)</c:v>
                  </c:pt>
                  <c:pt idx="146">
                    <c:v>Rolling Mean (30 Minute)</c:v>
                  </c:pt>
                  <c:pt idx="147">
                    <c:v>Rolling Mean (30 Minute)</c:v>
                  </c:pt>
                  <c:pt idx="148">
                    <c:v>Rolling Mean (30 Minute)</c:v>
                  </c:pt>
                  <c:pt idx="149">
                    <c:v>Rolling Mean (30 Minute)</c:v>
                  </c:pt>
                  <c:pt idx="150">
                    <c:v>Rolling Mean (30 Minute)</c:v>
                  </c:pt>
                  <c:pt idx="151">
                    <c:v>Rolling Mean (30 Minute)</c:v>
                  </c:pt>
                  <c:pt idx="152">
                    <c:v>Rolling Mean (30 Minute)</c:v>
                  </c:pt>
                  <c:pt idx="153">
                    <c:v>Rolling Mean (30 Minute)</c:v>
                  </c:pt>
                  <c:pt idx="154">
                    <c:v>Rolling Mean (30 Minute)</c:v>
                  </c:pt>
                  <c:pt idx="155">
                    <c:v>Rolling Mean (30 Minute)</c:v>
                  </c:pt>
                  <c:pt idx="156">
                    <c:v>Rolling Mean (30 Minute)</c:v>
                  </c:pt>
                  <c:pt idx="157">
                    <c:v>Rolling Mean (30 Minute)</c:v>
                  </c:pt>
                  <c:pt idx="158">
                    <c:v>Rolling Mean (30 Minute)</c:v>
                  </c:pt>
                  <c:pt idx="159">
                    <c:v>Rolling Mean (30 Minute)</c:v>
                  </c:pt>
                  <c:pt idx="160">
                    <c:v>Rolling Mean (30 Minute)</c:v>
                  </c:pt>
                  <c:pt idx="161">
                    <c:v>Rolling Mean (30 Minute)</c:v>
                  </c:pt>
                  <c:pt idx="162">
                    <c:v>Rolling Mean (30 Minute)</c:v>
                  </c:pt>
                  <c:pt idx="163">
                    <c:v>Rolling Mean (30 Minute)</c:v>
                  </c:pt>
                  <c:pt idx="164">
                    <c:v>Rolling Mean (30 Minute)</c:v>
                  </c:pt>
                  <c:pt idx="165">
                    <c:v>Rolling Mean (30 Minute)</c:v>
                  </c:pt>
                  <c:pt idx="166">
                    <c:v>Rolling Mean (30 Minute)</c:v>
                  </c:pt>
                  <c:pt idx="167">
                    <c:v>Rolling Mean (30 Minute)</c:v>
                  </c:pt>
                  <c:pt idx="168">
                    <c:v>Rolling Mean (30 Minute)</c:v>
                  </c:pt>
                  <c:pt idx="169">
                    <c:v>Rolling Mean (30 Minute)</c:v>
                  </c:pt>
                  <c:pt idx="170">
                    <c:v>Rolling Mean (30 Minute)</c:v>
                  </c:pt>
                  <c:pt idx="171">
                    <c:v>Rolling Mean (30 Minute)</c:v>
                  </c:pt>
                  <c:pt idx="172">
                    <c:v>Rolling Mean (30 Minute)</c:v>
                  </c:pt>
                  <c:pt idx="173">
                    <c:v>Rolling Mean (30 Minute)</c:v>
                  </c:pt>
                  <c:pt idx="174">
                    <c:v>Rolling Mean (30 Minute)</c:v>
                  </c:pt>
                  <c:pt idx="175">
                    <c:v>Rolling Mean (30 Minute)</c:v>
                  </c:pt>
                  <c:pt idx="176">
                    <c:v>Rolling Mean (30 Minute)</c:v>
                  </c:pt>
                  <c:pt idx="177">
                    <c:v>Rolling Mean (30 Minute)</c:v>
                  </c:pt>
                  <c:pt idx="178">
                    <c:v>Rolling Mean (30 Minute)</c:v>
                  </c:pt>
                  <c:pt idx="179">
                    <c:v>Rolling Mean (30 Minute)</c:v>
                  </c:pt>
                  <c:pt idx="180">
                    <c:v>Rolling Mean (30 Minute)</c:v>
                  </c:pt>
                  <c:pt idx="181">
                    <c:v>Rolling Mean (30 Minute)</c:v>
                  </c:pt>
                  <c:pt idx="182">
                    <c:v>Rolling Mean (30 Minute)</c:v>
                  </c:pt>
                  <c:pt idx="183">
                    <c:v>Rolling Mean (30 Minute)</c:v>
                  </c:pt>
                  <c:pt idx="184">
                    <c:v>Rolling Mean (30 Minute)</c:v>
                  </c:pt>
                  <c:pt idx="185">
                    <c:v>Rolling Mean (30 Minute)</c:v>
                  </c:pt>
                  <c:pt idx="186">
                    <c:v>Rolling Mean (30 Minute)</c:v>
                  </c:pt>
                  <c:pt idx="187">
                    <c:v>Rolling Mean (30 Minute)</c:v>
                  </c:pt>
                  <c:pt idx="188">
                    <c:v>Rolling Mean (30 Minute)</c:v>
                  </c:pt>
                  <c:pt idx="189">
                    <c:v>Rolling Mean (30 Minute)</c:v>
                  </c:pt>
                  <c:pt idx="190">
                    <c:v>Rolling Mean (30 Minute)</c:v>
                  </c:pt>
                  <c:pt idx="191">
                    <c:v>Rolling Mean (30 Minute)</c:v>
                  </c:pt>
                  <c:pt idx="192">
                    <c:v>Rolling Mean (30 Minute)</c:v>
                  </c:pt>
                  <c:pt idx="193">
                    <c:v>Rolling Mean (30 Minute)</c:v>
                  </c:pt>
                  <c:pt idx="194">
                    <c:v>Rolling Mean (30 Minute)</c:v>
                  </c:pt>
                  <c:pt idx="195">
                    <c:v>Rolling Mean (30 Minute)</c:v>
                  </c:pt>
                  <c:pt idx="196">
                    <c:v>Rolling Mean (30 Minute)</c:v>
                  </c:pt>
                  <c:pt idx="197">
                    <c:v>Rolling Mean (30 Minute)</c:v>
                  </c:pt>
                  <c:pt idx="198">
                    <c:v>Rolling Mean (30 Minute)</c:v>
                  </c:pt>
                  <c:pt idx="199">
                    <c:v>Rolling Mean (30 Minute)</c:v>
                  </c:pt>
                  <c:pt idx="200">
                    <c:v>Rolling Mean (30 Minute)</c:v>
                  </c:pt>
                  <c:pt idx="201">
                    <c:v>Rolling Mean (30 Minute)</c:v>
                  </c:pt>
                  <c:pt idx="202">
                    <c:v>Rolling Mean (30 Minute)</c:v>
                  </c:pt>
                  <c:pt idx="203">
                    <c:v>Rolling Mean (30 Minute)</c:v>
                  </c:pt>
                  <c:pt idx="204">
                    <c:v>Rolling Mean (30 Minute)</c:v>
                  </c:pt>
                  <c:pt idx="205">
                    <c:v>Rolling Mean (30 Minute)</c:v>
                  </c:pt>
                  <c:pt idx="206">
                    <c:v>Rolling Mean (30 Minute)</c:v>
                  </c:pt>
                  <c:pt idx="207">
                    <c:v>Rolling Mean (30 Minute)</c:v>
                  </c:pt>
                  <c:pt idx="208">
                    <c:v>Rolling Mean (30 Minute)</c:v>
                  </c:pt>
                  <c:pt idx="209">
                    <c:v>Rolling Mean (30 Minute)</c:v>
                  </c:pt>
                  <c:pt idx="210">
                    <c:v>Rolling Mean (30 Minute)</c:v>
                  </c:pt>
                  <c:pt idx="211">
                    <c:v>Rolling Mean (30 Minute)</c:v>
                  </c:pt>
                  <c:pt idx="212">
                    <c:v>Rolling Mean (30 Minute)</c:v>
                  </c:pt>
                  <c:pt idx="213">
                    <c:v>Rolling Mean (30 Minute)</c:v>
                  </c:pt>
                  <c:pt idx="214">
                    <c:v>Rolling Mean (30 Minute)</c:v>
                  </c:pt>
                  <c:pt idx="215">
                    <c:v>Rolling Mean (30 Minute)</c:v>
                  </c:pt>
                  <c:pt idx="216">
                    <c:v>Rolling Mean (30 Minute)</c:v>
                  </c:pt>
                  <c:pt idx="217">
                    <c:v>Rolling Mean (30 Minute)</c:v>
                  </c:pt>
                  <c:pt idx="218">
                    <c:v>Rolling Mean (30 Minute)</c:v>
                  </c:pt>
                  <c:pt idx="219">
                    <c:v>Rolling Mean (30 Minute)</c:v>
                  </c:pt>
                  <c:pt idx="220">
                    <c:v>Rolling Mean (30 Minute)</c:v>
                  </c:pt>
                  <c:pt idx="221">
                    <c:v>Rolling Mean (30 Minute)</c:v>
                  </c:pt>
                  <c:pt idx="222">
                    <c:v>Rolling Mean (30 Minute)</c:v>
                  </c:pt>
                  <c:pt idx="223">
                    <c:v>Rolling Mean (30 Minute)</c:v>
                  </c:pt>
                  <c:pt idx="224">
                    <c:v>Rolling Mean (30 Minute)</c:v>
                  </c:pt>
                  <c:pt idx="225">
                    <c:v>Rolling Mean (30 Minute)</c:v>
                  </c:pt>
                  <c:pt idx="226">
                    <c:v>Rolling Mean (30 Minute)</c:v>
                  </c:pt>
                  <c:pt idx="227">
                    <c:v>Rolling Mean (30 Minute)</c:v>
                  </c:pt>
                  <c:pt idx="228">
                    <c:v>Rolling Mean (30 Minute)</c:v>
                  </c:pt>
                  <c:pt idx="229">
                    <c:v>Rolling Mean (30 Minute)</c:v>
                  </c:pt>
                  <c:pt idx="230">
                    <c:v>Rolling Mean (30 Minute)</c:v>
                  </c:pt>
                  <c:pt idx="231">
                    <c:v>Rolling Mean (30 Minute)</c:v>
                  </c:pt>
                  <c:pt idx="232">
                    <c:v>Rolling Mean (30 Minute)</c:v>
                  </c:pt>
                  <c:pt idx="233">
                    <c:v>Rolling Mean (30 Minute)</c:v>
                  </c:pt>
                  <c:pt idx="234">
                    <c:v>Rolling Mean (30 Minute)</c:v>
                  </c:pt>
                  <c:pt idx="235">
                    <c:v>Rolling Mean (30 Minute)</c:v>
                  </c:pt>
                  <c:pt idx="236">
                    <c:v>Rolling Mean (30 Minute)</c:v>
                  </c:pt>
                  <c:pt idx="237">
                    <c:v>Rolling Mean (30 Minute)</c:v>
                  </c:pt>
                  <c:pt idx="238">
                    <c:v>Rolling Mean (30 Minute)</c:v>
                  </c:pt>
                  <c:pt idx="239">
                    <c:v>Rolling Mean (30 Minute)</c:v>
                  </c:pt>
                  <c:pt idx="240">
                    <c:v>Rolling Mean (30 Minute)</c:v>
                  </c:pt>
                  <c:pt idx="241">
                    <c:v>Rolling Mean (30 Minute)</c:v>
                  </c:pt>
                  <c:pt idx="242">
                    <c:v>Rolling Mean (30 Minute)</c:v>
                  </c:pt>
                  <c:pt idx="243">
                    <c:v>Rolling Mean (30 Minute)</c:v>
                  </c:pt>
                  <c:pt idx="244">
                    <c:v>Rolling Mean (30 Minute)</c:v>
                  </c:pt>
                  <c:pt idx="245">
                    <c:v>Rolling Mean (30 Minute)</c:v>
                  </c:pt>
                  <c:pt idx="246">
                    <c:v>Rolling Mean (30 Minute)</c:v>
                  </c:pt>
                  <c:pt idx="247">
                    <c:v>Rolling Mean (30 Minute)</c:v>
                  </c:pt>
                  <c:pt idx="248">
                    <c:v>Rolling Mean (30 Minute)</c:v>
                  </c:pt>
                  <c:pt idx="249">
                    <c:v>Rolling Mean (30 Minute)</c:v>
                  </c:pt>
                  <c:pt idx="250">
                    <c:v>Rolling Mean (30 Minute)</c:v>
                  </c:pt>
                  <c:pt idx="251">
                    <c:v>Rolling Mean (30 Minute)</c:v>
                  </c:pt>
                  <c:pt idx="252">
                    <c:v>Rolling Mean (30 Minute)</c:v>
                  </c:pt>
                  <c:pt idx="253">
                    <c:v>Rolling Mean (30 Minute)</c:v>
                  </c:pt>
                  <c:pt idx="254">
                    <c:v>Rolling Mean (30 Minute)</c:v>
                  </c:pt>
                  <c:pt idx="255">
                    <c:v>Rolling Mean (30 Minute)</c:v>
                  </c:pt>
                  <c:pt idx="256">
                    <c:v>Rolling Mean (30 Minute)</c:v>
                  </c:pt>
                  <c:pt idx="257">
                    <c:v>Rolling Mean (30 Minute)</c:v>
                  </c:pt>
                  <c:pt idx="258">
                    <c:v>Rolling Mean (30 Minute)</c:v>
                  </c:pt>
                  <c:pt idx="259">
                    <c:v>Rolling Mean (30 Minute)</c:v>
                  </c:pt>
                  <c:pt idx="260">
                    <c:v>Rolling Mean (30 Minute)</c:v>
                  </c:pt>
                  <c:pt idx="261">
                    <c:v>Rolling Mean (30 Minute)</c:v>
                  </c:pt>
                  <c:pt idx="262">
                    <c:v>Rolling Mean (30 Minute)</c:v>
                  </c:pt>
                  <c:pt idx="263">
                    <c:v>Rolling Mean (30 Minute)</c:v>
                  </c:pt>
                  <c:pt idx="264">
                    <c:v>Rolling Mean (30 Minute)</c:v>
                  </c:pt>
                  <c:pt idx="265">
                    <c:v>Rolling Mean (30 Minute)</c:v>
                  </c:pt>
                  <c:pt idx="266">
                    <c:v>Rolling Mean (30 Minute)</c:v>
                  </c:pt>
                  <c:pt idx="267">
                    <c:v>Rolling Mean (30 Minute)</c:v>
                  </c:pt>
                  <c:pt idx="268">
                    <c:v>Rolling Mean (30 Minute)</c:v>
                  </c:pt>
                  <c:pt idx="269">
                    <c:v>Rolling Mean (30 Minute)</c:v>
                  </c:pt>
                  <c:pt idx="270">
                    <c:v>Rolling Mean (30 Minute)</c:v>
                  </c:pt>
                  <c:pt idx="271">
                    <c:v>Rolling Mean (30 Minute)</c:v>
                  </c:pt>
                  <c:pt idx="272">
                    <c:v>Rolling Mean (30 Minute)</c:v>
                  </c:pt>
                  <c:pt idx="273">
                    <c:v>Rolling Mean (30 Minute)</c:v>
                  </c:pt>
                  <c:pt idx="274">
                    <c:v>Rolling Mean (30 Minute)</c:v>
                  </c:pt>
                  <c:pt idx="275">
                    <c:v>Rolling Mean (30 Minute)</c:v>
                  </c:pt>
                  <c:pt idx="276">
                    <c:v>Rolling Mean (30 Minute)</c:v>
                  </c:pt>
                  <c:pt idx="277">
                    <c:v>Rolling Mean (30 Minute)</c:v>
                  </c:pt>
                  <c:pt idx="278">
                    <c:v>Rolling Mean (30 Minute)</c:v>
                  </c:pt>
                  <c:pt idx="279">
                    <c:v>Rolling Mean (30 Minute)</c:v>
                  </c:pt>
                  <c:pt idx="280">
                    <c:v>Rolling Mean (30 Minute)</c:v>
                  </c:pt>
                  <c:pt idx="281">
                    <c:v>Rolling Mean (30 Minute)</c:v>
                  </c:pt>
                  <c:pt idx="282">
                    <c:v>Rolling Mean (30 Minute)</c:v>
                  </c:pt>
                  <c:pt idx="283">
                    <c:v>Rolling Mean (30 Minute)</c:v>
                  </c:pt>
                  <c:pt idx="284">
                    <c:v>Rolling Mean (30 Minute)</c:v>
                  </c:pt>
                  <c:pt idx="285">
                    <c:v>Rolling Mean (30 Minute)</c:v>
                  </c:pt>
                  <c:pt idx="286">
                    <c:v>Rolling Mean (30 Minute)</c:v>
                  </c:pt>
                  <c:pt idx="287">
                    <c:v>Rolling Mean (30 Minute)</c:v>
                  </c:pt>
                  <c:pt idx="288">
                    <c:v>Rolling Mean (30 Minute)</c:v>
                  </c:pt>
                  <c:pt idx="289">
                    <c:v>Rolling Mean (30 Minute)</c:v>
                  </c:pt>
                  <c:pt idx="290">
                    <c:v>Rolling Mean (30 Minute)</c:v>
                  </c:pt>
                  <c:pt idx="291">
                    <c:v>Rolling Mean (30 Minute)</c:v>
                  </c:pt>
                  <c:pt idx="292">
                    <c:v>Rolling Mean (30 Minute)</c:v>
                  </c:pt>
                  <c:pt idx="293">
                    <c:v>Rolling Mean (30 Minute)</c:v>
                  </c:pt>
                  <c:pt idx="294">
                    <c:v>Rolling Mean (30 Minute)</c:v>
                  </c:pt>
                  <c:pt idx="295">
                    <c:v>Rolling Mean (30 Minute)</c:v>
                  </c:pt>
                  <c:pt idx="296">
                    <c:v>Rolling Mean (30 Minute)</c:v>
                  </c:pt>
                  <c:pt idx="297">
                    <c:v>Rolling Mean (30 Minute)</c:v>
                  </c:pt>
                  <c:pt idx="298">
                    <c:v>Rolling Mean (30 Minute)</c:v>
                  </c:pt>
                  <c:pt idx="299">
                    <c:v>Rolling Mean (30 Minute)</c:v>
                  </c:pt>
                  <c:pt idx="300">
                    <c:v>Rolling Mean (30 Minute)</c:v>
                  </c:pt>
                  <c:pt idx="301">
                    <c:v>Rolling Mean (30 Minute)</c:v>
                  </c:pt>
                  <c:pt idx="302">
                    <c:v>Rolling Mean (30 Minute)</c:v>
                  </c:pt>
                  <c:pt idx="303">
                    <c:v>Rolling Mean (30 Minute)</c:v>
                  </c:pt>
                  <c:pt idx="304">
                    <c:v>Rolling Mean (30 Minute)</c:v>
                  </c:pt>
                  <c:pt idx="305">
                    <c:v>Rolling Mean (30 Minute)</c:v>
                  </c:pt>
                  <c:pt idx="306">
                    <c:v>Rolling Mean (30 Minute)</c:v>
                  </c:pt>
                  <c:pt idx="307">
                    <c:v>Rolling Mean (30 Minute)</c:v>
                  </c:pt>
                  <c:pt idx="308">
                    <c:v>Rolling Mean (30 Minute)</c:v>
                  </c:pt>
                  <c:pt idx="309">
                    <c:v>Rolling Mean (30 Minute)</c:v>
                  </c:pt>
                  <c:pt idx="310">
                    <c:v>Rolling Mean (30 Minute)</c:v>
                  </c:pt>
                  <c:pt idx="311">
                    <c:v>Rolling Mean (30 Minute)</c:v>
                  </c:pt>
                  <c:pt idx="312">
                    <c:v>Rolling Mean (30 Minute)</c:v>
                  </c:pt>
                  <c:pt idx="313">
                    <c:v>Rolling Mean (30 Minute)</c:v>
                  </c:pt>
                  <c:pt idx="314">
                    <c:v>Rolling Mean (30 Minute)</c:v>
                  </c:pt>
                  <c:pt idx="315">
                    <c:v>Rolling Mean (30 Minute)</c:v>
                  </c:pt>
                  <c:pt idx="316">
                    <c:v>Rolling Mean (30 Minute)</c:v>
                  </c:pt>
                  <c:pt idx="317">
                    <c:v>Rolling Mean (30 Minute)</c:v>
                  </c:pt>
                  <c:pt idx="318">
                    <c:v>Rolling Mean (30 Minute)</c:v>
                  </c:pt>
                  <c:pt idx="319">
                    <c:v>Rolling Mean (30 Minute)</c:v>
                  </c:pt>
                  <c:pt idx="320">
                    <c:v>Rolling Mean (30 Minute)</c:v>
                  </c:pt>
                  <c:pt idx="321">
                    <c:v>Rolling Mean (30 Minute)</c:v>
                  </c:pt>
                  <c:pt idx="322">
                    <c:v>Rolling Mean (30 Minute)</c:v>
                  </c:pt>
                  <c:pt idx="323">
                    <c:v>Rolling Mean (30 Minute)</c:v>
                  </c:pt>
                  <c:pt idx="324">
                    <c:v>Rolling Mean (30 Minute)</c:v>
                  </c:pt>
                  <c:pt idx="325">
                    <c:v>Rolling Mean (30 Minute)</c:v>
                  </c:pt>
                  <c:pt idx="326">
                    <c:v>Rolling Mean (30 Minute)</c:v>
                  </c:pt>
                  <c:pt idx="327">
                    <c:v>Rolling Mean (30 Minute)</c:v>
                  </c:pt>
                  <c:pt idx="328">
                    <c:v>Rolling Mean (30 Minute)</c:v>
                  </c:pt>
                  <c:pt idx="329">
                    <c:v>Rolling Mean (30 Minute)</c:v>
                  </c:pt>
                  <c:pt idx="330">
                    <c:v>Rolling Mean (30 Minute)</c:v>
                  </c:pt>
                  <c:pt idx="331">
                    <c:v>Rolling Mean (30 Minute)</c:v>
                  </c:pt>
                  <c:pt idx="332">
                    <c:v>Rolling Mean (30 Minute)</c:v>
                  </c:pt>
                  <c:pt idx="333">
                    <c:v>Rolling Mean (30 Minute)</c:v>
                  </c:pt>
                  <c:pt idx="334">
                    <c:v>Rolling Mean (30 Minute)</c:v>
                  </c:pt>
                  <c:pt idx="335">
                    <c:v>Rolling Mean (30 Minute)</c:v>
                  </c:pt>
                  <c:pt idx="336">
                    <c:v>Rolling Mean (30 Minute)</c:v>
                  </c:pt>
                  <c:pt idx="337">
                    <c:v>Rolling Mean (30 Minute)</c:v>
                  </c:pt>
                  <c:pt idx="338">
                    <c:v>Rolling Mean (30 Minute)</c:v>
                  </c:pt>
                  <c:pt idx="339">
                    <c:v>Rolling Mean (30 Minute)</c:v>
                  </c:pt>
                  <c:pt idx="340">
                    <c:v>Rolling Mean (30 Minute)</c:v>
                  </c:pt>
                  <c:pt idx="341">
                    <c:v>Rolling Mean (30 Minute)</c:v>
                  </c:pt>
                  <c:pt idx="342">
                    <c:v>Rolling Mean (30 Minute)</c:v>
                  </c:pt>
                  <c:pt idx="343">
                    <c:v>Rolling Mean (30 Minute)</c:v>
                  </c:pt>
                  <c:pt idx="344">
                    <c:v>Rolling Mean (30 Minute)</c:v>
                  </c:pt>
                  <c:pt idx="345">
                    <c:v>Rolling Mean (30 Minute)</c:v>
                  </c:pt>
                  <c:pt idx="346">
                    <c:v>Rolling Mean (30 Minute)</c:v>
                  </c:pt>
                  <c:pt idx="347">
                    <c:v>Rolling Mean (30 Minute)</c:v>
                  </c:pt>
                  <c:pt idx="348">
                    <c:v>Rolling Mean (30 Minute)</c:v>
                  </c:pt>
                  <c:pt idx="349">
                    <c:v>Rolling Mean (30 Minute)</c:v>
                  </c:pt>
                  <c:pt idx="350">
                    <c:v>Rolling Mean (30 Minute)</c:v>
                  </c:pt>
                  <c:pt idx="351">
                    <c:v>Rolling Mean (30 Minute)</c:v>
                  </c:pt>
                  <c:pt idx="352">
                    <c:v>Rolling Mean (30 Minute)</c:v>
                  </c:pt>
                  <c:pt idx="353">
                    <c:v>Rolling Mean (30 Minute)</c:v>
                  </c:pt>
                  <c:pt idx="354">
                    <c:v>Rolling Mean (30 Minute)</c:v>
                  </c:pt>
                  <c:pt idx="355">
                    <c:v>Rolling Mean (30 Minute)</c:v>
                  </c:pt>
                  <c:pt idx="356">
                    <c:v>Rolling Mean (30 Minute)</c:v>
                  </c:pt>
                  <c:pt idx="357">
                    <c:v>Rolling Mean (30 Minute)</c:v>
                  </c:pt>
                  <c:pt idx="358">
                    <c:v>Rolling Mean (30 Minute)</c:v>
                  </c:pt>
                  <c:pt idx="359">
                    <c:v>Rolling Mean (30 Minute)</c:v>
                  </c:pt>
                  <c:pt idx="360">
                    <c:v>Rolling Mean (30 Minute)</c:v>
                  </c:pt>
                  <c:pt idx="361">
                    <c:v>Rolling Mean (30 Minute)</c:v>
                  </c:pt>
                  <c:pt idx="362">
                    <c:v>Rolling Mean (30 Minute)</c:v>
                  </c:pt>
                  <c:pt idx="363">
                    <c:v>Rolling Mean (30 Minute)</c:v>
                  </c:pt>
                  <c:pt idx="364">
                    <c:v>Rolling Mean (30 Minute)</c:v>
                  </c:pt>
                  <c:pt idx="365">
                    <c:v>Rolling Mean (30 Minute)</c:v>
                  </c:pt>
                  <c:pt idx="366">
                    <c:v>Rolling Mean (30 Minute)</c:v>
                  </c:pt>
                  <c:pt idx="367">
                    <c:v>Rolling Mean (30 Minute)</c:v>
                  </c:pt>
                  <c:pt idx="368">
                    <c:v>Rolling Mean (30 Minute)</c:v>
                  </c:pt>
                  <c:pt idx="369">
                    <c:v>Rolling Mean (30 Minute)</c:v>
                  </c:pt>
                  <c:pt idx="370">
                    <c:v>Rolling Mean (30 Minute)</c:v>
                  </c:pt>
                  <c:pt idx="371">
                    <c:v>Rolling Mean (30 Minute)</c:v>
                  </c:pt>
                  <c:pt idx="372">
                    <c:v>Rolling Mean (30 Minute)</c:v>
                  </c:pt>
                  <c:pt idx="373">
                    <c:v>Rolling Mean (30 Minute)</c:v>
                  </c:pt>
                  <c:pt idx="374">
                    <c:v>Rolling Mean (30 Minute)</c:v>
                  </c:pt>
                  <c:pt idx="375">
                    <c:v>Rolling Mean (30 Minute)</c:v>
                  </c:pt>
                  <c:pt idx="376">
                    <c:v>Rolling Mean (30 Minute)</c:v>
                  </c:pt>
                  <c:pt idx="377">
                    <c:v>Rolling Mean (30 Minute)</c:v>
                  </c:pt>
                  <c:pt idx="378">
                    <c:v>Rolling Mean (30 Minute)</c:v>
                  </c:pt>
                  <c:pt idx="379">
                    <c:v>Rolling Mean (30 Minute)</c:v>
                  </c:pt>
                  <c:pt idx="380">
                    <c:v>Rolling Mean (30 Minute)</c:v>
                  </c:pt>
                  <c:pt idx="381">
                    <c:v>Rolling Mean (30 Minute)</c:v>
                  </c:pt>
                  <c:pt idx="382">
                    <c:v>Rolling Mean (30 Minute)</c:v>
                  </c:pt>
                  <c:pt idx="383">
                    <c:v>Rolling Mean (30 Minute)</c:v>
                  </c:pt>
                  <c:pt idx="384">
                    <c:v>Rolling Mean (30 Minute)</c:v>
                  </c:pt>
                  <c:pt idx="385">
                    <c:v>Rolling Mean (30 Minute)</c:v>
                  </c:pt>
                  <c:pt idx="386">
                    <c:v>Rolling Mean (30 Minute)</c:v>
                  </c:pt>
                  <c:pt idx="387">
                    <c:v>Rolling Mean (30 Minute)</c:v>
                  </c:pt>
                  <c:pt idx="388">
                    <c:v>Rolling Mean (30 Minute)</c:v>
                  </c:pt>
                  <c:pt idx="389">
                    <c:v>Rolling Mean (30 Minute)</c:v>
                  </c:pt>
                  <c:pt idx="390">
                    <c:v>Rolling Mean (30 Minute)</c:v>
                  </c:pt>
                  <c:pt idx="391">
                    <c:v>Rolling Mean (30 Minute)</c:v>
                  </c:pt>
                  <c:pt idx="392">
                    <c:v>Rolling Mean (30 Minute)</c:v>
                  </c:pt>
                  <c:pt idx="393">
                    <c:v>Rolling Mean (30 Minute)</c:v>
                  </c:pt>
                  <c:pt idx="394">
                    <c:v>Rolling Mean (30 Minute)</c:v>
                  </c:pt>
                  <c:pt idx="395">
                    <c:v>Rolling Mean (30 Minute)</c:v>
                  </c:pt>
                  <c:pt idx="396">
                    <c:v>Rolling Mean (30 Minute)</c:v>
                  </c:pt>
                  <c:pt idx="397">
                    <c:v>Rolling Mean (30 Minute)</c:v>
                  </c:pt>
                  <c:pt idx="398">
                    <c:v>Rolling Mean (30 Minute)</c:v>
                  </c:pt>
                  <c:pt idx="399">
                    <c:v>Rolling Mean (30 Minute)</c:v>
                  </c:pt>
                  <c:pt idx="400">
                    <c:v>Rolling Mean (30 Minute)</c:v>
                  </c:pt>
                  <c:pt idx="401">
                    <c:v>Rolling Mean (30 Minute)</c:v>
                  </c:pt>
                  <c:pt idx="402">
                    <c:v>Rolling Mean (30 Minute)</c:v>
                  </c:pt>
                  <c:pt idx="403">
                    <c:v>Rolling Mean (30 Minute)</c:v>
                  </c:pt>
                  <c:pt idx="404">
                    <c:v>Rolling Mean (30 Minute)</c:v>
                  </c:pt>
                  <c:pt idx="405">
                    <c:v>Rolling Mean (30 Minute)</c:v>
                  </c:pt>
                  <c:pt idx="406">
                    <c:v>Rolling Mean (30 Minute)</c:v>
                  </c:pt>
                  <c:pt idx="407">
                    <c:v>Rolling Mean (30 Minute)</c:v>
                  </c:pt>
                  <c:pt idx="408">
                    <c:v>Rolling Mean (30 Minute)</c:v>
                  </c:pt>
                  <c:pt idx="409">
                    <c:v>Rolling Mean (30 Minute)</c:v>
                  </c:pt>
                  <c:pt idx="410">
                    <c:v>Rolling Mean (30 Minute)</c:v>
                  </c:pt>
                  <c:pt idx="411">
                    <c:v>Rolling Mean (30 Minute)</c:v>
                  </c:pt>
                  <c:pt idx="412">
                    <c:v>Rolling Mean (30 Minute)</c:v>
                  </c:pt>
                  <c:pt idx="413">
                    <c:v>Rolling Mean (30 Minute)</c:v>
                  </c:pt>
                  <c:pt idx="414">
                    <c:v>Rolling Mean (30 Minute)</c:v>
                  </c:pt>
                  <c:pt idx="415">
                    <c:v>Rolling Mean (30 Minute)</c:v>
                  </c:pt>
                  <c:pt idx="416">
                    <c:v>Rolling Mean (30 Minute)</c:v>
                  </c:pt>
                  <c:pt idx="417">
                    <c:v>Rolling Mean (30 Minute)</c:v>
                  </c:pt>
                  <c:pt idx="418">
                    <c:v>Rolling Mean (30 Minute)</c:v>
                  </c:pt>
                  <c:pt idx="419">
                    <c:v>Rolling Mean (30 Minute)</c:v>
                  </c:pt>
                  <c:pt idx="420">
                    <c:v>Rolling Mean (30 Minute)</c:v>
                  </c:pt>
                  <c:pt idx="421">
                    <c:v>Rolling Mean (30 Minute)</c:v>
                  </c:pt>
                  <c:pt idx="422">
                    <c:v>Rolling Mean (30 Minute)</c:v>
                  </c:pt>
                  <c:pt idx="423">
                    <c:v>Rolling Mean (30 Minute)</c:v>
                  </c:pt>
                  <c:pt idx="424">
                    <c:v>Rolling Mean (30 Minute)</c:v>
                  </c:pt>
                  <c:pt idx="425">
                    <c:v>Rolling Mean (30 Minute)</c:v>
                  </c:pt>
                  <c:pt idx="426">
                    <c:v>Rolling Mean (30 Minute)</c:v>
                  </c:pt>
                  <c:pt idx="427">
                    <c:v>Rolling Mean (30 Minute)</c:v>
                  </c:pt>
                  <c:pt idx="428">
                    <c:v>Rolling Mean (30 Minute)</c:v>
                  </c:pt>
                  <c:pt idx="429">
                    <c:v>Rolling Mean (30 Minute)</c:v>
                  </c:pt>
                  <c:pt idx="430">
                    <c:v>Rolling Mean (30 Minute)</c:v>
                  </c:pt>
                  <c:pt idx="431">
                    <c:v>Rolling Mean (30 Minute)</c:v>
                  </c:pt>
                  <c:pt idx="432">
                    <c:v>Rolling Mean (30 Minute)</c:v>
                  </c:pt>
                  <c:pt idx="433">
                    <c:v>Rolling Mean (30 Minute)</c:v>
                  </c:pt>
                  <c:pt idx="434">
                    <c:v>Rolling Mean (30 Minute)</c:v>
                  </c:pt>
                  <c:pt idx="435">
                    <c:v>Rolling Mean (30 Minute)</c:v>
                  </c:pt>
                  <c:pt idx="436">
                    <c:v>Rolling Mean (30 Minute)</c:v>
                  </c:pt>
                  <c:pt idx="437">
                    <c:v>Rolling Mean (30 Minute)</c:v>
                  </c:pt>
                  <c:pt idx="438">
                    <c:v>Rolling Mean (30 Minute)</c:v>
                  </c:pt>
                  <c:pt idx="439">
                    <c:v>Rolling Mean (30 Minute)</c:v>
                  </c:pt>
                  <c:pt idx="440">
                    <c:v>Rolling Mean (30 Minute)</c:v>
                  </c:pt>
                  <c:pt idx="441">
                    <c:v>Rolling Mean (30 Minute)</c:v>
                  </c:pt>
                  <c:pt idx="442">
                    <c:v>Rolling Mean (30 Minute)</c:v>
                  </c:pt>
                  <c:pt idx="443">
                    <c:v>Rolling Mean (30 Minute)</c:v>
                  </c:pt>
                  <c:pt idx="444">
                    <c:v>Rolling Mean (30 Minute)</c:v>
                  </c:pt>
                  <c:pt idx="445">
                    <c:v>Rolling Mean (30 Minute)</c:v>
                  </c:pt>
                  <c:pt idx="446">
                    <c:v>Rolling Mean (30 Minute)</c:v>
                  </c:pt>
                  <c:pt idx="447">
                    <c:v>Rolling Mean (30 Minute)</c:v>
                  </c:pt>
                  <c:pt idx="448">
                    <c:v>Rolling Mean (30 Minute)</c:v>
                  </c:pt>
                  <c:pt idx="449">
                    <c:v>Rolling Mean (30 Minute)</c:v>
                  </c:pt>
                  <c:pt idx="450">
                    <c:v>Rolling Mean (30 Minute)</c:v>
                  </c:pt>
                  <c:pt idx="451">
                    <c:v>Rolling Mean (30 Minute)</c:v>
                  </c:pt>
                  <c:pt idx="452">
                    <c:v>Rolling Mean (30 Minute)</c:v>
                  </c:pt>
                  <c:pt idx="453">
                    <c:v>Rolling Mean (30 Minute)</c:v>
                  </c:pt>
                  <c:pt idx="454">
                    <c:v>Rolling Mean (30 Minute)</c:v>
                  </c:pt>
                  <c:pt idx="455">
                    <c:v>Rolling Mean (30 Minute)</c:v>
                  </c:pt>
                  <c:pt idx="456">
                    <c:v>Rolling Mean (30 Minute)</c:v>
                  </c:pt>
                  <c:pt idx="457">
                    <c:v>Rolling Mean (30 Minute)</c:v>
                  </c:pt>
                  <c:pt idx="458">
                    <c:v>Rolling Mean (30 Minute)</c:v>
                  </c:pt>
                  <c:pt idx="459">
                    <c:v>Rolling Mean (30 Minute)</c:v>
                  </c:pt>
                  <c:pt idx="460">
                    <c:v>Rolling Mean (30 Minute)</c:v>
                  </c:pt>
                  <c:pt idx="461">
                    <c:v>Rolling Mean (30 Minute)</c:v>
                  </c:pt>
                  <c:pt idx="462">
                    <c:v>Rolling Mean (30 Minute)</c:v>
                  </c:pt>
                  <c:pt idx="463">
                    <c:v>Rolling Mean (30 Minute)</c:v>
                  </c:pt>
                  <c:pt idx="464">
                    <c:v>Rolling Mean (30 Minute)</c:v>
                  </c:pt>
                  <c:pt idx="465">
                    <c:v>Rolling Mean (30 Minute)</c:v>
                  </c:pt>
                  <c:pt idx="466">
                    <c:v>Rolling Mean (30 Minute)</c:v>
                  </c:pt>
                  <c:pt idx="467">
                    <c:v>Rolling Mean (30 Minute)</c:v>
                  </c:pt>
                  <c:pt idx="468">
                    <c:v>Rolling Mean (30 Minute)</c:v>
                  </c:pt>
                  <c:pt idx="469">
                    <c:v>Rolling Mean (30 Minute)</c:v>
                  </c:pt>
                  <c:pt idx="470">
                    <c:v>Rolling Mean (30 Minute)</c:v>
                  </c:pt>
                  <c:pt idx="471">
                    <c:v>Rolling Mean (30 Minute)</c:v>
                  </c:pt>
                  <c:pt idx="472">
                    <c:v>Rolling Mean (30 Minute)</c:v>
                  </c:pt>
                  <c:pt idx="473">
                    <c:v>Rolling Mean (30 Minute)</c:v>
                  </c:pt>
                  <c:pt idx="474">
                    <c:v>Rolling Mean (30 Minute)</c:v>
                  </c:pt>
                  <c:pt idx="475">
                    <c:v>Rolling Mean (30 Minute)</c:v>
                  </c:pt>
                  <c:pt idx="476">
                    <c:v>Rolling Mean (30 Minute)</c:v>
                  </c:pt>
                  <c:pt idx="477">
                    <c:v>Rolling Mean (30 Minute)</c:v>
                  </c:pt>
                  <c:pt idx="478">
                    <c:v>Rolling Mean (30 Minute)</c:v>
                  </c:pt>
                  <c:pt idx="479">
                    <c:v>Rolling Mean (30 Minute)</c:v>
                  </c:pt>
                  <c:pt idx="480">
                    <c:v>Rolling Mean (30 Minute)</c:v>
                  </c:pt>
                  <c:pt idx="481">
                    <c:v>Rolling Mean (30 Minute)</c:v>
                  </c:pt>
                  <c:pt idx="482">
                    <c:v>Rolling Mean (30 Minute)</c:v>
                  </c:pt>
                  <c:pt idx="483">
                    <c:v>Rolling Mean (30 Minute)</c:v>
                  </c:pt>
                  <c:pt idx="484">
                    <c:v>Rolling Mean (30 Minute)</c:v>
                  </c:pt>
                  <c:pt idx="485">
                    <c:v>Rolling Mean (30 Minute)</c:v>
                  </c:pt>
                  <c:pt idx="486">
                    <c:v>Rolling Mean (30 Minute)</c:v>
                  </c:pt>
                  <c:pt idx="487">
                    <c:v>Rolling Mean (30 Minute)</c:v>
                  </c:pt>
                  <c:pt idx="488">
                    <c:v>Rolling Mean (30 Minute)</c:v>
                  </c:pt>
                  <c:pt idx="489">
                    <c:v>Rolling Mean (30 Minute)</c:v>
                  </c:pt>
                  <c:pt idx="490">
                    <c:v>Rolling Mean (30 Minute)</c:v>
                  </c:pt>
                  <c:pt idx="491">
                    <c:v>Rolling Mean (30 Minute)</c:v>
                  </c:pt>
                  <c:pt idx="492">
                    <c:v>Rolling Mean (30 Minute)</c:v>
                  </c:pt>
                  <c:pt idx="493">
                    <c:v>Rolling Mean (30 Minute)</c:v>
                  </c:pt>
                  <c:pt idx="494">
                    <c:v>Rolling Mean (30 Minute)</c:v>
                  </c:pt>
                  <c:pt idx="495">
                    <c:v>Rolling Mean (30 Minute)</c:v>
                  </c:pt>
                  <c:pt idx="496">
                    <c:v>Rolling Mean (30 Minute)</c:v>
                  </c:pt>
                  <c:pt idx="497">
                    <c:v>Rolling Mean (30 Minute)</c:v>
                  </c:pt>
                  <c:pt idx="498">
                    <c:v>Rolling Mean (30 Minute)</c:v>
                  </c:pt>
                  <c:pt idx="499">
                    <c:v>Rolling Mean (30 Minute)</c:v>
                  </c:pt>
                  <c:pt idx="500">
                    <c:v>Rolling Mean (30 Minute)</c:v>
                  </c:pt>
                  <c:pt idx="501">
                    <c:v>Rolling Mean (30 Minute)</c:v>
                  </c:pt>
                  <c:pt idx="502">
                    <c:v>Rolling Mean (30 Minute)</c:v>
                  </c:pt>
                  <c:pt idx="503">
                    <c:v>Rolling Mean (30 Minute)</c:v>
                  </c:pt>
                  <c:pt idx="504">
                    <c:v>Rolling Mean (30 Minute)</c:v>
                  </c:pt>
                  <c:pt idx="505">
                    <c:v>Rolling Mean (30 Minute)</c:v>
                  </c:pt>
                  <c:pt idx="506">
                    <c:v>Rolling Mean (30 Minute)</c:v>
                  </c:pt>
                  <c:pt idx="507">
                    <c:v>Rolling Mean (30 Minute)</c:v>
                  </c:pt>
                  <c:pt idx="508">
                    <c:v>Rolling Mean (30 Minute)</c:v>
                  </c:pt>
                  <c:pt idx="509">
                    <c:v>Rolling Mean (30 Minute)</c:v>
                  </c:pt>
                  <c:pt idx="510">
                    <c:v>Rolling Mean (30 Minute)</c:v>
                  </c:pt>
                  <c:pt idx="511">
                    <c:v>Rolling Mean (30 Minute)</c:v>
                  </c:pt>
                  <c:pt idx="512">
                    <c:v>Rolling Mean (30 Minute)</c:v>
                  </c:pt>
                  <c:pt idx="513">
                    <c:v>Rolling Mean (30 Minute)</c:v>
                  </c:pt>
                  <c:pt idx="514">
                    <c:v>Rolling Mean (30 Minute)</c:v>
                  </c:pt>
                  <c:pt idx="515">
                    <c:v>Rolling Mean (30 Minute)</c:v>
                  </c:pt>
                  <c:pt idx="516">
                    <c:v>Rolling Mean (30 Minute)</c:v>
                  </c:pt>
                  <c:pt idx="517">
                    <c:v>Rolling Mean (30 Minute)</c:v>
                  </c:pt>
                  <c:pt idx="518">
                    <c:v>Rolling Mean (30 Minute)</c:v>
                  </c:pt>
                  <c:pt idx="519">
                    <c:v>Rolling Mean (30 Minute)</c:v>
                  </c:pt>
                  <c:pt idx="520">
                    <c:v>Rolling Mean (30 Minute)</c:v>
                  </c:pt>
                  <c:pt idx="521">
                    <c:v>Rolling Mean (30 Minute)</c:v>
                  </c:pt>
                  <c:pt idx="522">
                    <c:v>Rolling Mean (30 Minute)</c:v>
                  </c:pt>
                  <c:pt idx="523">
                    <c:v>Rolling Mean (30 Minute)</c:v>
                  </c:pt>
                  <c:pt idx="524">
                    <c:v>Rolling Mean (30 Minute)</c:v>
                  </c:pt>
                  <c:pt idx="525">
                    <c:v>Rolling Mean (30 Minute)</c:v>
                  </c:pt>
                  <c:pt idx="526">
                    <c:v>Rolling Mean (30 Minute)</c:v>
                  </c:pt>
                  <c:pt idx="527">
                    <c:v>Rolling Mean (30 Minute)</c:v>
                  </c:pt>
                  <c:pt idx="528">
                    <c:v>Rolling Mean (30 Minute)</c:v>
                  </c:pt>
                  <c:pt idx="529">
                    <c:v>Rolling Mean (30 Minute)</c:v>
                  </c:pt>
                  <c:pt idx="530">
                    <c:v>Rolling Mean (30 Minute)</c:v>
                  </c:pt>
                  <c:pt idx="531">
                    <c:v>Rolling Mean (30 Minute)</c:v>
                  </c:pt>
                  <c:pt idx="532">
                    <c:v>Rolling Mean (30 Minute)</c:v>
                  </c:pt>
                  <c:pt idx="533">
                    <c:v>Rolling Mean (30 Minute)</c:v>
                  </c:pt>
                  <c:pt idx="534">
                    <c:v>Rolling Mean (30 Minute)</c:v>
                  </c:pt>
                  <c:pt idx="535">
                    <c:v>Rolling Mean (30 Minute)</c:v>
                  </c:pt>
                  <c:pt idx="536">
                    <c:v>Rolling Mean (30 Minute)</c:v>
                  </c:pt>
                  <c:pt idx="537">
                    <c:v>Rolling Mean (30 Minute)</c:v>
                  </c:pt>
                  <c:pt idx="538">
                    <c:v>Rolling Mean (30 Minute)</c:v>
                  </c:pt>
                  <c:pt idx="539">
                    <c:v>Rolling Mean (30 Minute)</c:v>
                  </c:pt>
                  <c:pt idx="540">
                    <c:v>Rolling Mean (30 Minute)</c:v>
                  </c:pt>
                  <c:pt idx="541">
                    <c:v>Rolling Mean (30 Minute)</c:v>
                  </c:pt>
                  <c:pt idx="542">
                    <c:v>Rolling Mean (30 Minute)</c:v>
                  </c:pt>
                  <c:pt idx="543">
                    <c:v>Rolling Mean (30 Minute)</c:v>
                  </c:pt>
                  <c:pt idx="544">
                    <c:v>Rolling Mean (30 Minute)</c:v>
                  </c:pt>
                  <c:pt idx="545">
                    <c:v>Rolling Mean (30 Minute)</c:v>
                  </c:pt>
                  <c:pt idx="546">
                    <c:v>Rolling Mean (30 Minute)</c:v>
                  </c:pt>
                  <c:pt idx="547">
                    <c:v>Rolling Mean (30 Minute)</c:v>
                  </c:pt>
                  <c:pt idx="548">
                    <c:v>Rolling Mean (30 Minute)</c:v>
                  </c:pt>
                  <c:pt idx="549">
                    <c:v>Rolling Mean (30 Minute)</c:v>
                  </c:pt>
                  <c:pt idx="550">
                    <c:v>Rolling Mean (30 Minute)</c:v>
                  </c:pt>
                  <c:pt idx="551">
                    <c:v>Rolling Mean (30 Minute)</c:v>
                  </c:pt>
                  <c:pt idx="552">
                    <c:v>Rolling Mean (30 Minute)</c:v>
                  </c:pt>
                  <c:pt idx="553">
                    <c:v>Rolling Mean (30 Minute)</c:v>
                  </c:pt>
                  <c:pt idx="554">
                    <c:v>Rolling Mean (30 Minute)</c:v>
                  </c:pt>
                  <c:pt idx="555">
                    <c:v>Rolling Mean (30 Minute)</c:v>
                  </c:pt>
                  <c:pt idx="556">
                    <c:v>Rolling Mean (30 Minute)</c:v>
                  </c:pt>
                  <c:pt idx="557">
                    <c:v>Rolling Mean (30 Minute)</c:v>
                  </c:pt>
                  <c:pt idx="558">
                    <c:v>Rolling Mean (30 Minute)</c:v>
                  </c:pt>
                  <c:pt idx="559">
                    <c:v>Rolling Mean (30 Minute)</c:v>
                  </c:pt>
                  <c:pt idx="560">
                    <c:v>Rolling Mean (30 Minute)</c:v>
                  </c:pt>
                  <c:pt idx="561">
                    <c:v>Rolling Mean (30 Minute)</c:v>
                  </c:pt>
                  <c:pt idx="562">
                    <c:v>Rolling Mean (30 Minute)</c:v>
                  </c:pt>
                  <c:pt idx="563">
                    <c:v>Rolling Mean (30 Minute)</c:v>
                  </c:pt>
                  <c:pt idx="564">
                    <c:v>Rolling Mean (30 Minute)</c:v>
                  </c:pt>
                  <c:pt idx="565">
                    <c:v>Rolling Mean (30 Minute)</c:v>
                  </c:pt>
                  <c:pt idx="566">
                    <c:v>Rolling Mean (30 Minute)</c:v>
                  </c:pt>
                  <c:pt idx="567">
                    <c:v>Rolling Mean (30 Minute)</c:v>
                  </c:pt>
                  <c:pt idx="568">
                    <c:v>Rolling Mean (30 Minute)</c:v>
                  </c:pt>
                  <c:pt idx="569">
                    <c:v>Rolling Mean (30 Minute)</c:v>
                  </c:pt>
                  <c:pt idx="570">
                    <c:v>Rolling Mean (30 Minute)</c:v>
                  </c:pt>
                  <c:pt idx="571">
                    <c:v>Rolling Mean (30 Minute)</c:v>
                  </c:pt>
                  <c:pt idx="572">
                    <c:v>Rolling Mean (30 Minute)</c:v>
                  </c:pt>
                  <c:pt idx="573">
                    <c:v>Rolling Mean (30 Minute)</c:v>
                  </c:pt>
                  <c:pt idx="574">
                    <c:v>Rolling Mean (30 Minute)</c:v>
                  </c:pt>
                  <c:pt idx="575">
                    <c:v>Rolling Mean (30 Minute)</c:v>
                  </c:pt>
                  <c:pt idx="576">
                    <c:v>Rolling Mean (30 Minute)</c:v>
                  </c:pt>
                  <c:pt idx="577">
                    <c:v>Rolling Mean (30 Minute)</c:v>
                  </c:pt>
                  <c:pt idx="578">
                    <c:v>Rolling Mean (30 Minute)</c:v>
                  </c:pt>
                  <c:pt idx="579">
                    <c:v>Rolling Mean (30 Minute)</c:v>
                  </c:pt>
                  <c:pt idx="580">
                    <c:v>Rolling Mean (30 Minute)</c:v>
                  </c:pt>
                  <c:pt idx="581">
                    <c:v>Rolling Mean (30 Minute)</c:v>
                  </c:pt>
                  <c:pt idx="582">
                    <c:v>Rolling Mean (30 Minute)</c:v>
                  </c:pt>
                  <c:pt idx="583">
                    <c:v>Rolling Mean (30 Minute)</c:v>
                  </c:pt>
                  <c:pt idx="584">
                    <c:v>Rolling Mean (30 Minute)</c:v>
                  </c:pt>
                  <c:pt idx="585">
                    <c:v>Rolling Mean (30 Minute)</c:v>
                  </c:pt>
                  <c:pt idx="586">
                    <c:v>Rolling Mean (30 Minute)</c:v>
                  </c:pt>
                  <c:pt idx="587">
                    <c:v>Rolling Mean (30 Minute)</c:v>
                  </c:pt>
                  <c:pt idx="588">
                    <c:v>Rolling Mean (30 Minute)</c:v>
                  </c:pt>
                  <c:pt idx="589">
                    <c:v>Rolling Mean (30 Minute)</c:v>
                  </c:pt>
                  <c:pt idx="590">
                    <c:v>Rolling Mean (30 Minute)</c:v>
                  </c:pt>
                  <c:pt idx="591">
                    <c:v>Rolling Mean (30 Minute)</c:v>
                  </c:pt>
                  <c:pt idx="592">
                    <c:v>Rolling Mean (30 Minute)</c:v>
                  </c:pt>
                  <c:pt idx="593">
                    <c:v>Rolling Mean (30 Minute)</c:v>
                  </c:pt>
                  <c:pt idx="594">
                    <c:v>Rolling Mean (30 Minute)</c:v>
                  </c:pt>
                  <c:pt idx="595">
                    <c:v>Rolling Mean (30 Minute)</c:v>
                  </c:pt>
                  <c:pt idx="596">
                    <c:v>Rolling Mean (30 Minute)</c:v>
                  </c:pt>
                  <c:pt idx="597">
                    <c:v>Rolling Mean (30 Minute)</c:v>
                  </c:pt>
                  <c:pt idx="598">
                    <c:v>Rolling Mean (30 Minute)</c:v>
                  </c:pt>
                  <c:pt idx="599">
                    <c:v>Rolling Mean (30 Minute)</c:v>
                  </c:pt>
                  <c:pt idx="600">
                    <c:v>Rolling Mean (30 Minute)</c:v>
                  </c:pt>
                  <c:pt idx="601">
                    <c:v>Rolling Mean (30 Minute)</c:v>
                  </c:pt>
                  <c:pt idx="602">
                    <c:v>Rolling Mean (30 Minute)</c:v>
                  </c:pt>
                  <c:pt idx="603">
                    <c:v>Rolling Mean (30 Minute)</c:v>
                  </c:pt>
                  <c:pt idx="604">
                    <c:v>Rolling Mean (30 Minute)</c:v>
                  </c:pt>
                  <c:pt idx="605">
                    <c:v>Rolling Mean (30 Minute)</c:v>
                  </c:pt>
                  <c:pt idx="606">
                    <c:v>Rolling Mean (30 Minute)</c:v>
                  </c:pt>
                  <c:pt idx="607">
                    <c:v>Rolling Mean (30 Minute)</c:v>
                  </c:pt>
                  <c:pt idx="608">
                    <c:v>Rolling Mean (30 Minute)</c:v>
                  </c:pt>
                  <c:pt idx="609">
                    <c:v>Rolling Mean (30 Minute)</c:v>
                  </c:pt>
                  <c:pt idx="610">
                    <c:v>Rolling Mean (30 Minute)</c:v>
                  </c:pt>
                  <c:pt idx="611">
                    <c:v>Rolling Mean (30 Minute)</c:v>
                  </c:pt>
                  <c:pt idx="612">
                    <c:v>Rolling Mean (30 Minute)</c:v>
                  </c:pt>
                  <c:pt idx="613">
                    <c:v>Rolling Mean (30 Minute)</c:v>
                  </c:pt>
                  <c:pt idx="614">
                    <c:v>Rolling Mean (30 Minute)</c:v>
                  </c:pt>
                  <c:pt idx="615">
                    <c:v>Rolling Mean (30 Minute)</c:v>
                  </c:pt>
                  <c:pt idx="616">
                    <c:v>Rolling Mean (30 Minute)</c:v>
                  </c:pt>
                  <c:pt idx="617">
                    <c:v>Rolling Mean (30 Minute)</c:v>
                  </c:pt>
                  <c:pt idx="618">
                    <c:v>Rolling Mean (30 Minute)</c:v>
                  </c:pt>
                  <c:pt idx="619">
                    <c:v>Rolling Mean (30 Minute)</c:v>
                  </c:pt>
                  <c:pt idx="620">
                    <c:v>Rolling Mean (30 Minute)</c:v>
                  </c:pt>
                  <c:pt idx="621">
                    <c:v>Rolling Mean (30 Minute)</c:v>
                  </c:pt>
                  <c:pt idx="622">
                    <c:v>Rolling Mean (30 Minute)</c:v>
                  </c:pt>
                  <c:pt idx="623">
                    <c:v>Rolling Mean (30 Minute)</c:v>
                  </c:pt>
                  <c:pt idx="624">
                    <c:v>Rolling Mean (30 Minute)</c:v>
                  </c:pt>
                  <c:pt idx="625">
                    <c:v>Rolling Mean (30 Minute)</c:v>
                  </c:pt>
                  <c:pt idx="626">
                    <c:v>Rolling Mean (30 Minute)</c:v>
                  </c:pt>
                  <c:pt idx="627">
                    <c:v>Rolling Mean (30 Minute)</c:v>
                  </c:pt>
                  <c:pt idx="628">
                    <c:v>Rolling Mean (30 Minute)</c:v>
                  </c:pt>
                  <c:pt idx="629">
                    <c:v>Rolling Mean (30 Minute)</c:v>
                  </c:pt>
                  <c:pt idx="630">
                    <c:v>Rolling Mean (30 Minute)</c:v>
                  </c:pt>
                  <c:pt idx="631">
                    <c:v>Rolling Mean (30 Minute)</c:v>
                  </c:pt>
                  <c:pt idx="632">
                    <c:v>Rolling Mean (30 Minute)</c:v>
                  </c:pt>
                  <c:pt idx="633">
                    <c:v>Rolling Mean (30 Minute)</c:v>
                  </c:pt>
                  <c:pt idx="634">
                    <c:v>Rolling Mean (30 Minute)</c:v>
                  </c:pt>
                  <c:pt idx="635">
                    <c:v>Rolling Mean (30 Minute)</c:v>
                  </c:pt>
                  <c:pt idx="636">
                    <c:v>Rolling Mean (30 Minute)</c:v>
                  </c:pt>
                  <c:pt idx="637">
                    <c:v>Rolling Mean (30 Minute)</c:v>
                  </c:pt>
                  <c:pt idx="638">
                    <c:v>Rolling Mean (30 Minute)</c:v>
                  </c:pt>
                  <c:pt idx="639">
                    <c:v>Rolling Mean (30 Minute)</c:v>
                  </c:pt>
                  <c:pt idx="640">
                    <c:v>Rolling Mean (30 Minute)</c:v>
                  </c:pt>
                  <c:pt idx="641">
                    <c:v>Rolling Mean (30 Minute)</c:v>
                  </c:pt>
                  <c:pt idx="642">
                    <c:v>Rolling Mean (30 Minute)</c:v>
                  </c:pt>
                  <c:pt idx="643">
                    <c:v>Rolling Mean (30 Minute)</c:v>
                  </c:pt>
                  <c:pt idx="644">
                    <c:v>Rolling Mean (30 Minute)</c:v>
                  </c:pt>
                  <c:pt idx="645">
                    <c:v>Rolling Mean (30 Minute)</c:v>
                  </c:pt>
                  <c:pt idx="646">
                    <c:v>Rolling Mean (30 Minute)</c:v>
                  </c:pt>
                  <c:pt idx="647">
                    <c:v>Rolling Mean (30 Minute)</c:v>
                  </c:pt>
                  <c:pt idx="648">
                    <c:v>Rolling Mean (30 Minute)</c:v>
                  </c:pt>
                  <c:pt idx="649">
                    <c:v>Rolling Mean (30 Minute)</c:v>
                  </c:pt>
                  <c:pt idx="650">
                    <c:v>Rolling Mean (30 Minute)</c:v>
                  </c:pt>
                  <c:pt idx="651">
                    <c:v>Rolling Mean (30 Minute)</c:v>
                  </c:pt>
                  <c:pt idx="652">
                    <c:v>Rolling Mean (30 Minute)</c:v>
                  </c:pt>
                  <c:pt idx="653">
                    <c:v>Rolling Mean (30 Minute)</c:v>
                  </c:pt>
                  <c:pt idx="654">
                    <c:v>Rolling Mean (30 Minute)</c:v>
                  </c:pt>
                  <c:pt idx="655">
                    <c:v>Rolling Mean (30 Minute)</c:v>
                  </c:pt>
                  <c:pt idx="656">
                    <c:v>Rolling Mean (30 Minute)</c:v>
                  </c:pt>
                  <c:pt idx="657">
                    <c:v>Rolling Mean (30 Minute)</c:v>
                  </c:pt>
                  <c:pt idx="658">
                    <c:v>Rolling Mean (30 Minute)</c:v>
                  </c:pt>
                  <c:pt idx="659">
                    <c:v>Rolling Mean (30 Minute)</c:v>
                  </c:pt>
                  <c:pt idx="660">
                    <c:v>Rolling Mean (30 Minute)</c:v>
                  </c:pt>
                  <c:pt idx="661">
                    <c:v>Rolling Mean (30 Minute)</c:v>
                  </c:pt>
                  <c:pt idx="662">
                    <c:v>Rolling Mean (30 Minute)</c:v>
                  </c:pt>
                  <c:pt idx="663">
                    <c:v>Rolling Mean (30 Minute)</c:v>
                  </c:pt>
                  <c:pt idx="664">
                    <c:v>Rolling Mean (30 Minute)</c:v>
                  </c:pt>
                  <c:pt idx="665">
                    <c:v>Rolling Mean (30 Minute)</c:v>
                  </c:pt>
                  <c:pt idx="666">
                    <c:v>Rolling Mean (30 Minute)</c:v>
                  </c:pt>
                  <c:pt idx="667">
                    <c:v>Rolling Mean (30 Minute)</c:v>
                  </c:pt>
                  <c:pt idx="668">
                    <c:v>Rolling Mean (30 Minute)</c:v>
                  </c:pt>
                  <c:pt idx="669">
                    <c:v>Rolling Mean (30 Minute)</c:v>
                  </c:pt>
                  <c:pt idx="670">
                    <c:v>Rolling Mean (30 Minute)</c:v>
                  </c:pt>
                  <c:pt idx="671">
                    <c:v>Rolling Mean (30 Minute)</c:v>
                  </c:pt>
                  <c:pt idx="672">
                    <c:v>Rolling Mean (30 Minute)</c:v>
                  </c:pt>
                  <c:pt idx="673">
                    <c:v>Rolling Mean (30 Minute)</c:v>
                  </c:pt>
                  <c:pt idx="674">
                    <c:v>Rolling Mean (30 Minute)</c:v>
                  </c:pt>
                  <c:pt idx="675">
                    <c:v>Rolling Mean (30 Minute)</c:v>
                  </c:pt>
                  <c:pt idx="676">
                    <c:v>Rolling Mean (30 Minute)</c:v>
                  </c:pt>
                  <c:pt idx="677">
                    <c:v>Rolling Mean (30 Minute)</c:v>
                  </c:pt>
                  <c:pt idx="678">
                    <c:v>Rolling Mean (30 Minute)</c:v>
                  </c:pt>
                  <c:pt idx="679">
                    <c:v>Rolling Mean (30 Minute)</c:v>
                  </c:pt>
                  <c:pt idx="680">
                    <c:v>Rolling Mean (30 Minute)</c:v>
                  </c:pt>
                  <c:pt idx="681">
                    <c:v>Rolling Mean (30 Minute)</c:v>
                  </c:pt>
                  <c:pt idx="682">
                    <c:v>Rolling Mean (30 Minute)</c:v>
                  </c:pt>
                  <c:pt idx="683">
                    <c:v>Rolling Mean (30 Minute)</c:v>
                  </c:pt>
                  <c:pt idx="684">
                    <c:v>Rolling Mean (30 Minute)</c:v>
                  </c:pt>
                  <c:pt idx="685">
                    <c:v>Rolling Mean (30 Minute)</c:v>
                  </c:pt>
                  <c:pt idx="686">
                    <c:v>Rolling Mean (30 Minute)</c:v>
                  </c:pt>
                  <c:pt idx="687">
                    <c:v>Rolling Mean (30 Minute)</c:v>
                  </c:pt>
                  <c:pt idx="688">
                    <c:v>Rolling Mean (30 Minute)</c:v>
                  </c:pt>
                  <c:pt idx="689">
                    <c:v>Rolling Mean (30 Minute)</c:v>
                  </c:pt>
                  <c:pt idx="690">
                    <c:v>Rolling Mean (30 Minute)</c:v>
                  </c:pt>
                  <c:pt idx="691">
                    <c:v>Rolling Mean (30 Minute)</c:v>
                  </c:pt>
                  <c:pt idx="692">
                    <c:v>Rolling Mean (30 Minute)</c:v>
                  </c:pt>
                  <c:pt idx="693">
                    <c:v>Rolling Mean (30 Minute)</c:v>
                  </c:pt>
                  <c:pt idx="694">
                    <c:v>Rolling Mean (30 Minute)</c:v>
                  </c:pt>
                  <c:pt idx="695">
                    <c:v>Rolling Mean (30 Minute)</c:v>
                  </c:pt>
                  <c:pt idx="696">
                    <c:v>Rolling Mean (30 Minute)</c:v>
                  </c:pt>
                  <c:pt idx="697">
                    <c:v>Rolling Mean (30 Minute)</c:v>
                  </c:pt>
                  <c:pt idx="698">
                    <c:v>Rolling Mean (30 Minute)</c:v>
                  </c:pt>
                  <c:pt idx="699">
                    <c:v>Rolling Mean (30 Minute)</c:v>
                  </c:pt>
                  <c:pt idx="700">
                    <c:v>Rolling Mean (30 Minute)</c:v>
                  </c:pt>
                  <c:pt idx="701">
                    <c:v>Rolling Mean (30 Minute)</c:v>
                  </c:pt>
                  <c:pt idx="702">
                    <c:v>Rolling Mean (30 Minute)</c:v>
                  </c:pt>
                  <c:pt idx="703">
                    <c:v>Rolling Mean (30 Minute)</c:v>
                  </c:pt>
                  <c:pt idx="704">
                    <c:v>Rolling Mean (30 Minute)</c:v>
                  </c:pt>
                  <c:pt idx="705">
                    <c:v>Rolling Mean (30 Minute)</c:v>
                  </c:pt>
                  <c:pt idx="706">
                    <c:v>Rolling Mean (30 Minute)</c:v>
                  </c:pt>
                  <c:pt idx="707">
                    <c:v>Rolling Mean (30 Minute)</c:v>
                  </c:pt>
                  <c:pt idx="708">
                    <c:v>Rolling Mean (30 Minute)</c:v>
                  </c:pt>
                  <c:pt idx="709">
                    <c:v>Rolling Mean (30 Minute)</c:v>
                  </c:pt>
                  <c:pt idx="710">
                    <c:v>Rolling Mean (30 Minute)</c:v>
                  </c:pt>
                  <c:pt idx="711">
                    <c:v>Rolling Mean (30 Minute)</c:v>
                  </c:pt>
                  <c:pt idx="712">
                    <c:v>Rolling Mean (30 Minute)</c:v>
                  </c:pt>
                  <c:pt idx="713">
                    <c:v>Rolling Mean (30 Minute)</c:v>
                  </c:pt>
                  <c:pt idx="714">
                    <c:v>Rolling Mean (30 Minute)</c:v>
                  </c:pt>
                  <c:pt idx="715">
                    <c:v>Rolling Mean (30 Minute)</c:v>
                  </c:pt>
                  <c:pt idx="716">
                    <c:v>Rolling Mean (30 Minute)</c:v>
                  </c:pt>
                  <c:pt idx="717">
                    <c:v>Rolling Mean (30 Minute)</c:v>
                  </c:pt>
                  <c:pt idx="718">
                    <c:v>Rolling Mean (30 Minute)</c:v>
                  </c:pt>
                  <c:pt idx="719">
                    <c:v>Rolling Mean (30 Minute)</c:v>
                  </c:pt>
                  <c:pt idx="720">
                    <c:v>Rolling Mean (30 Minute)</c:v>
                  </c:pt>
                  <c:pt idx="721">
                    <c:v>Rolling Mean (30 Minute)</c:v>
                  </c:pt>
                  <c:pt idx="722">
                    <c:v>Rolling Mean (30 Minute)</c:v>
                  </c:pt>
                  <c:pt idx="723">
                    <c:v>Rolling Mean (30 Minute)</c:v>
                  </c:pt>
                  <c:pt idx="724">
                    <c:v>Rolling Mean (30 Minute)</c:v>
                  </c:pt>
                  <c:pt idx="725">
                    <c:v>Rolling Mean (30 Minute)</c:v>
                  </c:pt>
                  <c:pt idx="726">
                    <c:v>Rolling Mean (30 Minute)</c:v>
                  </c:pt>
                  <c:pt idx="727">
                    <c:v>Rolling Mean (30 Minute)</c:v>
                  </c:pt>
                  <c:pt idx="728">
                    <c:v>Rolling Mean (30 Minute)</c:v>
                  </c:pt>
                  <c:pt idx="729">
                    <c:v>Rolling Mean (30 Minute)</c:v>
                  </c:pt>
                  <c:pt idx="730">
                    <c:v>Rolling Mean (30 Minute)</c:v>
                  </c:pt>
                  <c:pt idx="731">
                    <c:v>Rolling Mean (30 Minute)</c:v>
                  </c:pt>
                  <c:pt idx="732">
                    <c:v>Rolling Mean (30 Minute)</c:v>
                  </c:pt>
                  <c:pt idx="733">
                    <c:v>Rolling Mean (30 Minute)</c:v>
                  </c:pt>
                  <c:pt idx="734">
                    <c:v>Rolling Mean (30 Minute)</c:v>
                  </c:pt>
                  <c:pt idx="735">
                    <c:v>Rolling Mean (30 Minute)</c:v>
                  </c:pt>
                  <c:pt idx="736">
                    <c:v>Rolling Mean (30 Minute)</c:v>
                  </c:pt>
                  <c:pt idx="737">
                    <c:v>Rolling Mean (30 Minute)</c:v>
                  </c:pt>
                  <c:pt idx="738">
                    <c:v>Rolling Mean (30 Minute)</c:v>
                  </c:pt>
                  <c:pt idx="739">
                    <c:v>Rolling Mean (30 Minute)</c:v>
                  </c:pt>
                  <c:pt idx="740">
                    <c:v>Rolling Mean (30 Minute)</c:v>
                  </c:pt>
                  <c:pt idx="741">
                    <c:v>Rolling Mean (30 Minute)</c:v>
                  </c:pt>
                  <c:pt idx="742">
                    <c:v>Rolling Mean (30 Minute)</c:v>
                  </c:pt>
                  <c:pt idx="743">
                    <c:v>Rolling Mean (30 Minute)</c:v>
                  </c:pt>
                  <c:pt idx="744">
                    <c:v>Rolling Mean (30 Minute)</c:v>
                  </c:pt>
                  <c:pt idx="745">
                    <c:v>Rolling Mean (30 Minute)</c:v>
                  </c:pt>
                  <c:pt idx="746">
                    <c:v>Rolling Mean (30 Minute)</c:v>
                  </c:pt>
                  <c:pt idx="747">
                    <c:v>Rolling Mean (30 Minute)</c:v>
                  </c:pt>
                  <c:pt idx="748">
                    <c:v>Rolling Mean (30 Minute)</c:v>
                  </c:pt>
                  <c:pt idx="749">
                    <c:v>Rolling Mean (30 Minute)</c:v>
                  </c:pt>
                  <c:pt idx="750">
                    <c:v>Rolling Mean (30 Minute)</c:v>
                  </c:pt>
                  <c:pt idx="751">
                    <c:v>Rolling Mean (30 Minute)</c:v>
                  </c:pt>
                  <c:pt idx="752">
                    <c:v>Rolling Mean (30 Minute)</c:v>
                  </c:pt>
                  <c:pt idx="753">
                    <c:v>Rolling Mean (30 Minute)</c:v>
                  </c:pt>
                  <c:pt idx="754">
                    <c:v>Rolling Mean (30 Minute)</c:v>
                  </c:pt>
                  <c:pt idx="755">
                    <c:v>Rolling Mean (30 Minute)</c:v>
                  </c:pt>
                  <c:pt idx="756">
                    <c:v>Rolling Mean (30 Minute)</c:v>
                  </c:pt>
                  <c:pt idx="757">
                    <c:v>Rolling Mean (30 Minute)</c:v>
                  </c:pt>
                  <c:pt idx="758">
                    <c:v>Rolling Mean (30 Minute)</c:v>
                  </c:pt>
                  <c:pt idx="759">
                    <c:v>Rolling Mean (30 Minute)</c:v>
                  </c:pt>
                  <c:pt idx="760">
                    <c:v>Rolling Mean (30 Minute)</c:v>
                  </c:pt>
                  <c:pt idx="761">
                    <c:v>Rolling Mean (30 Minute)</c:v>
                  </c:pt>
                  <c:pt idx="762">
                    <c:v>Rolling Mean (30 Minute)</c:v>
                  </c:pt>
                  <c:pt idx="763">
                    <c:v>Rolling Mean (30 Minute)</c:v>
                  </c:pt>
                  <c:pt idx="764">
                    <c:v>Rolling Mean (30 Minute)</c:v>
                  </c:pt>
                  <c:pt idx="765">
                    <c:v>Rolling Mean (30 Minute)</c:v>
                  </c:pt>
                  <c:pt idx="766">
                    <c:v>Rolling Mean (30 Minute)</c:v>
                  </c:pt>
                  <c:pt idx="767">
                    <c:v>Rolling Mean (30 Minute)</c:v>
                  </c:pt>
                  <c:pt idx="768">
                    <c:v>Rolling Mean (30 Minute)</c:v>
                  </c:pt>
                  <c:pt idx="769">
                    <c:v>Rolling Mean (30 Minute)</c:v>
                  </c:pt>
                  <c:pt idx="770">
                    <c:v>Rolling Mean (30 Minute)</c:v>
                  </c:pt>
                  <c:pt idx="771">
                    <c:v>Rolling Mean (30 Minute)</c:v>
                  </c:pt>
                  <c:pt idx="772">
                    <c:v>Rolling Mean (30 Minute)</c:v>
                  </c:pt>
                  <c:pt idx="773">
                    <c:v>Rolling Mean (30 Minute)</c:v>
                  </c:pt>
                  <c:pt idx="774">
                    <c:v>Rolling Mean (30 Minute)</c:v>
                  </c:pt>
                  <c:pt idx="775">
                    <c:v>Rolling Mean (30 Minute)</c:v>
                  </c:pt>
                  <c:pt idx="776">
                    <c:v>Rolling Mean (30 Minute)</c:v>
                  </c:pt>
                  <c:pt idx="777">
                    <c:v>Rolling Mean (30 Minute)</c:v>
                  </c:pt>
                  <c:pt idx="778">
                    <c:v>Rolling Mean (30 Minute)</c:v>
                  </c:pt>
                  <c:pt idx="779">
                    <c:v>Rolling Mean (30 Minute)</c:v>
                  </c:pt>
                  <c:pt idx="780">
                    <c:v>Rolling Mean (30 Minute)</c:v>
                  </c:pt>
                  <c:pt idx="781">
                    <c:v>Rolling Mean (30 Minute)</c:v>
                  </c:pt>
                  <c:pt idx="782">
                    <c:v>Rolling Mean (30 Minute)</c:v>
                  </c:pt>
                  <c:pt idx="783">
                    <c:v>Rolling Mean (30 Minute)</c:v>
                  </c:pt>
                  <c:pt idx="784">
                    <c:v>Rolling Mean (30 Minute)</c:v>
                  </c:pt>
                  <c:pt idx="785">
                    <c:v>Rolling Mean (30 Minute)</c:v>
                  </c:pt>
                  <c:pt idx="786">
                    <c:v>Rolling Mean (30 Minute)</c:v>
                  </c:pt>
                  <c:pt idx="787">
                    <c:v>Rolling Mean (30 Minute)</c:v>
                  </c:pt>
                  <c:pt idx="788">
                    <c:v>Rolling Mean (30 Minute)</c:v>
                  </c:pt>
                  <c:pt idx="789">
                    <c:v>Rolling Mean (30 Minute)</c:v>
                  </c:pt>
                  <c:pt idx="790">
                    <c:v>Rolling Mean (30 Minute)</c:v>
                  </c:pt>
                  <c:pt idx="791">
                    <c:v>Rolling Mean (30 Minute)</c:v>
                  </c:pt>
                  <c:pt idx="792">
                    <c:v>Rolling Mean (30 Minute)</c:v>
                  </c:pt>
                  <c:pt idx="793">
                    <c:v>Rolling Mean (30 Minute)</c:v>
                  </c:pt>
                  <c:pt idx="794">
                    <c:v>Rolling Mean (30 Minute)</c:v>
                  </c:pt>
                  <c:pt idx="795">
                    <c:v>Rolling Mean (30 Minute)</c:v>
                  </c:pt>
                  <c:pt idx="796">
                    <c:v>Rolling Mean (30 Minute)</c:v>
                  </c:pt>
                  <c:pt idx="797">
                    <c:v>Rolling Mean (30 Minute)</c:v>
                  </c:pt>
                  <c:pt idx="798">
                    <c:v>Rolling Mean (30 Minute)</c:v>
                  </c:pt>
                  <c:pt idx="799">
                    <c:v>Rolling Mean (30 Minute)</c:v>
                  </c:pt>
                  <c:pt idx="800">
                    <c:v>Rolling Mean (30 Minute)</c:v>
                  </c:pt>
                  <c:pt idx="801">
                    <c:v>Rolling Mean (30 Minute)</c:v>
                  </c:pt>
                  <c:pt idx="802">
                    <c:v>Rolling Mean (30 Minute)</c:v>
                  </c:pt>
                  <c:pt idx="803">
                    <c:v>Rolling Mean (30 Minute)</c:v>
                  </c:pt>
                  <c:pt idx="804">
                    <c:v>Rolling Mean (30 Minute)</c:v>
                  </c:pt>
                  <c:pt idx="805">
                    <c:v>Rolling Mean (30 Minute)</c:v>
                  </c:pt>
                  <c:pt idx="806">
                    <c:v>Rolling Mean (30 Minute)</c:v>
                  </c:pt>
                  <c:pt idx="807">
                    <c:v>Rolling Mean (30 Minute)</c:v>
                  </c:pt>
                  <c:pt idx="808">
                    <c:v>Rolling Mean (30 Minute)</c:v>
                  </c:pt>
                  <c:pt idx="809">
                    <c:v>Rolling Mean (30 Minute)</c:v>
                  </c:pt>
                  <c:pt idx="810">
                    <c:v>Rolling Mean (30 Minute)</c:v>
                  </c:pt>
                  <c:pt idx="811">
                    <c:v>Rolling Mean (30 Minute)</c:v>
                  </c:pt>
                  <c:pt idx="812">
                    <c:v>Rolling Mean (30 Minute)</c:v>
                  </c:pt>
                  <c:pt idx="813">
                    <c:v>Rolling Mean (30 Minute)</c:v>
                  </c:pt>
                  <c:pt idx="814">
                    <c:v>Rolling Mean (30 Minute)</c:v>
                  </c:pt>
                  <c:pt idx="815">
                    <c:v>Rolling Mean (30 Minute)</c:v>
                  </c:pt>
                  <c:pt idx="816">
                    <c:v>Rolling Mean (30 Minute)</c:v>
                  </c:pt>
                  <c:pt idx="817">
                    <c:v>Rolling Mean (30 Minute)</c:v>
                  </c:pt>
                  <c:pt idx="818">
                    <c:v>Rolling Mean (30 Minute)</c:v>
                  </c:pt>
                  <c:pt idx="819">
                    <c:v>Rolling Mean (30 Minute)</c:v>
                  </c:pt>
                  <c:pt idx="820">
                    <c:v>Rolling Mean (30 Minute)</c:v>
                  </c:pt>
                  <c:pt idx="821">
                    <c:v>Rolling Mean (30 Minute)</c:v>
                  </c:pt>
                  <c:pt idx="822">
                    <c:v>Rolling Mean (30 Minute)</c:v>
                  </c:pt>
                  <c:pt idx="823">
                    <c:v>Rolling Mean (30 Minute)</c:v>
                  </c:pt>
                  <c:pt idx="824">
                    <c:v>Rolling Mean (30 Minute)</c:v>
                  </c:pt>
                  <c:pt idx="825">
                    <c:v>Rolling Mean (30 Minute)</c:v>
                  </c:pt>
                  <c:pt idx="826">
                    <c:v>Rolling Mean (30 Minute)</c:v>
                  </c:pt>
                  <c:pt idx="827">
                    <c:v>Rolling Mean (30 Minute)</c:v>
                  </c:pt>
                  <c:pt idx="828">
                    <c:v>Rolling Mean (30 Minute)</c:v>
                  </c:pt>
                  <c:pt idx="829">
                    <c:v>Rolling Mean (30 Minute)</c:v>
                  </c:pt>
                  <c:pt idx="830">
                    <c:v>Rolling Mean (30 Minute)</c:v>
                  </c:pt>
                  <c:pt idx="831">
                    <c:v>Rolling Mean (30 Minute)</c:v>
                  </c:pt>
                  <c:pt idx="832">
                    <c:v>Rolling Mean (30 Minute)</c:v>
                  </c:pt>
                  <c:pt idx="833">
                    <c:v>Rolling Mean (30 Minute)</c:v>
                  </c:pt>
                  <c:pt idx="834">
                    <c:v>Rolling Mean (30 Minute)</c:v>
                  </c:pt>
                  <c:pt idx="835">
                    <c:v>Rolling Mean (30 Minute)</c:v>
                  </c:pt>
                  <c:pt idx="836">
                    <c:v>Rolling Mean (30 Minute)</c:v>
                  </c:pt>
                  <c:pt idx="837">
                    <c:v>Rolling Mean (30 Minute)</c:v>
                  </c:pt>
                  <c:pt idx="838">
                    <c:v>Rolling Mean (30 Minute)</c:v>
                  </c:pt>
                  <c:pt idx="839">
                    <c:v>Rolling Mean (30 Minute)</c:v>
                  </c:pt>
                  <c:pt idx="840">
                    <c:v>Rolling Mean (30 Minute)</c:v>
                  </c:pt>
                  <c:pt idx="841">
                    <c:v>Rolling Mean (30 Minute)</c:v>
                  </c:pt>
                  <c:pt idx="842">
                    <c:v>Rolling Mean (30 Minute)</c:v>
                  </c:pt>
                  <c:pt idx="843">
                    <c:v>Rolling Mean (30 Minute)</c:v>
                  </c:pt>
                  <c:pt idx="844">
                    <c:v>Rolling Mean (30 Minute)</c:v>
                  </c:pt>
                  <c:pt idx="845">
                    <c:v>Rolling Mean (30 Minute)</c:v>
                  </c:pt>
                  <c:pt idx="846">
                    <c:v>Rolling Mean (30 Minute)</c:v>
                  </c:pt>
                  <c:pt idx="847">
                    <c:v>Rolling Mean (30 Minute)</c:v>
                  </c:pt>
                  <c:pt idx="848">
                    <c:v>Rolling Mean (30 Minute)</c:v>
                  </c:pt>
                  <c:pt idx="849">
                    <c:v>Rolling Mean (30 Minute)</c:v>
                  </c:pt>
                  <c:pt idx="850">
                    <c:v>Rolling Mean (30 Minute)</c:v>
                  </c:pt>
                  <c:pt idx="851">
                    <c:v>Rolling Mean (30 Minute)</c:v>
                  </c:pt>
                  <c:pt idx="852">
                    <c:v>Rolling Mean (30 Minute)</c:v>
                  </c:pt>
                  <c:pt idx="853">
                    <c:v>Rolling Mean (30 Minute)</c:v>
                  </c:pt>
                  <c:pt idx="854">
                    <c:v>Rolling Mean (30 Minute)</c:v>
                  </c:pt>
                  <c:pt idx="855">
                    <c:v>Rolling Mean (30 Minute)</c:v>
                  </c:pt>
                  <c:pt idx="856">
                    <c:v>Rolling Mean (30 Minute)</c:v>
                  </c:pt>
                  <c:pt idx="857">
                    <c:v>Rolling Mean (30 Minute)</c:v>
                  </c:pt>
                  <c:pt idx="858">
                    <c:v>Rolling Mean (30 Minute)</c:v>
                  </c:pt>
                  <c:pt idx="859">
                    <c:v>Rolling Mean (30 Minute)</c:v>
                  </c:pt>
                  <c:pt idx="860">
                    <c:v>Rolling Mean (30 Minute)</c:v>
                  </c:pt>
                  <c:pt idx="861">
                    <c:v>Rolling Mean (30 Minute)</c:v>
                  </c:pt>
                  <c:pt idx="862">
                    <c:v>Rolling Mean (30 Minute)</c:v>
                  </c:pt>
                  <c:pt idx="863">
                    <c:v>Rolling Mean (30 Minute)</c:v>
                  </c:pt>
                  <c:pt idx="864">
                    <c:v>Rolling Mean (30 Minute)</c:v>
                  </c:pt>
                  <c:pt idx="865">
                    <c:v>Rolling Mean (30 Minute)</c:v>
                  </c:pt>
                  <c:pt idx="866">
                    <c:v>Rolling Mean (30 Minute)</c:v>
                  </c:pt>
                  <c:pt idx="867">
                    <c:v>Rolling Mean (30 Minute)</c:v>
                  </c:pt>
                  <c:pt idx="868">
                    <c:v>Rolling Mean (30 Minute)</c:v>
                  </c:pt>
                  <c:pt idx="869">
                    <c:v>Rolling Mean (30 Minute)</c:v>
                  </c:pt>
                  <c:pt idx="870">
                    <c:v>Rolling Mean (30 Minute)</c:v>
                  </c:pt>
                  <c:pt idx="871">
                    <c:v>Rolling Mean (30 Minute)</c:v>
                  </c:pt>
                  <c:pt idx="872">
                    <c:v>Rolling Mean (30 Minute)</c:v>
                  </c:pt>
                  <c:pt idx="873">
                    <c:v>Rolling Mean (30 Minute)</c:v>
                  </c:pt>
                  <c:pt idx="874">
                    <c:v>Rolling Mean (30 Minute)</c:v>
                  </c:pt>
                  <c:pt idx="875">
                    <c:v>Rolling Mean (30 Minute)</c:v>
                  </c:pt>
                  <c:pt idx="876">
                    <c:v>Rolling Mean (30 Minute)</c:v>
                  </c:pt>
                  <c:pt idx="877">
                    <c:v>Rolling Mean (30 Minute)</c:v>
                  </c:pt>
                  <c:pt idx="878">
                    <c:v>Rolling Mean (30 Minute)</c:v>
                  </c:pt>
                  <c:pt idx="879">
                    <c:v>Rolling Mean (30 Minute)</c:v>
                  </c:pt>
                  <c:pt idx="880">
                    <c:v>Rolling Mean (30 Minute)</c:v>
                  </c:pt>
                  <c:pt idx="881">
                    <c:v>Rolling Mean (30 Minute)</c:v>
                  </c:pt>
                  <c:pt idx="882">
                    <c:v>Rolling Mean (30 Minute)</c:v>
                  </c:pt>
                  <c:pt idx="883">
                    <c:v>Rolling Mean (30 Minute)</c:v>
                  </c:pt>
                  <c:pt idx="884">
                    <c:v>Rolling Mean (30 Minute)</c:v>
                  </c:pt>
                  <c:pt idx="885">
                    <c:v>Rolling Mean (30 Minute)</c:v>
                  </c:pt>
                  <c:pt idx="886">
                    <c:v>Rolling Mean (30 Minute)</c:v>
                  </c:pt>
                  <c:pt idx="887">
                    <c:v>Rolling Mean (30 Minute)</c:v>
                  </c:pt>
                  <c:pt idx="888">
                    <c:v>Rolling Mean (30 Minute)</c:v>
                  </c:pt>
                  <c:pt idx="889">
                    <c:v>Rolling Mean (30 Minute)</c:v>
                  </c:pt>
                  <c:pt idx="890">
                    <c:v>Rolling Mean (30 Minute)</c:v>
                  </c:pt>
                  <c:pt idx="891">
                    <c:v>Rolling Mean (30 Minute)</c:v>
                  </c:pt>
                  <c:pt idx="892">
                    <c:v>Rolling Mean (30 Minute)</c:v>
                  </c:pt>
                  <c:pt idx="893">
                    <c:v>Rolling Mean (30 Minute)</c:v>
                  </c:pt>
                  <c:pt idx="894">
                    <c:v>Rolling Mean (30 Minute)</c:v>
                  </c:pt>
                  <c:pt idx="895">
                    <c:v>Rolling Mean (30 Minute)</c:v>
                  </c:pt>
                  <c:pt idx="896">
                    <c:v>Rolling Mean (30 Minute)</c:v>
                  </c:pt>
                  <c:pt idx="897">
                    <c:v>Rolling Mean (30 Minute)</c:v>
                  </c:pt>
                  <c:pt idx="898">
                    <c:v>Rolling Mean (30 Minute)</c:v>
                  </c:pt>
                  <c:pt idx="899">
                    <c:v>Rolling Mean (30 Minute)</c:v>
                  </c:pt>
                  <c:pt idx="900">
                    <c:v>Rolling Mean (30 Minute)</c:v>
                  </c:pt>
                  <c:pt idx="901">
                    <c:v>Rolling Mean (30 Minute)</c:v>
                  </c:pt>
                  <c:pt idx="902">
                    <c:v>Rolling Mean (30 Minute)</c:v>
                  </c:pt>
                  <c:pt idx="903">
                    <c:v>Rolling Mean (30 Minute)</c:v>
                  </c:pt>
                  <c:pt idx="904">
                    <c:v>Rolling Mean (30 Minute)</c:v>
                  </c:pt>
                  <c:pt idx="905">
                    <c:v>Rolling Mean (30 Minute)</c:v>
                  </c:pt>
                  <c:pt idx="906">
                    <c:v>Rolling Mean (30 Minute)</c:v>
                  </c:pt>
                  <c:pt idx="907">
                    <c:v>Rolling Mean (30 Minute)</c:v>
                  </c:pt>
                  <c:pt idx="908">
                    <c:v>Rolling Mean (30 Minute)</c:v>
                  </c:pt>
                  <c:pt idx="909">
                    <c:v>Rolling Mean (30 Minute)</c:v>
                  </c:pt>
                  <c:pt idx="910">
                    <c:v>Rolling Mean (30 Minute)</c:v>
                  </c:pt>
                  <c:pt idx="911">
                    <c:v>Rolling Mean (30 Minute)</c:v>
                  </c:pt>
                  <c:pt idx="912">
                    <c:v>Rolling Mean (30 Minute)</c:v>
                  </c:pt>
                  <c:pt idx="913">
                    <c:v>Rolling Mean (30 Minute)</c:v>
                  </c:pt>
                  <c:pt idx="914">
                    <c:v>Rolling Mean (30 Minute)</c:v>
                  </c:pt>
                  <c:pt idx="915">
                    <c:v>Rolling Mean (30 Minute)</c:v>
                  </c:pt>
                  <c:pt idx="916">
                    <c:v>Rolling Mean (30 Minute)</c:v>
                  </c:pt>
                  <c:pt idx="917">
                    <c:v>Rolling Mean (30 Minute)</c:v>
                  </c:pt>
                  <c:pt idx="918">
                    <c:v>Rolling Mean (30 Minute)</c:v>
                  </c:pt>
                  <c:pt idx="919">
                    <c:v>Rolling Mean (30 Minute)</c:v>
                  </c:pt>
                  <c:pt idx="920">
                    <c:v>Rolling Mean (30 Minute)</c:v>
                  </c:pt>
                  <c:pt idx="921">
                    <c:v>Rolling Mean (30 Minute)</c:v>
                  </c:pt>
                  <c:pt idx="922">
                    <c:v>Rolling Mean (30 Minute)</c:v>
                  </c:pt>
                  <c:pt idx="923">
                    <c:v>Rolling Mean (30 Minute)</c:v>
                  </c:pt>
                  <c:pt idx="924">
                    <c:v>Rolling Mean (30 Minute)</c:v>
                  </c:pt>
                  <c:pt idx="925">
                    <c:v>Rolling Mean (30 Minute)</c:v>
                  </c:pt>
                  <c:pt idx="926">
                    <c:v>Rolling Mean (30 Minute)</c:v>
                  </c:pt>
                  <c:pt idx="927">
                    <c:v>Rolling Mean (30 Minute)</c:v>
                  </c:pt>
                  <c:pt idx="928">
                    <c:v>Rolling Mean (30 Minute)</c:v>
                  </c:pt>
                  <c:pt idx="929">
                    <c:v>Rolling Mean (30 Minute)</c:v>
                  </c:pt>
                  <c:pt idx="930">
                    <c:v>Rolling Mean (30 Minute)</c:v>
                  </c:pt>
                  <c:pt idx="931">
                    <c:v>Rolling Mean (30 Minute)</c:v>
                  </c:pt>
                  <c:pt idx="932">
                    <c:v>Rolling Mean (30 Minute)</c:v>
                  </c:pt>
                  <c:pt idx="933">
                    <c:v>Rolling Mean (30 Minute)</c:v>
                  </c:pt>
                  <c:pt idx="934">
                    <c:v>Rolling Mean (30 Minute)</c:v>
                  </c:pt>
                  <c:pt idx="935">
                    <c:v>Rolling Mean (30 Minute)</c:v>
                  </c:pt>
                  <c:pt idx="936">
                    <c:v>Rolling Mean (30 Minute)</c:v>
                  </c:pt>
                  <c:pt idx="937">
                    <c:v>Rolling Mean (30 Minute)</c:v>
                  </c:pt>
                  <c:pt idx="938">
                    <c:v>Rolling Mean (30 Minute)</c:v>
                  </c:pt>
                  <c:pt idx="939">
                    <c:v>Rolling Mean (30 Minute)</c:v>
                  </c:pt>
                  <c:pt idx="940">
                    <c:v>Rolling Mean (30 Minute)</c:v>
                  </c:pt>
                  <c:pt idx="941">
                    <c:v>Rolling Mean (30 Minute)</c:v>
                  </c:pt>
                  <c:pt idx="942">
                    <c:v>Rolling Mean (30 Minute)</c:v>
                  </c:pt>
                  <c:pt idx="943">
                    <c:v>Rolling Mean (30 Minute)</c:v>
                  </c:pt>
                  <c:pt idx="944">
                    <c:v>Rolling Mean (30 Minute)</c:v>
                  </c:pt>
                  <c:pt idx="945">
                    <c:v>Rolling Mean (30 Minute)</c:v>
                  </c:pt>
                  <c:pt idx="946">
                    <c:v>Rolling Mean (30 Minute)</c:v>
                  </c:pt>
                  <c:pt idx="947">
                    <c:v>Rolling Mean (30 Minute)</c:v>
                  </c:pt>
                  <c:pt idx="948">
                    <c:v>Rolling Mean (30 Minute)</c:v>
                  </c:pt>
                  <c:pt idx="949">
                    <c:v>Rolling Mean (30 Minute)</c:v>
                  </c:pt>
                  <c:pt idx="950">
                    <c:v>Rolling Mean (30 Minute)</c:v>
                  </c:pt>
                  <c:pt idx="951">
                    <c:v>Rolling Mean (30 Minute)</c:v>
                  </c:pt>
                  <c:pt idx="952">
                    <c:v>Rolling Mean (30 Minute)</c:v>
                  </c:pt>
                  <c:pt idx="953">
                    <c:v>Rolling Mean (30 Minute)</c:v>
                  </c:pt>
                  <c:pt idx="954">
                    <c:v>Rolling Mean (30 Minute)</c:v>
                  </c:pt>
                  <c:pt idx="955">
                    <c:v>Rolling Mean (30 Minute)</c:v>
                  </c:pt>
                  <c:pt idx="956">
                    <c:v>Rolling Mean (30 Minute)</c:v>
                  </c:pt>
                  <c:pt idx="957">
                    <c:v>Rolling Mean (30 Minute)</c:v>
                  </c:pt>
                  <c:pt idx="958">
                    <c:v>Rolling Mean (30 Minute)</c:v>
                  </c:pt>
                  <c:pt idx="959">
                    <c:v>Rolling Mean (30 Minute)</c:v>
                  </c:pt>
                  <c:pt idx="960">
                    <c:v>Rolling Mean (30 Minute)</c:v>
                  </c:pt>
                  <c:pt idx="961">
                    <c:v>Rolling Mean (30 Minute)</c:v>
                  </c:pt>
                  <c:pt idx="962">
                    <c:v>Rolling Mean (30 Minute)</c:v>
                  </c:pt>
                  <c:pt idx="963">
                    <c:v>Rolling Mean (30 Minute)</c:v>
                  </c:pt>
                  <c:pt idx="964">
                    <c:v>Rolling Mean (30 Minute)</c:v>
                  </c:pt>
                  <c:pt idx="965">
                    <c:v>Rolling Mean (30 Minute)</c:v>
                  </c:pt>
                  <c:pt idx="966">
                    <c:v>Rolling Mean (30 Minute)</c:v>
                  </c:pt>
                  <c:pt idx="967">
                    <c:v>Rolling Mean (30 Minute)</c:v>
                  </c:pt>
                  <c:pt idx="968">
                    <c:v>Rolling Mean (30 Minute)</c:v>
                  </c:pt>
                  <c:pt idx="969">
                    <c:v>Rolling Mean (30 Minute)</c:v>
                  </c:pt>
                  <c:pt idx="970">
                    <c:v>Rolling Mean (30 Minute)</c:v>
                  </c:pt>
                  <c:pt idx="971">
                    <c:v>Rolling Mean (30 Minute)</c:v>
                  </c:pt>
                  <c:pt idx="972">
                    <c:v>Rolling Mean (30 Minute)</c:v>
                  </c:pt>
                  <c:pt idx="973">
                    <c:v>Rolling Mean (30 Minute)</c:v>
                  </c:pt>
                  <c:pt idx="974">
                    <c:v>Rolling Mean (30 Minute)</c:v>
                  </c:pt>
                  <c:pt idx="975">
                    <c:v>Rolling Mean (30 Minute)</c:v>
                  </c:pt>
                  <c:pt idx="976">
                    <c:v>Rolling Mean (30 Minute)</c:v>
                  </c:pt>
                  <c:pt idx="977">
                    <c:v>Rolling Mean (30 Minute)</c:v>
                  </c:pt>
                  <c:pt idx="978">
                    <c:v>Rolling Mean (30 Minute)</c:v>
                  </c:pt>
                  <c:pt idx="979">
                    <c:v>Rolling Mean (30 Minute)</c:v>
                  </c:pt>
                  <c:pt idx="980">
                    <c:v>Rolling Mean (30 Minute)</c:v>
                  </c:pt>
                  <c:pt idx="981">
                    <c:v>Rolling Mean (30 Minute)</c:v>
                  </c:pt>
                  <c:pt idx="982">
                    <c:v>Rolling Mean (30 Minute)</c:v>
                  </c:pt>
                  <c:pt idx="983">
                    <c:v>Rolling Mean (30 Minute)</c:v>
                  </c:pt>
                  <c:pt idx="984">
                    <c:v>Rolling Mean (30 Minute)</c:v>
                  </c:pt>
                  <c:pt idx="985">
                    <c:v>Rolling Mean (30 Minute)</c:v>
                  </c:pt>
                  <c:pt idx="986">
                    <c:v>Rolling Mean (30 Minute)</c:v>
                  </c:pt>
                  <c:pt idx="987">
                    <c:v>Rolling Mean (30 Minute)</c:v>
                  </c:pt>
                  <c:pt idx="988">
                    <c:v>Rolling Mean (30 Minute)</c:v>
                  </c:pt>
                  <c:pt idx="989">
                    <c:v>Rolling Mean (30 Minute)</c:v>
                  </c:pt>
                  <c:pt idx="990">
                    <c:v>Rolling Mean (30 Minute)</c:v>
                  </c:pt>
                  <c:pt idx="991">
                    <c:v>Rolling Mean (30 Minute)</c:v>
                  </c:pt>
                  <c:pt idx="992">
                    <c:v>Rolling Mean (30 Minute)</c:v>
                  </c:pt>
                  <c:pt idx="993">
                    <c:v>Rolling Mean (30 Minute)</c:v>
                  </c:pt>
                  <c:pt idx="994">
                    <c:v>Rolling Mean (30 Minute)</c:v>
                  </c:pt>
                  <c:pt idx="995">
                    <c:v>Rolling Mean (30 Minute)</c:v>
                  </c:pt>
                  <c:pt idx="996">
                    <c:v>Rolling Mean (30 Minute)</c:v>
                  </c:pt>
                  <c:pt idx="997">
                    <c:v>Rolling Mean (30 Minute)</c:v>
                  </c:pt>
                  <c:pt idx="998">
                    <c:v>Rolling Mean (30 Minute)</c:v>
                  </c:pt>
                  <c:pt idx="999">
                    <c:v>Rolling Mean (30 Minute)</c:v>
                  </c:pt>
                  <c:pt idx="1000">
                    <c:v>Rolling Mean (30 Minute)</c:v>
                  </c:pt>
                  <c:pt idx="1001">
                    <c:v>Rolling Mean (30 Minute)</c:v>
                  </c:pt>
                  <c:pt idx="1002">
                    <c:v>Rolling Mean (30 Minute)</c:v>
                  </c:pt>
                  <c:pt idx="1003">
                    <c:v>Rolling Mean (30 Minute)</c:v>
                  </c:pt>
                  <c:pt idx="1004">
                    <c:v>Rolling Mean (30 Minute)</c:v>
                  </c:pt>
                  <c:pt idx="1005">
                    <c:v>Rolling Mean (30 Minute)</c:v>
                  </c:pt>
                  <c:pt idx="1006">
                    <c:v>Rolling Mean (30 Minute)</c:v>
                  </c:pt>
                  <c:pt idx="1007">
                    <c:v>Rolling Mean (30 Minute)</c:v>
                  </c:pt>
                  <c:pt idx="1008">
                    <c:v>Rolling Mean (30 Minute)</c:v>
                  </c:pt>
                  <c:pt idx="1009">
                    <c:v>Rolling Mean (30 Minute)</c:v>
                  </c:pt>
                  <c:pt idx="1010">
                    <c:v>Rolling Mean (30 Minute)</c:v>
                  </c:pt>
                  <c:pt idx="1011">
                    <c:v>Rolling Mean (30 Minute)</c:v>
                  </c:pt>
                  <c:pt idx="1012">
                    <c:v>Rolling Mean (30 Minute)</c:v>
                  </c:pt>
                  <c:pt idx="1013">
                    <c:v>Rolling Mean (30 Minute)</c:v>
                  </c:pt>
                  <c:pt idx="1014">
                    <c:v>Rolling Mean (30 Minute)</c:v>
                  </c:pt>
                  <c:pt idx="1015">
                    <c:v>Rolling Mean (30 Minute)</c:v>
                  </c:pt>
                  <c:pt idx="1016">
                    <c:v>Rolling Mean (30 Minute)</c:v>
                  </c:pt>
                  <c:pt idx="1017">
                    <c:v>Rolling Mean (30 Minute)</c:v>
                  </c:pt>
                  <c:pt idx="1018">
                    <c:v>Rolling Mean (30 Minute)</c:v>
                  </c:pt>
                  <c:pt idx="1019">
                    <c:v>Rolling Mean (30 Minute)</c:v>
                  </c:pt>
                  <c:pt idx="1020">
                    <c:v>Rolling Mean (30 Minute)</c:v>
                  </c:pt>
                  <c:pt idx="1021">
                    <c:v>Rolling Mean (30 Minute)</c:v>
                  </c:pt>
                  <c:pt idx="1022">
                    <c:v>Rolling Mean (30 Minute)</c:v>
                  </c:pt>
                  <c:pt idx="1023">
                    <c:v>Rolling Mean (30 Minute)</c:v>
                  </c:pt>
                  <c:pt idx="1024">
                    <c:v>Rolling Mean (30 Minute)</c:v>
                  </c:pt>
                  <c:pt idx="1025">
                    <c:v>Rolling Mean (30 Minute)</c:v>
                  </c:pt>
                  <c:pt idx="1026">
                    <c:v>Rolling Mean (30 Minute)</c:v>
                  </c:pt>
                  <c:pt idx="1027">
                    <c:v>Rolling Mean (30 Minute)</c:v>
                  </c:pt>
                  <c:pt idx="1028">
                    <c:v>Rolling Mean (30 Minute)</c:v>
                  </c:pt>
                  <c:pt idx="1029">
                    <c:v>Rolling Mean (30 Minute)</c:v>
                  </c:pt>
                  <c:pt idx="1030">
                    <c:v>Rolling Mean (30 Minute)</c:v>
                  </c:pt>
                  <c:pt idx="1031">
                    <c:v>Rolling Mean (30 Minute)</c:v>
                  </c:pt>
                  <c:pt idx="1032">
                    <c:v>Rolling Mean (30 Minute)</c:v>
                  </c:pt>
                  <c:pt idx="1033">
                    <c:v>Rolling Mean (30 Minute)</c:v>
                  </c:pt>
                  <c:pt idx="1034">
                    <c:v>Rolling Mean (30 Minute)</c:v>
                  </c:pt>
                  <c:pt idx="1035">
                    <c:v>Rolling Mean (30 Minute)</c:v>
                  </c:pt>
                  <c:pt idx="1036">
                    <c:v>Rolling Mean (30 Minute)</c:v>
                  </c:pt>
                  <c:pt idx="1037">
                    <c:v>Rolling Mean (30 Minute)</c:v>
                  </c:pt>
                  <c:pt idx="1038">
                    <c:v>Rolling Mean (30 Minute)</c:v>
                  </c:pt>
                  <c:pt idx="1039">
                    <c:v>Rolling Mean (30 Minute)</c:v>
                  </c:pt>
                  <c:pt idx="1040">
                    <c:v>Rolling Mean (30 Minute)</c:v>
                  </c:pt>
                  <c:pt idx="1041">
                    <c:v>Rolling Mean (30 Minute)</c:v>
                  </c:pt>
                  <c:pt idx="1042">
                    <c:v>Rolling Mean (30 Minute)</c:v>
                  </c:pt>
                  <c:pt idx="1043">
                    <c:v>Rolling Mean (30 Minute)</c:v>
                  </c:pt>
                  <c:pt idx="1044">
                    <c:v>Rolling Mean (30 Minute)</c:v>
                  </c:pt>
                  <c:pt idx="1045">
                    <c:v>Rolling Mean (30 Minute)</c:v>
                  </c:pt>
                  <c:pt idx="1046">
                    <c:v>Rolling Mean (30 Minute)</c:v>
                  </c:pt>
                  <c:pt idx="1047">
                    <c:v>Rolling Mean (30 Minute)</c:v>
                  </c:pt>
                  <c:pt idx="1048">
                    <c:v>Rolling Mean (30 Minute)</c:v>
                  </c:pt>
                  <c:pt idx="1049">
                    <c:v>Rolling Mean (30 Minute)</c:v>
                  </c:pt>
                  <c:pt idx="1050">
                    <c:v>Rolling Mean (30 Minute)</c:v>
                  </c:pt>
                  <c:pt idx="1051">
                    <c:v>Rolling Mean (30 Minute)</c:v>
                  </c:pt>
                  <c:pt idx="1052">
                    <c:v>Rolling Mean (30 Minute)</c:v>
                  </c:pt>
                  <c:pt idx="1053">
                    <c:v>Rolling Mean (30 Minute)</c:v>
                  </c:pt>
                  <c:pt idx="1054">
                    <c:v>Rolling Mean (30 Minute)</c:v>
                  </c:pt>
                  <c:pt idx="1055">
                    <c:v>Rolling Mean (30 Minute)</c:v>
                  </c:pt>
                  <c:pt idx="1056">
                    <c:v>Rolling Mean (30 Minute)</c:v>
                  </c:pt>
                  <c:pt idx="1057">
                    <c:v>Rolling Mean (30 Minute)</c:v>
                  </c:pt>
                  <c:pt idx="1058">
                    <c:v>Rolling Mean (30 Minute)</c:v>
                  </c:pt>
                  <c:pt idx="1059">
                    <c:v>Rolling Mean (30 Minute)</c:v>
                  </c:pt>
                  <c:pt idx="1060">
                    <c:v>Rolling Mean (30 Minute)</c:v>
                  </c:pt>
                  <c:pt idx="1061">
                    <c:v>Rolling Mean (30 Minute)</c:v>
                  </c:pt>
                  <c:pt idx="1062">
                    <c:v>Rolling Mean (30 Minute)</c:v>
                  </c:pt>
                  <c:pt idx="1063">
                    <c:v>Rolling Mean (30 Minute)</c:v>
                  </c:pt>
                  <c:pt idx="1064">
                    <c:v>Rolling Mean (30 Minute)</c:v>
                  </c:pt>
                  <c:pt idx="1065">
                    <c:v>Rolling Mean (30 Minute)</c:v>
                  </c:pt>
                  <c:pt idx="1066">
                    <c:v>Rolling Mean (30 Minute)</c:v>
                  </c:pt>
                  <c:pt idx="1067">
                    <c:v>Rolling Mean (30 Minute)</c:v>
                  </c:pt>
                  <c:pt idx="1068">
                    <c:v>Rolling Mean (30 Minute)</c:v>
                  </c:pt>
                  <c:pt idx="1069">
                    <c:v>Rolling Mean (30 Minute)</c:v>
                  </c:pt>
                  <c:pt idx="1070">
                    <c:v>Rolling Mean (30 Minute)</c:v>
                  </c:pt>
                  <c:pt idx="1071">
                    <c:v>Rolling Mean (30 Minute)</c:v>
                  </c:pt>
                  <c:pt idx="1072">
                    <c:v>Rolling Mean (30 Minute)</c:v>
                  </c:pt>
                  <c:pt idx="1073">
                    <c:v>Rolling Mean (30 Minute)</c:v>
                  </c:pt>
                  <c:pt idx="1074">
                    <c:v>Rolling Mean (30 Minute)</c:v>
                  </c:pt>
                  <c:pt idx="1075">
                    <c:v>Rolling Mean (30 Minute)</c:v>
                  </c:pt>
                  <c:pt idx="1076">
                    <c:v>Rolling Mean (30 Minute)</c:v>
                  </c:pt>
                  <c:pt idx="1077">
                    <c:v>Rolling Mean (30 Minute)</c:v>
                  </c:pt>
                  <c:pt idx="1078">
                    <c:v>Rolling Mean (30 Minute)</c:v>
                  </c:pt>
                  <c:pt idx="1079">
                    <c:v>Rolling Mean (30 Minute)</c:v>
                  </c:pt>
                  <c:pt idx="1080">
                    <c:v>Rolling Mean (30 Minute)</c:v>
                  </c:pt>
                  <c:pt idx="1081">
                    <c:v>Rolling Mean (30 Minute)</c:v>
                  </c:pt>
                  <c:pt idx="1082">
                    <c:v>Rolling Mean (30 Minute)</c:v>
                  </c:pt>
                  <c:pt idx="1083">
                    <c:v>Rolling Mean (30 Minute)</c:v>
                  </c:pt>
                  <c:pt idx="1084">
                    <c:v>Rolling Mean (30 Minute)</c:v>
                  </c:pt>
                  <c:pt idx="1085">
                    <c:v>Rolling Mean (30 Minute)</c:v>
                  </c:pt>
                  <c:pt idx="1086">
                    <c:v>Rolling Mean (30 Minute)</c:v>
                  </c:pt>
                  <c:pt idx="1087">
                    <c:v>Rolling Mean (30 Minute)</c:v>
                  </c:pt>
                  <c:pt idx="1088">
                    <c:v>Rolling Mean (30 Minute)</c:v>
                  </c:pt>
                  <c:pt idx="1089">
                    <c:v>Rolling Mean (30 Minute)</c:v>
                  </c:pt>
                  <c:pt idx="1090">
                    <c:v>Rolling Mean (30 Minute)</c:v>
                  </c:pt>
                  <c:pt idx="1091">
                    <c:v>Rolling Mean (30 Minute)</c:v>
                  </c:pt>
                  <c:pt idx="1092">
                    <c:v>Rolling Mean (30 Minute)</c:v>
                  </c:pt>
                  <c:pt idx="1093">
                    <c:v>Rolling Mean (30 Minute)</c:v>
                  </c:pt>
                  <c:pt idx="1094">
                    <c:v>Rolling Mean (30 Minute)</c:v>
                  </c:pt>
                  <c:pt idx="1095">
                    <c:v>Rolling Mean (30 Minute)</c:v>
                  </c:pt>
                  <c:pt idx="1096">
                    <c:v>Rolling Mean (30 Minute)</c:v>
                  </c:pt>
                  <c:pt idx="1097">
                    <c:v>Rolling Mean (30 Minute)</c:v>
                  </c:pt>
                  <c:pt idx="1098">
                    <c:v>Rolling Mean (30 Minute)</c:v>
                  </c:pt>
                  <c:pt idx="1099">
                    <c:v>Rolling Mean (30 Minute)</c:v>
                  </c:pt>
                  <c:pt idx="1100">
                    <c:v>Rolling Mean (30 Minute)</c:v>
                  </c:pt>
                  <c:pt idx="1101">
                    <c:v>Rolling Mean (30 Minute)</c:v>
                  </c:pt>
                  <c:pt idx="1102">
                    <c:v>Rolling Mean (30 Minute)</c:v>
                  </c:pt>
                  <c:pt idx="1103">
                    <c:v>Rolling Mean (30 Minute)</c:v>
                  </c:pt>
                  <c:pt idx="1104">
                    <c:v>Rolling Mean (30 Minute)</c:v>
                  </c:pt>
                  <c:pt idx="1105">
                    <c:v>Rolling Mean (30 Minute)</c:v>
                  </c:pt>
                  <c:pt idx="1106">
                    <c:v>Rolling Mean (30 Minute)</c:v>
                  </c:pt>
                  <c:pt idx="1107">
                    <c:v>Rolling Mean (30 Minute)</c:v>
                  </c:pt>
                  <c:pt idx="1108">
                    <c:v>Rolling Mean (30 Minute)</c:v>
                  </c:pt>
                  <c:pt idx="1109">
                    <c:v>Rolling Mean (30 Minute)</c:v>
                  </c:pt>
                  <c:pt idx="1110">
                    <c:v>Rolling Mean (30 Minute)</c:v>
                  </c:pt>
                  <c:pt idx="1111">
                    <c:v>Rolling Mean (30 Minute)</c:v>
                  </c:pt>
                  <c:pt idx="1112">
                    <c:v>Rolling Mean (30 Minute)</c:v>
                  </c:pt>
                  <c:pt idx="1113">
                    <c:v>Rolling Mean (30 Minute)</c:v>
                  </c:pt>
                  <c:pt idx="1114">
                    <c:v>Rolling Mean (30 Minute)</c:v>
                  </c:pt>
                  <c:pt idx="1115">
                    <c:v>Rolling Mean (30 Minute)</c:v>
                  </c:pt>
                  <c:pt idx="1116">
                    <c:v>Rolling Mean (30 Minute)</c:v>
                  </c:pt>
                  <c:pt idx="1117">
                    <c:v>Rolling Mean (30 Minute)</c:v>
                  </c:pt>
                  <c:pt idx="1118">
                    <c:v>Rolling Mean (30 Minute)</c:v>
                  </c:pt>
                  <c:pt idx="1119">
                    <c:v>Rolling Mean (30 Minute)</c:v>
                  </c:pt>
                  <c:pt idx="1120">
                    <c:v>Rolling Mean (30 Minute)</c:v>
                  </c:pt>
                  <c:pt idx="1121">
                    <c:v>Rolling Mean (30 Minute)</c:v>
                  </c:pt>
                  <c:pt idx="1122">
                    <c:v>Rolling Mean (30 Minute)</c:v>
                  </c:pt>
                  <c:pt idx="1123">
                    <c:v>Rolling Mean (30 Minute)</c:v>
                  </c:pt>
                  <c:pt idx="1124">
                    <c:v>Rolling Mean (30 Minute)</c:v>
                  </c:pt>
                  <c:pt idx="1125">
                    <c:v>Rolling Mean (30 Minute)</c:v>
                  </c:pt>
                  <c:pt idx="1126">
                    <c:v>Rolling Mean (30 Minute)</c:v>
                  </c:pt>
                  <c:pt idx="1127">
                    <c:v>Rolling Mean (30 Minute)</c:v>
                  </c:pt>
                  <c:pt idx="1128">
                    <c:v>Rolling Mean (30 Minute)</c:v>
                  </c:pt>
                  <c:pt idx="1129">
                    <c:v>Rolling Mean (30 Minute)</c:v>
                  </c:pt>
                  <c:pt idx="1130">
                    <c:v>Rolling Mean (30 Minute)</c:v>
                  </c:pt>
                  <c:pt idx="1131">
                    <c:v>Rolling Mean (30 Minute)</c:v>
                  </c:pt>
                  <c:pt idx="1132">
                    <c:v>Rolling Mean (30 Minute)</c:v>
                  </c:pt>
                  <c:pt idx="1133">
                    <c:v>Rolling Mean (30 Minute)</c:v>
                  </c:pt>
                  <c:pt idx="1134">
                    <c:v>Rolling Mean (30 Minute)</c:v>
                  </c:pt>
                  <c:pt idx="1135">
                    <c:v>Rolling Mean (30 Minute)</c:v>
                  </c:pt>
                  <c:pt idx="1136">
                    <c:v>Rolling Mean (30 Minute)</c:v>
                  </c:pt>
                  <c:pt idx="1137">
                    <c:v>Rolling Mean (30 Minute)</c:v>
                  </c:pt>
                  <c:pt idx="1138">
                    <c:v>Rolling Mean (30 Minute)</c:v>
                  </c:pt>
                  <c:pt idx="1139">
                    <c:v>Rolling Mean (30 Minute)</c:v>
                  </c:pt>
                  <c:pt idx="1140">
                    <c:v>Rolling Mean (30 Minute)</c:v>
                  </c:pt>
                  <c:pt idx="1141">
                    <c:v>Rolling Mean (30 Minute)</c:v>
                  </c:pt>
                  <c:pt idx="1142">
                    <c:v>Rolling Mean (30 Minute)</c:v>
                  </c:pt>
                  <c:pt idx="1143">
                    <c:v>Rolling Mean (30 Minute)</c:v>
                  </c:pt>
                  <c:pt idx="1144">
                    <c:v>Rolling Mean (30 Minute)</c:v>
                  </c:pt>
                  <c:pt idx="1145">
                    <c:v>Rolling Mean (30 Minute)</c:v>
                  </c:pt>
                  <c:pt idx="1146">
                    <c:v>Rolling Mean (30 Minute)</c:v>
                  </c:pt>
                  <c:pt idx="1147">
                    <c:v>Rolling Mean (30 Minute)</c:v>
                  </c:pt>
                  <c:pt idx="1148">
                    <c:v>Rolling Mean (30 Minute)</c:v>
                  </c:pt>
                  <c:pt idx="1149">
                    <c:v>Rolling Mean (30 Minute)</c:v>
                  </c:pt>
                  <c:pt idx="1150">
                    <c:v>Rolling Mean (30 Minute)</c:v>
                  </c:pt>
                  <c:pt idx="1151">
                    <c:v>Rolling Mean (30 Minute)</c:v>
                  </c:pt>
                  <c:pt idx="1152">
                    <c:v>Rolling Mean (30 Minute)</c:v>
                  </c:pt>
                  <c:pt idx="1153">
                    <c:v>Rolling Mean (30 Minute)</c:v>
                  </c:pt>
                  <c:pt idx="1154">
                    <c:v>Rolling Mean (30 Minute)</c:v>
                  </c:pt>
                  <c:pt idx="1155">
                    <c:v>Rolling Mean (30 Minute)</c:v>
                  </c:pt>
                  <c:pt idx="1156">
                    <c:v>Rolling Mean (30 Minute)</c:v>
                  </c:pt>
                  <c:pt idx="1157">
                    <c:v>Rolling Mean (30 Minute)</c:v>
                  </c:pt>
                  <c:pt idx="1158">
                    <c:v>Rolling Mean (30 Minute)</c:v>
                  </c:pt>
                  <c:pt idx="1159">
                    <c:v>Rolling Mean (30 Minute)</c:v>
                  </c:pt>
                  <c:pt idx="1160">
                    <c:v>Rolling Mean (30 Minute)</c:v>
                  </c:pt>
                  <c:pt idx="1161">
                    <c:v>Rolling Mean (30 Minute)</c:v>
                  </c:pt>
                  <c:pt idx="1162">
                    <c:v>Rolling Mean (30 Minute)</c:v>
                  </c:pt>
                  <c:pt idx="1163">
                    <c:v>Rolling Mean (30 Minute)</c:v>
                  </c:pt>
                  <c:pt idx="1164">
                    <c:v>Rolling Mean (30 Minute)</c:v>
                  </c:pt>
                  <c:pt idx="1165">
                    <c:v>Rolling Mean (30 Minute)</c:v>
                  </c:pt>
                  <c:pt idx="1166">
                    <c:v>Rolling Mean (30 Minute)</c:v>
                  </c:pt>
                  <c:pt idx="1167">
                    <c:v>Rolling Mean (30 Minute)</c:v>
                  </c:pt>
                  <c:pt idx="1168">
                    <c:v>Rolling Mean (30 Minute)</c:v>
                  </c:pt>
                  <c:pt idx="1169">
                    <c:v>Rolling Mean (30 Minute)</c:v>
                  </c:pt>
                  <c:pt idx="1170">
                    <c:v>Rolling Mean (30 Minute)</c:v>
                  </c:pt>
                  <c:pt idx="1171">
                    <c:v>Rolling Mean (30 Minute)</c:v>
                  </c:pt>
                  <c:pt idx="1172">
                    <c:v>Rolling Mean (30 Minute)</c:v>
                  </c:pt>
                  <c:pt idx="1173">
                    <c:v>Rolling Mean (30 Minute)</c:v>
                  </c:pt>
                  <c:pt idx="1174">
                    <c:v>Rolling Mean (30 Minute)</c:v>
                  </c:pt>
                  <c:pt idx="1175">
                    <c:v>Rolling Mean (30 Minute)</c:v>
                  </c:pt>
                  <c:pt idx="1176">
                    <c:v>Rolling Mean (30 Minute)</c:v>
                  </c:pt>
                  <c:pt idx="1177">
                    <c:v>Rolling Mean (30 Minute)</c:v>
                  </c:pt>
                  <c:pt idx="1178">
                    <c:v>Rolling Mean (30 Minute)</c:v>
                  </c:pt>
                  <c:pt idx="1179">
                    <c:v>Rolling Mean (30 Minute)</c:v>
                  </c:pt>
                  <c:pt idx="1180">
                    <c:v>Rolling Mean (30 Minute)</c:v>
                  </c:pt>
                  <c:pt idx="1181">
                    <c:v>Rolling Mean (30 Minute)</c:v>
                  </c:pt>
                  <c:pt idx="1182">
                    <c:v>Rolling Mean (30 Minute)</c:v>
                  </c:pt>
                  <c:pt idx="1183">
                    <c:v>Rolling Mean (30 Minute)</c:v>
                  </c:pt>
                  <c:pt idx="1184">
                    <c:v>Rolling Mean (30 Minute)</c:v>
                  </c:pt>
                  <c:pt idx="1185">
                    <c:v>Rolling Mean (30 Minute)</c:v>
                  </c:pt>
                  <c:pt idx="1186">
                    <c:v>Rolling Mean (30 Minute)</c:v>
                  </c:pt>
                  <c:pt idx="1187">
                    <c:v>Rolling Mean (30 Minute)</c:v>
                  </c:pt>
                  <c:pt idx="1188">
                    <c:v>Rolling Mean (30 Minute)</c:v>
                  </c:pt>
                  <c:pt idx="1189">
                    <c:v>Rolling Mean (30 Minute)</c:v>
                  </c:pt>
                  <c:pt idx="1190">
                    <c:v>Rolling Mean (30 Minute)</c:v>
                  </c:pt>
                  <c:pt idx="1191">
                    <c:v>Rolling Mean (30 Minute)</c:v>
                  </c:pt>
                  <c:pt idx="1192">
                    <c:v>Rolling Mean (30 Minute)</c:v>
                  </c:pt>
                  <c:pt idx="1193">
                    <c:v>Rolling Mean (30 Minute)</c:v>
                  </c:pt>
                  <c:pt idx="1194">
                    <c:v>Rolling Mean (30 Minute)</c:v>
                  </c:pt>
                  <c:pt idx="1195">
                    <c:v>Rolling Mean (30 Minute)</c:v>
                  </c:pt>
                  <c:pt idx="1196">
                    <c:v>Rolling Mean (30 Minute)</c:v>
                  </c:pt>
                  <c:pt idx="1197">
                    <c:v>Rolling Mean (30 Minute)</c:v>
                  </c:pt>
                  <c:pt idx="1198">
                    <c:v>Rolling Mean (30 Minute)</c:v>
                  </c:pt>
                  <c:pt idx="1199">
                    <c:v>Rolling Mean (30 Minute)</c:v>
                  </c:pt>
                  <c:pt idx="1200">
                    <c:v>Rolling Mean (30 Minute)</c:v>
                  </c:pt>
                  <c:pt idx="1201">
                    <c:v>Rolling Mean (30 Minute)</c:v>
                  </c:pt>
                  <c:pt idx="1202">
                    <c:v>Rolling Mean (30 Minute)</c:v>
                  </c:pt>
                  <c:pt idx="1203">
                    <c:v>Rolling Mean (30 Minute)</c:v>
                  </c:pt>
                  <c:pt idx="1204">
                    <c:v>Rolling Mean (30 Minute)</c:v>
                  </c:pt>
                  <c:pt idx="1205">
                    <c:v>Rolling Mean (30 Minute)</c:v>
                  </c:pt>
                  <c:pt idx="1206">
                    <c:v>Rolling Mean (30 Minute)</c:v>
                  </c:pt>
                  <c:pt idx="1207">
                    <c:v>Rolling Mean (30 Minute)</c:v>
                  </c:pt>
                  <c:pt idx="1208">
                    <c:v>Rolling Mean (30 Minute)</c:v>
                  </c:pt>
                  <c:pt idx="1209">
                    <c:v>Rolling Mean (30 Minute)</c:v>
                  </c:pt>
                  <c:pt idx="1210">
                    <c:v>Rolling Mean (30 Minute)</c:v>
                  </c:pt>
                  <c:pt idx="1211">
                    <c:v>Rolling Mean (30 Minute)</c:v>
                  </c:pt>
                  <c:pt idx="1212">
                    <c:v>Rolling Mean (30 Minute)</c:v>
                  </c:pt>
                  <c:pt idx="1213">
                    <c:v>Rolling Mean (30 Minute)</c:v>
                  </c:pt>
                  <c:pt idx="1214">
                    <c:v>Rolling Mean (30 Minute)</c:v>
                  </c:pt>
                  <c:pt idx="1215">
                    <c:v>Rolling Mean (30 Minute)</c:v>
                  </c:pt>
                  <c:pt idx="1216">
                    <c:v>Rolling Mean (30 Minute)</c:v>
                  </c:pt>
                  <c:pt idx="1217">
                    <c:v>Rolling Mean (30 Minute)</c:v>
                  </c:pt>
                  <c:pt idx="1218">
                    <c:v>Rolling Mean (30 Minute)</c:v>
                  </c:pt>
                  <c:pt idx="1219">
                    <c:v>Rolling Mean (30 Minute)</c:v>
                  </c:pt>
                  <c:pt idx="1220">
                    <c:v>Rolling Mean (30 Minute)</c:v>
                  </c:pt>
                  <c:pt idx="1221">
                    <c:v>Rolling Mean (30 Minute)</c:v>
                  </c:pt>
                  <c:pt idx="1222">
                    <c:v>Rolling Mean (30 Minute)</c:v>
                  </c:pt>
                  <c:pt idx="1223">
                    <c:v>Rolling Mean (30 Minute)</c:v>
                  </c:pt>
                  <c:pt idx="1224">
                    <c:v>Rolling Mean (30 Minute)</c:v>
                  </c:pt>
                  <c:pt idx="1225">
                    <c:v>Rolling Mean (30 Minute)</c:v>
                  </c:pt>
                  <c:pt idx="1226">
                    <c:v>Rolling Mean (30 Minute)</c:v>
                  </c:pt>
                  <c:pt idx="1227">
                    <c:v>Rolling Mean (30 Minute)</c:v>
                  </c:pt>
                  <c:pt idx="1228">
                    <c:v>Rolling Mean (30 Minute)</c:v>
                  </c:pt>
                  <c:pt idx="1229">
                    <c:v>Rolling Mean (30 Minute)</c:v>
                  </c:pt>
                  <c:pt idx="1230">
                    <c:v>Rolling Mean (30 Minute)</c:v>
                  </c:pt>
                  <c:pt idx="1231">
                    <c:v>Rolling Mean (30 Minute)</c:v>
                  </c:pt>
                  <c:pt idx="1232">
                    <c:v>Rolling Mean (30 Minute)</c:v>
                  </c:pt>
                  <c:pt idx="1233">
                    <c:v>Rolling Mean (30 Minute)</c:v>
                  </c:pt>
                  <c:pt idx="1234">
                    <c:v>Rolling Mean (30 Minute)</c:v>
                  </c:pt>
                  <c:pt idx="1235">
                    <c:v>Rolling Mean (30 Minute)</c:v>
                  </c:pt>
                  <c:pt idx="1236">
                    <c:v>Rolling Mean (30 Minute)</c:v>
                  </c:pt>
                  <c:pt idx="1237">
                    <c:v>Rolling Mean (30 Minute)</c:v>
                  </c:pt>
                  <c:pt idx="1238">
                    <c:v>Rolling Mean (30 Minute)</c:v>
                  </c:pt>
                  <c:pt idx="1239">
                    <c:v>Rolling Mean (30 Minute)</c:v>
                  </c:pt>
                  <c:pt idx="1240">
                    <c:v>Rolling Mean (30 Minute)</c:v>
                  </c:pt>
                  <c:pt idx="1241">
                    <c:v>Rolling Mean (30 Minute)</c:v>
                  </c:pt>
                  <c:pt idx="1242">
                    <c:v>Rolling Mean (30 Minute)</c:v>
                  </c:pt>
                  <c:pt idx="1243">
                    <c:v>Rolling Mean (30 Minute)</c:v>
                  </c:pt>
                  <c:pt idx="1244">
                    <c:v>Rolling Mean (30 Minute)</c:v>
                  </c:pt>
                  <c:pt idx="1245">
                    <c:v>Rolling Mean (30 Minute)</c:v>
                  </c:pt>
                  <c:pt idx="1246">
                    <c:v>Rolling Mean (30 Minute)</c:v>
                  </c:pt>
                  <c:pt idx="1247">
                    <c:v>Rolling Mean (30 Minute)</c:v>
                  </c:pt>
                  <c:pt idx="1248">
                    <c:v>Rolling Mean (30 Minute)</c:v>
                  </c:pt>
                  <c:pt idx="1249">
                    <c:v>Rolling Mean (30 Minute)</c:v>
                  </c:pt>
                  <c:pt idx="1250">
                    <c:v>Rolling Mean (30 Minute)</c:v>
                  </c:pt>
                  <c:pt idx="1251">
                    <c:v>Rolling Mean (30 Minute)</c:v>
                  </c:pt>
                  <c:pt idx="1252">
                    <c:v>Rolling Mean (30 Minute)</c:v>
                  </c:pt>
                  <c:pt idx="1253">
                    <c:v>Rolling Mean (30 Minute)</c:v>
                  </c:pt>
                  <c:pt idx="1254">
                    <c:v>Rolling Mean (30 Minute)</c:v>
                  </c:pt>
                  <c:pt idx="1255">
                    <c:v>Rolling Mean (30 Minute)</c:v>
                  </c:pt>
                  <c:pt idx="1256">
                    <c:v>Rolling Mean (30 Minute)</c:v>
                  </c:pt>
                  <c:pt idx="1257">
                    <c:v>Rolling Mean (30 Minute)</c:v>
                  </c:pt>
                  <c:pt idx="1258">
                    <c:v>Rolling Mean (30 Minute)</c:v>
                  </c:pt>
                  <c:pt idx="1259">
                    <c:v>Rolling Mean (30 Minute)</c:v>
                  </c:pt>
                  <c:pt idx="1260">
                    <c:v>Rolling Mean (30 Minute)</c:v>
                  </c:pt>
                  <c:pt idx="1261">
                    <c:v>Rolling Mean (30 Minute)</c:v>
                  </c:pt>
                  <c:pt idx="1262">
                    <c:v>Rolling Mean (30 Minute)</c:v>
                  </c:pt>
                  <c:pt idx="1263">
                    <c:v>Rolling Mean (30 Minute)</c:v>
                  </c:pt>
                  <c:pt idx="1264">
                    <c:v>Rolling Mean (30 Minute)</c:v>
                  </c:pt>
                  <c:pt idx="1265">
                    <c:v>Rolling Mean (30 Minute)</c:v>
                  </c:pt>
                  <c:pt idx="1266">
                    <c:v>Rolling Mean (30 Minute)</c:v>
                  </c:pt>
                  <c:pt idx="1267">
                    <c:v>Rolling Mean (30 Minute)</c:v>
                  </c:pt>
                  <c:pt idx="1268">
                    <c:v>Rolling Mean (30 Minute)</c:v>
                  </c:pt>
                  <c:pt idx="1269">
                    <c:v>Rolling Mean (30 Minute)</c:v>
                  </c:pt>
                  <c:pt idx="1270">
                    <c:v>Rolling Mean (30 Minute)</c:v>
                  </c:pt>
                  <c:pt idx="1271">
                    <c:v>Rolling Mean (30 Minute)</c:v>
                  </c:pt>
                  <c:pt idx="1272">
                    <c:v>Rolling Mean (30 Minute)</c:v>
                  </c:pt>
                  <c:pt idx="1273">
                    <c:v>Rolling Mean (30 Minute)</c:v>
                  </c:pt>
                  <c:pt idx="1274">
                    <c:v>Rolling Mean (30 Minute)</c:v>
                  </c:pt>
                  <c:pt idx="1275">
                    <c:v>Rolling Mean (30 Minute)</c:v>
                  </c:pt>
                  <c:pt idx="1276">
                    <c:v>Rolling Mean (30 Minute)</c:v>
                  </c:pt>
                  <c:pt idx="1277">
                    <c:v>Rolling Mean (30 Minute)</c:v>
                  </c:pt>
                  <c:pt idx="1278">
                    <c:v>Rolling Mean (30 Minute)</c:v>
                  </c:pt>
                  <c:pt idx="1279">
                    <c:v>Rolling Mean (30 Minute)</c:v>
                  </c:pt>
                  <c:pt idx="1280">
                    <c:v>Rolling Mean (30 Minute)</c:v>
                  </c:pt>
                  <c:pt idx="1281">
                    <c:v>Rolling Mean (30 Minute)</c:v>
                  </c:pt>
                  <c:pt idx="1282">
                    <c:v>Rolling Mean (30 Minute)</c:v>
                  </c:pt>
                  <c:pt idx="1283">
                    <c:v>Rolling Mean (30 Minute)</c:v>
                  </c:pt>
                  <c:pt idx="1284">
                    <c:v>Rolling Mean (30 Minute)</c:v>
                  </c:pt>
                  <c:pt idx="1285">
                    <c:v>Rolling Mean (30 Minute)</c:v>
                  </c:pt>
                  <c:pt idx="1286">
                    <c:v>Rolling Mean (30 Minute)</c:v>
                  </c:pt>
                  <c:pt idx="1287">
                    <c:v>Rolling Mean (30 Minute)</c:v>
                  </c:pt>
                  <c:pt idx="1288">
                    <c:v>Rolling Mean (30 Minute)</c:v>
                  </c:pt>
                  <c:pt idx="1289">
                    <c:v>Rolling Mean (30 Minute)</c:v>
                  </c:pt>
                  <c:pt idx="1290">
                    <c:v>Rolling Mean (30 Minute)</c:v>
                  </c:pt>
                  <c:pt idx="1291">
                    <c:v>Rolling Mean (30 Minute)</c:v>
                  </c:pt>
                  <c:pt idx="1292">
                    <c:v>Rolling Mean (30 Minute)</c:v>
                  </c:pt>
                  <c:pt idx="1293">
                    <c:v>Rolling Mean (30 Minute)</c:v>
                  </c:pt>
                  <c:pt idx="1294">
                    <c:v>Rolling Mean (30 Minute)</c:v>
                  </c:pt>
                  <c:pt idx="1295">
                    <c:v>Rolling Mean (30 Minute)</c:v>
                  </c:pt>
                  <c:pt idx="1296">
                    <c:v>Rolling Mean (30 Minute)</c:v>
                  </c:pt>
                  <c:pt idx="1297">
                    <c:v>Rolling Mean (30 Minute)</c:v>
                  </c:pt>
                  <c:pt idx="1298">
                    <c:v>Rolling Mean (30 Minute)</c:v>
                  </c:pt>
                  <c:pt idx="1299">
                    <c:v>Rolling Mean (30 Minute)</c:v>
                  </c:pt>
                  <c:pt idx="1300">
                    <c:v>Rolling Mean (30 Minute)</c:v>
                  </c:pt>
                  <c:pt idx="1301">
                    <c:v>Rolling Mean (30 Minute)</c:v>
                  </c:pt>
                  <c:pt idx="1302">
                    <c:v>Rolling Mean (30 Minute)</c:v>
                  </c:pt>
                  <c:pt idx="1303">
                    <c:v>Rolling Mean (30 Minute)</c:v>
                  </c:pt>
                  <c:pt idx="1304">
                    <c:v>Rolling Mean (30 Minute)</c:v>
                  </c:pt>
                  <c:pt idx="1305">
                    <c:v>Rolling Mean (30 Minute)</c:v>
                  </c:pt>
                  <c:pt idx="1306">
                    <c:v>Rolling Mean (30 Minute)</c:v>
                  </c:pt>
                  <c:pt idx="1307">
                    <c:v>Rolling Mean (30 Minute)</c:v>
                  </c:pt>
                  <c:pt idx="1308">
                    <c:v>Rolling Mean (30 Minute)</c:v>
                  </c:pt>
                  <c:pt idx="1309">
                    <c:v>Rolling Mean (30 Minute)</c:v>
                  </c:pt>
                  <c:pt idx="1310">
                    <c:v>Rolling Mean (30 Minute)</c:v>
                  </c:pt>
                  <c:pt idx="1311">
                    <c:v>Rolling Mean (30 Minute)</c:v>
                  </c:pt>
                  <c:pt idx="1312">
                    <c:v>Rolling Mean (30 Minute)</c:v>
                  </c:pt>
                  <c:pt idx="1313">
                    <c:v>Rolling Mean (30 Minute)</c:v>
                  </c:pt>
                  <c:pt idx="1314">
                    <c:v>Rolling Mean (30 Minute)</c:v>
                  </c:pt>
                  <c:pt idx="1315">
                    <c:v>Rolling Mean (30 Minute)</c:v>
                  </c:pt>
                  <c:pt idx="1316">
                    <c:v>Rolling Mean (30 Minute)</c:v>
                  </c:pt>
                  <c:pt idx="1317">
                    <c:v>Rolling Mean (30 Minute)</c:v>
                  </c:pt>
                  <c:pt idx="1318">
                    <c:v>Rolling Mean (30 Minute)</c:v>
                  </c:pt>
                  <c:pt idx="1319">
                    <c:v>Rolling Mean (30 Minute)</c:v>
                  </c:pt>
                  <c:pt idx="1320">
                    <c:v>Rolling Mean (30 Minute)</c:v>
                  </c:pt>
                  <c:pt idx="1321">
                    <c:v>Rolling Mean (30 Minute)</c:v>
                  </c:pt>
                  <c:pt idx="1322">
                    <c:v>Rolling Mean (30 Minute)</c:v>
                  </c:pt>
                  <c:pt idx="1323">
                    <c:v>Rolling Mean (30 Minute)</c:v>
                  </c:pt>
                  <c:pt idx="1324">
                    <c:v>Rolling Mean (30 Minute)</c:v>
                  </c:pt>
                  <c:pt idx="1325">
                    <c:v>Rolling Mean (30 Minute)</c:v>
                  </c:pt>
                  <c:pt idx="1326">
                    <c:v>Rolling Mean (30 Minute)</c:v>
                  </c:pt>
                  <c:pt idx="1327">
                    <c:v>Rolling Mean (30 Minute)</c:v>
                  </c:pt>
                  <c:pt idx="1328">
                    <c:v>Rolling Mean (30 Minute)</c:v>
                  </c:pt>
                  <c:pt idx="1329">
                    <c:v>Rolling Mean (30 Minute)</c:v>
                  </c:pt>
                  <c:pt idx="1330">
                    <c:v>Rolling Mean (30 Minute)</c:v>
                  </c:pt>
                  <c:pt idx="1331">
                    <c:v>Rolling Mean (30 Minute)</c:v>
                  </c:pt>
                  <c:pt idx="1332">
                    <c:v>Rolling Mean (30 Minute)</c:v>
                  </c:pt>
                  <c:pt idx="1333">
                    <c:v>Rolling Mean (30 Minute)</c:v>
                  </c:pt>
                  <c:pt idx="1334">
                    <c:v>Rolling Mean (30 Minute)</c:v>
                  </c:pt>
                  <c:pt idx="1335">
                    <c:v>Rolling Mean (30 Minute)</c:v>
                  </c:pt>
                  <c:pt idx="1336">
                    <c:v>Rolling Mean (30 Minute)</c:v>
                  </c:pt>
                  <c:pt idx="1337">
                    <c:v>Rolling Mean (30 Minute)</c:v>
                  </c:pt>
                  <c:pt idx="1338">
                    <c:v>Rolling Mean (30 Minute)</c:v>
                  </c:pt>
                  <c:pt idx="1339">
                    <c:v>Rolling Mean (30 Minute)</c:v>
                  </c:pt>
                  <c:pt idx="1340">
                    <c:v>Rolling Mean (30 Minute)</c:v>
                  </c:pt>
                  <c:pt idx="1341">
                    <c:v>Rolling Mean (30 Minute)</c:v>
                  </c:pt>
                  <c:pt idx="1342">
                    <c:v>Rolling Mean (30 Minute)</c:v>
                  </c:pt>
                  <c:pt idx="1343">
                    <c:v>Rolling Mean (30 Minute)</c:v>
                  </c:pt>
                  <c:pt idx="1344">
                    <c:v>Rolling Mean (30 Minute)</c:v>
                  </c:pt>
                  <c:pt idx="1345">
                    <c:v>Rolling Mean (30 Minute)</c:v>
                  </c:pt>
                  <c:pt idx="1346">
                    <c:v>Rolling Mean (30 Minute)</c:v>
                  </c:pt>
                  <c:pt idx="1347">
                    <c:v>Rolling Mean (30 Minute)</c:v>
                  </c:pt>
                  <c:pt idx="1348">
                    <c:v>Rolling Mean (30 Minute)</c:v>
                  </c:pt>
                  <c:pt idx="1349">
                    <c:v>Rolling Mean (30 Minute)</c:v>
                  </c:pt>
                  <c:pt idx="1350">
                    <c:v>Rolling Mean (30 Minute)</c:v>
                  </c:pt>
                  <c:pt idx="1351">
                    <c:v>Rolling Mean (30 Minute)</c:v>
                  </c:pt>
                  <c:pt idx="1352">
                    <c:v>Rolling Mean (30 Minute)</c:v>
                  </c:pt>
                  <c:pt idx="1353">
                    <c:v>Rolling Mean (30 Minute)</c:v>
                  </c:pt>
                  <c:pt idx="1354">
                    <c:v>Rolling Mean (30 Minute)</c:v>
                  </c:pt>
                  <c:pt idx="1355">
                    <c:v>Rolling Mean (30 Minute)</c:v>
                  </c:pt>
                  <c:pt idx="1356">
                    <c:v>Rolling Mean (30 Minute)</c:v>
                  </c:pt>
                  <c:pt idx="1357">
                    <c:v>Rolling Mean (30 Minute)</c:v>
                  </c:pt>
                  <c:pt idx="1358">
                    <c:v>Rolling Mean (30 Minute)</c:v>
                  </c:pt>
                  <c:pt idx="1359">
                    <c:v>Rolling Mean (30 Minute)</c:v>
                  </c:pt>
                  <c:pt idx="1360">
                    <c:v>Rolling Mean (30 Minute)</c:v>
                  </c:pt>
                  <c:pt idx="1361">
                    <c:v>Rolling Mean (30 Minute)</c:v>
                  </c:pt>
                  <c:pt idx="1362">
                    <c:v>Rolling Mean (30 Minute)</c:v>
                  </c:pt>
                  <c:pt idx="1363">
                    <c:v>Rolling Mean (30 Minute)</c:v>
                  </c:pt>
                  <c:pt idx="1364">
                    <c:v>Rolling Mean (30 Minute)</c:v>
                  </c:pt>
                  <c:pt idx="1365">
                    <c:v>Rolling Mean (30 Minute)</c:v>
                  </c:pt>
                  <c:pt idx="1366">
                    <c:v>Rolling Mean (30 Minute)</c:v>
                  </c:pt>
                  <c:pt idx="1367">
                    <c:v>Rolling Mean (30 Minute)</c:v>
                  </c:pt>
                  <c:pt idx="1368">
                    <c:v>Rolling Mean (30 Minute)</c:v>
                  </c:pt>
                  <c:pt idx="1369">
                    <c:v>Rolling Mean (30 Minute)</c:v>
                  </c:pt>
                  <c:pt idx="1370">
                    <c:v>Rolling Mean (30 Minute)</c:v>
                  </c:pt>
                  <c:pt idx="1371">
                    <c:v>Rolling Mean (30 Minute)</c:v>
                  </c:pt>
                  <c:pt idx="1372">
                    <c:v>Rolling Mean (30 Minute)</c:v>
                  </c:pt>
                  <c:pt idx="1373">
                    <c:v>Rolling Mean (30 Minute)</c:v>
                  </c:pt>
                  <c:pt idx="1374">
                    <c:v>Rolling Mean (30 Minute)</c:v>
                  </c:pt>
                  <c:pt idx="1375">
                    <c:v>Rolling Mean (30 Minute)</c:v>
                  </c:pt>
                  <c:pt idx="1376">
                    <c:v>Rolling Mean (30 Minute)</c:v>
                  </c:pt>
                  <c:pt idx="1377">
                    <c:v>Rolling Mean (30 Minute)</c:v>
                  </c:pt>
                  <c:pt idx="1378">
                    <c:v>Rolling Mean (30 Minute)</c:v>
                  </c:pt>
                  <c:pt idx="1379">
                    <c:v>Rolling Mean (30 Minute)</c:v>
                  </c:pt>
                  <c:pt idx="1380">
                    <c:v>Rolling Mean (30 Minute)</c:v>
                  </c:pt>
                  <c:pt idx="1381">
                    <c:v>Rolling Mean (30 Minute)</c:v>
                  </c:pt>
                  <c:pt idx="1382">
                    <c:v>Rolling Mean (30 Minute)</c:v>
                  </c:pt>
                  <c:pt idx="1383">
                    <c:v>Rolling Mean (30 Minute)</c:v>
                  </c:pt>
                  <c:pt idx="1384">
                    <c:v>Rolling Mean (30 Minute)</c:v>
                  </c:pt>
                  <c:pt idx="1385">
                    <c:v>Rolling Mean (30 Minute)</c:v>
                  </c:pt>
                  <c:pt idx="1386">
                    <c:v>Rolling Mean (30 Minute)</c:v>
                  </c:pt>
                  <c:pt idx="1387">
                    <c:v>Rolling Mean (30 Minute)</c:v>
                  </c:pt>
                  <c:pt idx="1388">
                    <c:v>Rolling Mean (30 Minute)</c:v>
                  </c:pt>
                  <c:pt idx="1389">
                    <c:v>Rolling Mean (30 Minute)</c:v>
                  </c:pt>
                  <c:pt idx="1390">
                    <c:v>Rolling Mean (30 Minute)</c:v>
                  </c:pt>
                  <c:pt idx="1391">
                    <c:v>Rolling Mean (30 Minute)</c:v>
                  </c:pt>
                  <c:pt idx="1392">
                    <c:v>Rolling Mean (30 Minute)</c:v>
                  </c:pt>
                  <c:pt idx="1393">
                    <c:v>Rolling Mean (30 Minute)</c:v>
                  </c:pt>
                  <c:pt idx="1394">
                    <c:v>Rolling Mean (30 Minute)</c:v>
                  </c:pt>
                  <c:pt idx="1395">
                    <c:v>Rolling Mean (30 Minute)</c:v>
                  </c:pt>
                  <c:pt idx="1396">
                    <c:v>Rolling Mean (30 Minute)</c:v>
                  </c:pt>
                  <c:pt idx="1397">
                    <c:v>Rolling Mean (30 Minute)</c:v>
                  </c:pt>
                  <c:pt idx="1398">
                    <c:v>Rolling Mean (30 Minute)</c:v>
                  </c:pt>
                  <c:pt idx="1399">
                    <c:v>Rolling Mean (30 Minute)</c:v>
                  </c:pt>
                  <c:pt idx="1400">
                    <c:v>Rolling Mean (30 Minute)</c:v>
                  </c:pt>
                  <c:pt idx="1401">
                    <c:v>Rolling Mean (30 Minute)</c:v>
                  </c:pt>
                  <c:pt idx="1402">
                    <c:v>Rolling Mean (30 Minute)</c:v>
                  </c:pt>
                  <c:pt idx="1403">
                    <c:v>Rolling Mean (30 Minute)</c:v>
                  </c:pt>
                  <c:pt idx="1404">
                    <c:v>Rolling Mean (30 Minute)</c:v>
                  </c:pt>
                  <c:pt idx="1405">
                    <c:v>Rolling Mean (30 Minute)</c:v>
                  </c:pt>
                  <c:pt idx="1406">
                    <c:v>Rolling Mean (30 Minute)</c:v>
                  </c:pt>
                  <c:pt idx="1407">
                    <c:v>Rolling Mean (30 Minute)</c:v>
                  </c:pt>
                  <c:pt idx="1408">
                    <c:v>Rolling Mean (30 Minute)</c:v>
                  </c:pt>
                  <c:pt idx="1409">
                    <c:v>Rolling Mean (30 Minute)</c:v>
                  </c:pt>
                  <c:pt idx="1410">
                    <c:v>Rolling Mean (30 Minute)</c:v>
                  </c:pt>
                  <c:pt idx="1411">
                    <c:v>Rolling Mean (30 Minute)</c:v>
                  </c:pt>
                  <c:pt idx="1412">
                    <c:v>Rolling Mean (30 Minute)</c:v>
                  </c:pt>
                  <c:pt idx="1413">
                    <c:v>Rolling Mean (30 Minute)</c:v>
                  </c:pt>
                  <c:pt idx="1414">
                    <c:v>Rolling Mean (30 Minute)</c:v>
                  </c:pt>
                  <c:pt idx="1415">
                    <c:v>Rolling Mean (30 Minute)</c:v>
                  </c:pt>
                  <c:pt idx="1416">
                    <c:v>Rolling Mean (30 Minute)</c:v>
                  </c:pt>
                  <c:pt idx="1417">
                    <c:v>Rolling Mean (30 Minute)</c:v>
                  </c:pt>
                  <c:pt idx="1418">
                    <c:v>Rolling Mean (30 Minute)</c:v>
                  </c:pt>
                  <c:pt idx="1419">
                    <c:v>Rolling Mean (30 Minute)</c:v>
                  </c:pt>
                  <c:pt idx="1420">
                    <c:v>Rolling Mean (30 Minute)</c:v>
                  </c:pt>
                  <c:pt idx="1421">
                    <c:v>Rolling Mean (30 Minute)</c:v>
                  </c:pt>
                  <c:pt idx="1422">
                    <c:v>Rolling Mean (30 Minute)</c:v>
                  </c:pt>
                  <c:pt idx="1423">
                    <c:v>Rolling Mean (30 Minute)</c:v>
                  </c:pt>
                  <c:pt idx="1424">
                    <c:v>Rolling Mean (30 Minute)</c:v>
                  </c:pt>
                  <c:pt idx="1425">
                    <c:v>Rolling Mean (30 Minute)</c:v>
                  </c:pt>
                  <c:pt idx="1426">
                    <c:v>Rolling Mean (30 Minute)</c:v>
                  </c:pt>
                  <c:pt idx="1427">
                    <c:v>Rolling Mean (30 Minute)</c:v>
                  </c:pt>
                  <c:pt idx="1428">
                    <c:v>Rolling Mean (30 Minute)</c:v>
                  </c:pt>
                  <c:pt idx="1429">
                    <c:v>Rolling Mean (30 Minute)</c:v>
                  </c:pt>
                  <c:pt idx="1430">
                    <c:v>Rolling Mean (30 Minute)</c:v>
                  </c:pt>
                  <c:pt idx="1431">
                    <c:v>Rolling Mean (30 Minute)</c:v>
                  </c:pt>
                  <c:pt idx="1432">
                    <c:v>Rolling Mean (30 Minute)</c:v>
                  </c:pt>
                  <c:pt idx="1433">
                    <c:v>Rolling Mean (30 Minute)</c:v>
                  </c:pt>
                  <c:pt idx="1434">
                    <c:v>Rolling Mean (30 Minute)</c:v>
                  </c:pt>
                  <c:pt idx="1435">
                    <c:v>Rolling Mean (30 Minute)</c:v>
                  </c:pt>
                  <c:pt idx="1436">
                    <c:v>Rolling Mean (30 Minute)</c:v>
                  </c:pt>
                  <c:pt idx="1437">
                    <c:v>Rolling Mean (30 Minute)</c:v>
                  </c:pt>
                  <c:pt idx="1438">
                    <c:v>Rolling Mean (30 Minute)</c:v>
                  </c:pt>
                  <c:pt idx="1439">
                    <c:v>Rolling Mean (30 Minute)</c:v>
                  </c:pt>
                  <c:pt idx="1440">
                    <c:v>Rolling Mean (30 Minute)</c:v>
                  </c:pt>
                  <c:pt idx="1441">
                    <c:v>Rolling Mean (30 Minute)</c:v>
                  </c:pt>
                  <c:pt idx="1442">
                    <c:v>Rolling Mean (30 Minute)</c:v>
                  </c:pt>
                  <c:pt idx="1443">
                    <c:v>Rolling Mean (30 Minute)</c:v>
                  </c:pt>
                  <c:pt idx="1444">
                    <c:v>Rolling Mean (30 Minute)</c:v>
                  </c:pt>
                  <c:pt idx="1445">
                    <c:v>Rolling Mean (30 Minute)</c:v>
                  </c:pt>
                  <c:pt idx="1446">
                    <c:v>Rolling Mean (30 Minute)</c:v>
                  </c:pt>
                  <c:pt idx="1447">
                    <c:v>Rolling Mean (30 Minute)</c:v>
                  </c:pt>
                  <c:pt idx="1448">
                    <c:v>Rolling Mean (30 Minute)</c:v>
                  </c:pt>
                  <c:pt idx="1449">
                    <c:v>Rolling Mean (30 Minute)</c:v>
                  </c:pt>
                  <c:pt idx="1450">
                    <c:v>Rolling Mean (30 Minute)</c:v>
                  </c:pt>
                  <c:pt idx="1451">
                    <c:v>Rolling Mean (30 Minute)</c:v>
                  </c:pt>
                  <c:pt idx="1452">
                    <c:v>Rolling Mean (30 Minute)</c:v>
                  </c:pt>
                  <c:pt idx="1453">
                    <c:v>Rolling Mean (30 Minute)</c:v>
                  </c:pt>
                  <c:pt idx="1454">
                    <c:v>Rolling Mean (30 Minute)</c:v>
                  </c:pt>
                  <c:pt idx="1455">
                    <c:v>Rolling Mean (30 Minute)</c:v>
                  </c:pt>
                  <c:pt idx="1456">
                    <c:v>Rolling Mean (30 Minute)</c:v>
                  </c:pt>
                  <c:pt idx="1457">
                    <c:v>Rolling Mean (30 Minute)</c:v>
                  </c:pt>
                  <c:pt idx="1458">
                    <c:v>Rolling Mean (30 Minute)</c:v>
                  </c:pt>
                  <c:pt idx="1459">
                    <c:v>Rolling Mean (30 Minute)</c:v>
                  </c:pt>
                  <c:pt idx="1460">
                    <c:v>Rolling Mean (30 Minute)</c:v>
                  </c:pt>
                  <c:pt idx="1461">
                    <c:v>Rolling Mean (30 Minute)</c:v>
                  </c:pt>
                  <c:pt idx="1462">
                    <c:v>Rolling Mean (30 Minute)</c:v>
                  </c:pt>
                  <c:pt idx="1463">
                    <c:v>Rolling Mean (30 Minute)</c:v>
                  </c:pt>
                  <c:pt idx="1464">
                    <c:v>Rolling Mean (30 Minute)</c:v>
                  </c:pt>
                  <c:pt idx="1465">
                    <c:v>Rolling Mean (30 Minute)</c:v>
                  </c:pt>
                  <c:pt idx="1466">
                    <c:v>Rolling Mean (30 Minute)</c:v>
                  </c:pt>
                  <c:pt idx="1467">
                    <c:v>Rolling Mean (30 Minute)</c:v>
                  </c:pt>
                  <c:pt idx="1468">
                    <c:v>Rolling Mean (30 Minute)</c:v>
                  </c:pt>
                  <c:pt idx="1469">
                    <c:v>Rolling Mean (30 Minute)</c:v>
                  </c:pt>
                  <c:pt idx="1470">
                    <c:v>Rolling Mean (30 Minute)</c:v>
                  </c:pt>
                  <c:pt idx="1471">
                    <c:v>Rolling Mean (30 Minute)</c:v>
                  </c:pt>
                  <c:pt idx="1472">
                    <c:v>Rolling Mean (30 Minute)</c:v>
                  </c:pt>
                  <c:pt idx="1473">
                    <c:v>Rolling Mean (30 Minute)</c:v>
                  </c:pt>
                  <c:pt idx="1474">
                    <c:v>Rolling Mean (30 Minute)</c:v>
                  </c:pt>
                  <c:pt idx="1475">
                    <c:v>Rolling Mean (30 Minute)</c:v>
                  </c:pt>
                  <c:pt idx="1476">
                    <c:v>Rolling Mean (30 Minute)</c:v>
                  </c:pt>
                  <c:pt idx="1477">
                    <c:v>Rolling Mean (30 Minute)</c:v>
                  </c:pt>
                  <c:pt idx="1478">
                    <c:v>Rolling Mean (30 Minute)</c:v>
                  </c:pt>
                  <c:pt idx="1479">
                    <c:v>Rolling Mean (30 Minute)</c:v>
                  </c:pt>
                  <c:pt idx="1480">
                    <c:v>Rolling Mean (30 Minute)</c:v>
                  </c:pt>
                  <c:pt idx="1481">
                    <c:v>Rolling Mean (30 Minute)</c:v>
                  </c:pt>
                  <c:pt idx="1482">
                    <c:v>Rolling Mean (30 Minute)</c:v>
                  </c:pt>
                  <c:pt idx="1483">
                    <c:v>Rolling Mean (30 Minute)</c:v>
                  </c:pt>
                  <c:pt idx="1484">
                    <c:v>Rolling Mean (30 Minute)</c:v>
                  </c:pt>
                  <c:pt idx="1485">
                    <c:v>Rolling Mean (30 Minute)</c:v>
                  </c:pt>
                  <c:pt idx="1486">
                    <c:v>Rolling Mean (30 Minute)</c:v>
                  </c:pt>
                  <c:pt idx="1487">
                    <c:v>Rolling Mean (30 Minute)</c:v>
                  </c:pt>
                  <c:pt idx="1488">
                    <c:v>Rolling Mean (30 Minute)</c:v>
                  </c:pt>
                  <c:pt idx="1489">
                    <c:v>Rolling Mean (30 Minute)</c:v>
                  </c:pt>
                  <c:pt idx="1490">
                    <c:v>Rolling Mean (30 Minute)</c:v>
                  </c:pt>
                  <c:pt idx="1491">
                    <c:v>Rolling Mean (30 Minute)</c:v>
                  </c:pt>
                  <c:pt idx="1492">
                    <c:v>Rolling Mean (30 Minute)</c:v>
                  </c:pt>
                  <c:pt idx="1493">
                    <c:v>Rolling Mean (30 Minute)</c:v>
                  </c:pt>
                  <c:pt idx="1494">
                    <c:v>Rolling Mean (30 Minute)</c:v>
                  </c:pt>
                  <c:pt idx="1495">
                    <c:v>Rolling Mean (30 Minute)</c:v>
                  </c:pt>
                  <c:pt idx="1496">
                    <c:v>Rolling Mean (30 Minute)</c:v>
                  </c:pt>
                  <c:pt idx="1497">
                    <c:v>Rolling Mean (30 Minute)</c:v>
                  </c:pt>
                  <c:pt idx="1498">
                    <c:v>Rolling Mean (30 Minute)</c:v>
                  </c:pt>
                  <c:pt idx="1499">
                    <c:v>Rolling Mean (30 Minute)</c:v>
                  </c:pt>
                  <c:pt idx="1500">
                    <c:v>Rolling Mean (30 Minute)</c:v>
                  </c:pt>
                  <c:pt idx="1501">
                    <c:v>Rolling Mean (30 Minute)</c:v>
                  </c:pt>
                  <c:pt idx="1502">
                    <c:v>Rolling Mean (30 Minute)</c:v>
                  </c:pt>
                  <c:pt idx="1503">
                    <c:v>Rolling Mean (30 Minute)</c:v>
                  </c:pt>
                  <c:pt idx="1504">
                    <c:v>Rolling Mean (30 Minute)</c:v>
                  </c:pt>
                  <c:pt idx="1505">
                    <c:v>Rolling Mean (30 Minute)</c:v>
                  </c:pt>
                  <c:pt idx="1506">
                    <c:v>Rolling Mean (30 Minute)</c:v>
                  </c:pt>
                  <c:pt idx="1507">
                    <c:v>Rolling Mean (30 Minute)</c:v>
                  </c:pt>
                  <c:pt idx="1508">
                    <c:v>Rolling Mean (30 Minute)</c:v>
                  </c:pt>
                  <c:pt idx="1509">
                    <c:v>Rolling Mean (30 Minute)</c:v>
                  </c:pt>
                  <c:pt idx="1510">
                    <c:v>Rolling Mean (30 Minute)</c:v>
                  </c:pt>
                  <c:pt idx="1511">
                    <c:v>Rolling Mean (30 Minute)</c:v>
                  </c:pt>
                  <c:pt idx="1512">
                    <c:v>Rolling Mean (30 Minute)</c:v>
                  </c:pt>
                  <c:pt idx="1513">
                    <c:v>Rolling Mean (30 Minute)</c:v>
                  </c:pt>
                  <c:pt idx="1514">
                    <c:v>Rolling Mean (30 Minute)</c:v>
                  </c:pt>
                  <c:pt idx="1515">
                    <c:v>Rolling Mean (30 Minute)</c:v>
                  </c:pt>
                  <c:pt idx="1516">
                    <c:v>Rolling Mean (30 Minute)</c:v>
                  </c:pt>
                  <c:pt idx="1517">
                    <c:v>Rolling Mean (30 Minute)</c:v>
                  </c:pt>
                  <c:pt idx="1518">
                    <c:v>Rolling Mean (30 Minute)</c:v>
                  </c:pt>
                  <c:pt idx="1519">
                    <c:v>Rolling Mean (30 Minute)</c:v>
                  </c:pt>
                  <c:pt idx="1520">
                    <c:v>Rolling Mean (30 Minute)</c:v>
                  </c:pt>
                  <c:pt idx="1521">
                    <c:v>Rolling Mean (30 Minute)</c:v>
                  </c:pt>
                  <c:pt idx="1522">
                    <c:v>Rolling Mean (30 Minute)</c:v>
                  </c:pt>
                  <c:pt idx="1523">
                    <c:v>Rolling Mean (30 Minute)</c:v>
                  </c:pt>
                  <c:pt idx="1524">
                    <c:v>Rolling Mean (30 Minute)</c:v>
                  </c:pt>
                  <c:pt idx="1525">
                    <c:v>Rolling Mean (30 Minute)</c:v>
                  </c:pt>
                  <c:pt idx="1526">
                    <c:v>Rolling Mean (30 Minute)</c:v>
                  </c:pt>
                  <c:pt idx="1527">
                    <c:v>Rolling Mean (30 Minute)</c:v>
                  </c:pt>
                  <c:pt idx="1528">
                    <c:v>Rolling Mean (30 Minute)</c:v>
                  </c:pt>
                  <c:pt idx="1529">
                    <c:v>Rolling Mean (30 Minute)</c:v>
                  </c:pt>
                  <c:pt idx="1530">
                    <c:v>Rolling Mean (30 Minute)</c:v>
                  </c:pt>
                  <c:pt idx="1531">
                    <c:v>Rolling Mean (30 Minute)</c:v>
                  </c:pt>
                  <c:pt idx="1532">
                    <c:v>Rolling Mean (30 Minute)</c:v>
                  </c:pt>
                  <c:pt idx="1533">
                    <c:v>Rolling Mean (30 Minute)</c:v>
                  </c:pt>
                  <c:pt idx="1534">
                    <c:v>Rolling Mean (30 Minute)</c:v>
                  </c:pt>
                  <c:pt idx="1535">
                    <c:v>Rolling Mean (30 Minute)</c:v>
                  </c:pt>
                  <c:pt idx="1536">
                    <c:v>Rolling Mean (30 Minute)</c:v>
                  </c:pt>
                  <c:pt idx="1537">
                    <c:v>Rolling Mean (30 Minute)</c:v>
                  </c:pt>
                  <c:pt idx="1538">
                    <c:v>Rolling Mean (30 Minute)</c:v>
                  </c:pt>
                  <c:pt idx="1539">
                    <c:v>Rolling Mean (30 Minute)</c:v>
                  </c:pt>
                  <c:pt idx="1540">
                    <c:v>Rolling Mean (30 Minute)</c:v>
                  </c:pt>
                  <c:pt idx="1541">
                    <c:v>Rolling Mean (30 Minute)</c:v>
                  </c:pt>
                  <c:pt idx="1542">
                    <c:v>Rolling Mean (30 Minute)</c:v>
                  </c:pt>
                  <c:pt idx="1543">
                    <c:v>Rolling Mean (30 Minute)</c:v>
                  </c:pt>
                  <c:pt idx="1544">
                    <c:v>Rolling Mean (30 Minute)</c:v>
                  </c:pt>
                  <c:pt idx="1545">
                    <c:v>Rolling Mean (30 Minute)</c:v>
                  </c:pt>
                  <c:pt idx="1546">
                    <c:v>Rolling Mean (30 Minute)</c:v>
                  </c:pt>
                  <c:pt idx="1547">
                    <c:v>Rolling Mean (30 Minute)</c:v>
                  </c:pt>
                  <c:pt idx="1548">
                    <c:v>Rolling Mean (30 Minute)</c:v>
                  </c:pt>
                  <c:pt idx="1549">
                    <c:v>Rolling Mean (30 Minute)</c:v>
                  </c:pt>
                  <c:pt idx="1550">
                    <c:v>Rolling Mean (30 Minute)</c:v>
                  </c:pt>
                  <c:pt idx="1551">
                    <c:v>Rolling Mean (30 Minute)</c:v>
                  </c:pt>
                  <c:pt idx="1552">
                    <c:v>Rolling Mean (30 Minute)</c:v>
                  </c:pt>
                  <c:pt idx="1553">
                    <c:v>Rolling Mean (30 Minute)</c:v>
                  </c:pt>
                  <c:pt idx="1554">
                    <c:v>Rolling Mean (30 Minute)</c:v>
                  </c:pt>
                  <c:pt idx="1555">
                    <c:v>Rolling Mean (30 Minute)</c:v>
                  </c:pt>
                  <c:pt idx="1556">
                    <c:v>Rolling Mean (30 Minute)</c:v>
                  </c:pt>
                  <c:pt idx="1557">
                    <c:v>Rolling Mean (30 Minute)</c:v>
                  </c:pt>
                  <c:pt idx="1558">
                    <c:v>Rolling Mean (30 Minute)</c:v>
                  </c:pt>
                  <c:pt idx="1559">
                    <c:v>Rolling Mean (30 Minute)</c:v>
                  </c:pt>
                  <c:pt idx="1560">
                    <c:v>Rolling Mean (30 Minute)</c:v>
                  </c:pt>
                  <c:pt idx="1561">
                    <c:v>Rolling Mean (30 Minute)</c:v>
                  </c:pt>
                  <c:pt idx="1562">
                    <c:v>Rolling Mean (30 Minute)</c:v>
                  </c:pt>
                  <c:pt idx="1563">
                    <c:v>Rolling Mean (30 Minute)</c:v>
                  </c:pt>
                  <c:pt idx="1564">
                    <c:v>Rolling Mean (30 Minute)</c:v>
                  </c:pt>
                  <c:pt idx="1565">
                    <c:v>Rolling Mean (30 Minute)</c:v>
                  </c:pt>
                  <c:pt idx="1566">
                    <c:v>Rolling Mean (30 Minute)</c:v>
                  </c:pt>
                  <c:pt idx="1567">
                    <c:v>Rolling Mean (30 Minute)</c:v>
                  </c:pt>
                  <c:pt idx="1568">
                    <c:v>Rolling Mean (30 Minute)</c:v>
                  </c:pt>
                  <c:pt idx="1569">
                    <c:v>Rolling Mean (30 Minute)</c:v>
                  </c:pt>
                  <c:pt idx="1570">
                    <c:v>Rolling Mean (30 Minute)</c:v>
                  </c:pt>
                  <c:pt idx="1571">
                    <c:v>Rolling Mean (30 Minute)</c:v>
                  </c:pt>
                  <c:pt idx="1572">
                    <c:v>Rolling Mean (30 Minute)</c:v>
                  </c:pt>
                  <c:pt idx="1573">
                    <c:v>Rolling Mean (30 Minute)</c:v>
                  </c:pt>
                  <c:pt idx="1574">
                    <c:v>Rolling Mean (30 Minute)</c:v>
                  </c:pt>
                  <c:pt idx="1575">
                    <c:v>Rolling Mean (30 Minute)</c:v>
                  </c:pt>
                  <c:pt idx="1576">
                    <c:v>Rolling Mean (30 Minute)</c:v>
                  </c:pt>
                  <c:pt idx="1577">
                    <c:v>Rolling Mean (30 Minute)</c:v>
                  </c:pt>
                  <c:pt idx="1578">
                    <c:v>Rolling Mean (30 Minute)</c:v>
                  </c:pt>
                  <c:pt idx="1579">
                    <c:v>Rolling Mean (30 Minute)</c:v>
                  </c:pt>
                  <c:pt idx="1580">
                    <c:v>Rolling Mean (30 Minute)</c:v>
                  </c:pt>
                  <c:pt idx="1581">
                    <c:v>Rolling Mean (30 Minute)</c:v>
                  </c:pt>
                  <c:pt idx="1582">
                    <c:v>Rolling Mean (30 Minute)</c:v>
                  </c:pt>
                  <c:pt idx="1583">
                    <c:v>Rolling Mean (30 Minute)</c:v>
                  </c:pt>
                  <c:pt idx="1584">
                    <c:v>Rolling Mean (30 Minute)</c:v>
                  </c:pt>
                  <c:pt idx="1585">
                    <c:v>Rolling Mean (30 Minute)</c:v>
                  </c:pt>
                  <c:pt idx="1586">
                    <c:v>Rolling Mean (30 Minute)</c:v>
                  </c:pt>
                  <c:pt idx="1587">
                    <c:v>Rolling Mean (30 Minute)</c:v>
                  </c:pt>
                  <c:pt idx="1588">
                    <c:v>Rolling Mean (30 Minute)</c:v>
                  </c:pt>
                  <c:pt idx="1589">
                    <c:v>Rolling Mean (30 Minute)</c:v>
                  </c:pt>
                  <c:pt idx="1590">
                    <c:v>Rolling Mean (30 Minute)</c:v>
                  </c:pt>
                  <c:pt idx="1591">
                    <c:v>Rolling Mean (30 Minute)</c:v>
                  </c:pt>
                  <c:pt idx="1592">
                    <c:v>Rolling Mean (30 Minute)</c:v>
                  </c:pt>
                  <c:pt idx="1593">
                    <c:v>Rolling Mean (30 Minute)</c:v>
                  </c:pt>
                  <c:pt idx="1594">
                    <c:v>Rolling Mean (30 Minute)</c:v>
                  </c:pt>
                  <c:pt idx="1595">
                    <c:v>Rolling Mean (30 Minute)</c:v>
                  </c:pt>
                  <c:pt idx="1596">
                    <c:v>Rolling Mean (30 Minute)</c:v>
                  </c:pt>
                  <c:pt idx="1597">
                    <c:v>Rolling Mean (30 Minute)</c:v>
                  </c:pt>
                  <c:pt idx="1598">
                    <c:v>Rolling Mean (30 Minute)</c:v>
                  </c:pt>
                  <c:pt idx="1599">
                    <c:v>Rolling Mean (30 Minute)</c:v>
                  </c:pt>
                  <c:pt idx="1600">
                    <c:v>Rolling Mean (30 Minute)</c:v>
                  </c:pt>
                  <c:pt idx="1601">
                    <c:v>Rolling Mean (30 Minute)</c:v>
                  </c:pt>
                  <c:pt idx="1602">
                    <c:v>Rolling Mean (30 Minute)</c:v>
                  </c:pt>
                  <c:pt idx="1603">
                    <c:v>Rolling Mean (30 Minute)</c:v>
                  </c:pt>
                  <c:pt idx="1604">
                    <c:v>Rolling Mean (30 Minute)</c:v>
                  </c:pt>
                  <c:pt idx="1605">
                    <c:v>Rolling Mean (30 Minute)</c:v>
                  </c:pt>
                  <c:pt idx="1606">
                    <c:v>Rolling Mean (30 Minute)</c:v>
                  </c:pt>
                  <c:pt idx="1607">
                    <c:v>Rolling Mean (30 Minute)</c:v>
                  </c:pt>
                  <c:pt idx="1608">
                    <c:v>Rolling Mean (30 Minute)</c:v>
                  </c:pt>
                  <c:pt idx="1609">
                    <c:v>Rolling Mean (30 Minute)</c:v>
                  </c:pt>
                  <c:pt idx="1610">
                    <c:v>Rolling Mean (30 Minute)</c:v>
                  </c:pt>
                  <c:pt idx="1611">
                    <c:v>Rolling Mean (30 Minute)</c:v>
                  </c:pt>
                  <c:pt idx="1612">
                    <c:v>Rolling Mean (30 Minute)</c:v>
                  </c:pt>
                  <c:pt idx="1613">
                    <c:v>Rolling Mean (30 Minute)</c:v>
                  </c:pt>
                  <c:pt idx="1614">
                    <c:v>Rolling Mean (30 Minute)</c:v>
                  </c:pt>
                  <c:pt idx="1615">
                    <c:v>Rolling Mean (30 Minute)</c:v>
                  </c:pt>
                  <c:pt idx="1616">
                    <c:v>Rolling Mean (30 Minute)</c:v>
                  </c:pt>
                  <c:pt idx="1617">
                    <c:v>Rolling Mean (30 Minute)</c:v>
                  </c:pt>
                  <c:pt idx="1618">
                    <c:v>Rolling Mean (30 Minute)</c:v>
                  </c:pt>
                  <c:pt idx="1619">
                    <c:v>Rolling Mean (30 Minute)</c:v>
                  </c:pt>
                  <c:pt idx="1620">
                    <c:v>Rolling Mean (30 Minute)</c:v>
                  </c:pt>
                  <c:pt idx="1621">
                    <c:v>Rolling Mean (30 Minute)</c:v>
                  </c:pt>
                  <c:pt idx="1622">
                    <c:v>Rolling Mean (30 Minute)</c:v>
                  </c:pt>
                  <c:pt idx="1623">
                    <c:v>Rolling Mean (30 Minute)</c:v>
                  </c:pt>
                  <c:pt idx="1624">
                    <c:v>Rolling Mean (30 Minute)</c:v>
                  </c:pt>
                  <c:pt idx="1625">
                    <c:v>Rolling Mean (30 Minute)</c:v>
                  </c:pt>
                  <c:pt idx="1626">
                    <c:v>Rolling Mean (30 Minute)</c:v>
                  </c:pt>
                  <c:pt idx="1627">
                    <c:v>Rolling Mean (30 Minute)</c:v>
                  </c:pt>
                  <c:pt idx="1628">
                    <c:v>Rolling Mean (30 Minute)</c:v>
                  </c:pt>
                  <c:pt idx="1629">
                    <c:v>Rolling Mean (30 Minute)</c:v>
                  </c:pt>
                  <c:pt idx="1630">
                    <c:v>Rolling Mean (30 Minute)</c:v>
                  </c:pt>
                  <c:pt idx="1631">
                    <c:v>Rolling Mean (30 Minute)</c:v>
                  </c:pt>
                  <c:pt idx="1632">
                    <c:v>Rolling Mean (30 Minute)</c:v>
                  </c:pt>
                  <c:pt idx="1633">
                    <c:v>Rolling Mean (30 Minute)</c:v>
                  </c:pt>
                  <c:pt idx="1634">
                    <c:v>Rolling Mean (30 Minute)</c:v>
                  </c:pt>
                  <c:pt idx="1635">
                    <c:v>Rolling Mean (30 Minute)</c:v>
                  </c:pt>
                  <c:pt idx="1636">
                    <c:v>Rolling Mean (30 Minute)</c:v>
                  </c:pt>
                  <c:pt idx="1637">
                    <c:v>Rolling Mean (30 Minute)</c:v>
                  </c:pt>
                  <c:pt idx="1638">
                    <c:v>Rolling Mean (30 Minute)</c:v>
                  </c:pt>
                  <c:pt idx="1639">
                    <c:v>Rolling Mean (30 Minute)</c:v>
                  </c:pt>
                  <c:pt idx="1640">
                    <c:v>Rolling Mean (30 Minute)</c:v>
                  </c:pt>
                  <c:pt idx="1641">
                    <c:v>Rolling Mean (30 Minute)</c:v>
                  </c:pt>
                  <c:pt idx="1642">
                    <c:v>Rolling Mean (30 Minute)</c:v>
                  </c:pt>
                  <c:pt idx="1643">
                    <c:v>Rolling Mean (30 Minute)</c:v>
                  </c:pt>
                  <c:pt idx="1644">
                    <c:v>Rolling Mean (30 Minute)</c:v>
                  </c:pt>
                  <c:pt idx="1645">
                    <c:v>Rolling Mean (30 Minute)</c:v>
                  </c:pt>
                  <c:pt idx="1646">
                    <c:v>Rolling Mean (30 Minute)</c:v>
                  </c:pt>
                  <c:pt idx="1647">
                    <c:v>Rolling Mean (30 Minute)</c:v>
                  </c:pt>
                  <c:pt idx="1648">
                    <c:v>Rolling Mean (30 Minute)</c:v>
                  </c:pt>
                  <c:pt idx="1649">
                    <c:v>Rolling Mean (30 Minute)</c:v>
                  </c:pt>
                  <c:pt idx="1650">
                    <c:v>Rolling Mean (30 Minute)</c:v>
                  </c:pt>
                  <c:pt idx="1651">
                    <c:v>Rolling Mean (30 Minute)</c:v>
                  </c:pt>
                  <c:pt idx="1652">
                    <c:v>Rolling Mean (30 Minute)</c:v>
                  </c:pt>
                  <c:pt idx="1653">
                    <c:v>Rolling Mean (30 Minute)</c:v>
                  </c:pt>
                  <c:pt idx="1654">
                    <c:v>Rolling Mean (30 Minute)</c:v>
                  </c:pt>
                  <c:pt idx="1655">
                    <c:v>Rolling Mean (30 Minute)</c:v>
                  </c:pt>
                  <c:pt idx="1656">
                    <c:v>Rolling Mean (30 Minute)</c:v>
                  </c:pt>
                  <c:pt idx="1657">
                    <c:v>Rolling Mean (30 Minute)</c:v>
                  </c:pt>
                  <c:pt idx="1658">
                    <c:v>Rolling Mean (30 Minute)</c:v>
                  </c:pt>
                  <c:pt idx="1659">
                    <c:v>Rolling Mean (30 Minute)</c:v>
                  </c:pt>
                  <c:pt idx="1660">
                    <c:v>Rolling Mean (30 Minute)</c:v>
                  </c:pt>
                  <c:pt idx="1661">
                    <c:v>Rolling Mean (30 Minute)</c:v>
                  </c:pt>
                  <c:pt idx="1662">
                    <c:v>Rolling Mean (30 Minute)</c:v>
                  </c:pt>
                  <c:pt idx="1663">
                    <c:v>Rolling Mean (30 Minute)</c:v>
                  </c:pt>
                  <c:pt idx="1664">
                    <c:v>Rolling Mean (30 Minute)</c:v>
                  </c:pt>
                  <c:pt idx="1665">
                    <c:v>Rolling Mean (30 Minute)</c:v>
                  </c:pt>
                  <c:pt idx="1666">
                    <c:v>Rolling Mean (30 Minute)</c:v>
                  </c:pt>
                  <c:pt idx="1667">
                    <c:v>Rolling Mean (30 Minute)</c:v>
                  </c:pt>
                  <c:pt idx="1668">
                    <c:v>Rolling Mean (30 Minute)</c:v>
                  </c:pt>
                  <c:pt idx="1669">
                    <c:v>Rolling Mean (30 Minute)</c:v>
                  </c:pt>
                  <c:pt idx="1670">
                    <c:v>Rolling Mean (30 Minute)</c:v>
                  </c:pt>
                  <c:pt idx="1671">
                    <c:v>Rolling Mean (30 Minute)</c:v>
                  </c:pt>
                  <c:pt idx="1672">
                    <c:v>Rolling Mean (30 Minute)</c:v>
                  </c:pt>
                  <c:pt idx="1673">
                    <c:v>Rolling Mean (30 Minute)</c:v>
                  </c:pt>
                  <c:pt idx="1674">
                    <c:v>Rolling Mean (30 Minute)</c:v>
                  </c:pt>
                  <c:pt idx="1675">
                    <c:v>Rolling Mean (30 Minute)</c:v>
                  </c:pt>
                  <c:pt idx="1676">
                    <c:v>Rolling Mean (30 Minute)</c:v>
                  </c:pt>
                  <c:pt idx="1677">
                    <c:v>Rolling Mean (30 Minute)</c:v>
                  </c:pt>
                  <c:pt idx="1678">
                    <c:v>Rolling Mean (30 Minute)</c:v>
                  </c:pt>
                  <c:pt idx="1679">
                    <c:v>Rolling Mean (30 Minute)</c:v>
                  </c:pt>
                  <c:pt idx="1680">
                    <c:v>Rolling Mean (30 Minute)</c:v>
                  </c:pt>
                  <c:pt idx="1681">
                    <c:v>Rolling Mean (30 Minute)</c:v>
                  </c:pt>
                  <c:pt idx="1682">
                    <c:v>Rolling Mean (30 Minute)</c:v>
                  </c:pt>
                  <c:pt idx="1683">
                    <c:v>Rolling Mean (30 Minute)</c:v>
                  </c:pt>
                  <c:pt idx="1684">
                    <c:v>Rolling Mean (30 Minute)</c:v>
                  </c:pt>
                  <c:pt idx="1685">
                    <c:v>Rolling Mean (30 Minute)</c:v>
                  </c:pt>
                  <c:pt idx="1686">
                    <c:v>Rolling Mean (30 Minute)</c:v>
                  </c:pt>
                  <c:pt idx="1687">
                    <c:v>Rolling Mean (30 Minute)</c:v>
                  </c:pt>
                  <c:pt idx="1688">
                    <c:v>Rolling Mean (30 Minute)</c:v>
                  </c:pt>
                  <c:pt idx="1689">
                    <c:v>Rolling Mean (30 Minute)</c:v>
                  </c:pt>
                  <c:pt idx="1690">
                    <c:v>Rolling Mean (30 Minute)</c:v>
                  </c:pt>
                  <c:pt idx="1691">
                    <c:v>Rolling Mean (30 Minute)</c:v>
                  </c:pt>
                  <c:pt idx="1692">
                    <c:v>Rolling Mean (30 Minute)</c:v>
                  </c:pt>
                  <c:pt idx="1693">
                    <c:v>Rolling Mean (30 Minute)</c:v>
                  </c:pt>
                  <c:pt idx="1694">
                    <c:v>Rolling Mean (30 Minute)</c:v>
                  </c:pt>
                  <c:pt idx="1695">
                    <c:v>Rolling Mean (30 Minute)</c:v>
                  </c:pt>
                  <c:pt idx="1696">
                    <c:v>Rolling Mean (30 Minute)</c:v>
                  </c:pt>
                  <c:pt idx="1697">
                    <c:v>Rolling Mean (30 Minute)</c:v>
                  </c:pt>
                  <c:pt idx="1698">
                    <c:v>Rolling Mean (30 Minute)</c:v>
                  </c:pt>
                  <c:pt idx="1699">
                    <c:v>Rolling Mean (30 Minute)</c:v>
                  </c:pt>
                  <c:pt idx="1700">
                    <c:v>Rolling Mean (30 Minute)</c:v>
                  </c:pt>
                  <c:pt idx="1701">
                    <c:v>Rolling Mean (30 Minute)</c:v>
                  </c:pt>
                  <c:pt idx="1702">
                    <c:v>Rolling Mean (30 Minute)</c:v>
                  </c:pt>
                  <c:pt idx="1703">
                    <c:v>Rolling Mean (30 Minute)</c:v>
                  </c:pt>
                  <c:pt idx="1704">
                    <c:v>Rolling Mean (30 Minute)</c:v>
                  </c:pt>
                  <c:pt idx="1705">
                    <c:v>Rolling Mean (30 Minute)</c:v>
                  </c:pt>
                  <c:pt idx="1706">
                    <c:v>Rolling Mean (30 Minute)</c:v>
                  </c:pt>
                  <c:pt idx="1707">
                    <c:v>Rolling Mean (30 Minute)</c:v>
                  </c:pt>
                  <c:pt idx="1708">
                    <c:v>Rolling Mean (30 Minute)</c:v>
                  </c:pt>
                  <c:pt idx="1709">
                    <c:v>Rolling Mean (30 Minute)</c:v>
                  </c:pt>
                  <c:pt idx="1710">
                    <c:v>Rolling Mean (30 Minute)</c:v>
                  </c:pt>
                  <c:pt idx="1711">
                    <c:v>Rolling Mean (30 Minute)</c:v>
                  </c:pt>
                  <c:pt idx="1712">
                    <c:v>Rolling Mean (30 Minute)</c:v>
                  </c:pt>
                  <c:pt idx="1713">
                    <c:v>Rolling Mean (30 Minute)</c:v>
                  </c:pt>
                  <c:pt idx="1714">
                    <c:v>Rolling Mean (30 Minute)</c:v>
                  </c:pt>
                  <c:pt idx="1715">
                    <c:v>Rolling Mean (30 Minute)</c:v>
                  </c:pt>
                  <c:pt idx="1716">
                    <c:v>Rolling Mean (30 Minute)</c:v>
                  </c:pt>
                  <c:pt idx="1717">
                    <c:v>Rolling Mean (30 Minute)</c:v>
                  </c:pt>
                  <c:pt idx="1718">
                    <c:v>Rolling Mean (30 Minute)</c:v>
                  </c:pt>
                  <c:pt idx="1719">
                    <c:v>Rolling Mean (30 Minute)</c:v>
                  </c:pt>
                  <c:pt idx="1720">
                    <c:v>Rolling Mean (30 Minute)</c:v>
                  </c:pt>
                  <c:pt idx="1721">
                    <c:v>Rolling Mean (30 Minute)</c:v>
                  </c:pt>
                  <c:pt idx="1722">
                    <c:v>Rolling Mean (30 Minute)</c:v>
                  </c:pt>
                  <c:pt idx="1723">
                    <c:v>Rolling Mean (30 Minute)</c:v>
                  </c:pt>
                  <c:pt idx="1724">
                    <c:v>Rolling Mean (30 Minute)</c:v>
                  </c:pt>
                  <c:pt idx="1725">
                    <c:v>Rolling Mean (30 Minute)</c:v>
                  </c:pt>
                  <c:pt idx="1726">
                    <c:v>Rolling Mean (30 Minute)</c:v>
                  </c:pt>
                  <c:pt idx="1727">
                    <c:v>Rolling Mean (30 Minute)</c:v>
                  </c:pt>
                  <c:pt idx="1728">
                    <c:v>Rolling Mean (30 Minute)</c:v>
                  </c:pt>
                  <c:pt idx="1729">
                    <c:v>Rolling Mean (30 Minute)</c:v>
                  </c:pt>
                  <c:pt idx="1730">
                    <c:v>Rolling Mean (30 Minute)</c:v>
                  </c:pt>
                  <c:pt idx="1731">
                    <c:v>Rolling Mean (30 Minute)</c:v>
                  </c:pt>
                  <c:pt idx="1732">
                    <c:v>Rolling Mean (30 Minute)</c:v>
                  </c:pt>
                  <c:pt idx="1733">
                    <c:v>Rolling Mean (30 Minute)</c:v>
                  </c:pt>
                  <c:pt idx="1734">
                    <c:v>Rolling Mean (30 Minute)</c:v>
                  </c:pt>
                  <c:pt idx="1735">
                    <c:v>Rolling Mean (30 Minute)</c:v>
                  </c:pt>
                  <c:pt idx="1736">
                    <c:v>Rolling Mean (30 Minute)</c:v>
                  </c:pt>
                  <c:pt idx="1737">
                    <c:v>Rolling Mean (30 Minute)</c:v>
                  </c:pt>
                  <c:pt idx="1738">
                    <c:v>Rolling Mean (30 Minute)</c:v>
                  </c:pt>
                  <c:pt idx="1739">
                    <c:v>Rolling Mean (30 Minute)</c:v>
                  </c:pt>
                  <c:pt idx="1740">
                    <c:v>Rolling Mean (30 Minute)</c:v>
                  </c:pt>
                  <c:pt idx="1741">
                    <c:v>Rolling Mean (30 Minute)</c:v>
                  </c:pt>
                  <c:pt idx="1742">
                    <c:v>Rolling Mean (30 Minute)</c:v>
                  </c:pt>
                  <c:pt idx="1743">
                    <c:v>Rolling Mean (30 Minute)</c:v>
                  </c:pt>
                  <c:pt idx="1744">
                    <c:v>Rolling Mean (30 Minute)</c:v>
                  </c:pt>
                  <c:pt idx="1745">
                    <c:v>Rolling Mean (30 Minute)</c:v>
                  </c:pt>
                  <c:pt idx="1746">
                    <c:v>Rolling Mean (30 Minute)</c:v>
                  </c:pt>
                  <c:pt idx="1747">
                    <c:v>Rolling Mean (30 Minute)</c:v>
                  </c:pt>
                  <c:pt idx="1748">
                    <c:v>Rolling Mean (30 Minute)</c:v>
                  </c:pt>
                  <c:pt idx="1749">
                    <c:v>Rolling Mean (30 Minute)</c:v>
                  </c:pt>
                  <c:pt idx="1750">
                    <c:v>Rolling Mean (30 Minute)</c:v>
                  </c:pt>
                  <c:pt idx="1751">
                    <c:v>Rolling Mean (30 Minute)</c:v>
                  </c:pt>
                  <c:pt idx="1752">
                    <c:v>Rolling Mean (30 Minute)</c:v>
                  </c:pt>
                  <c:pt idx="1753">
                    <c:v>Rolling Mean (30 Minute)</c:v>
                  </c:pt>
                  <c:pt idx="1754">
                    <c:v>Rolling Mean (30 Minute)</c:v>
                  </c:pt>
                  <c:pt idx="1755">
                    <c:v>Rolling Mean (30 Minute)</c:v>
                  </c:pt>
                  <c:pt idx="1756">
                    <c:v>Rolling Mean (30 Minute)</c:v>
                  </c:pt>
                  <c:pt idx="1757">
                    <c:v>Rolling Mean (30 Minute)</c:v>
                  </c:pt>
                  <c:pt idx="1758">
                    <c:v>Rolling Mean (30 Minute)</c:v>
                  </c:pt>
                  <c:pt idx="1759">
                    <c:v>Rolling Mean (30 Minute)</c:v>
                  </c:pt>
                  <c:pt idx="1760">
                    <c:v>Rolling Mean (30 Minute)</c:v>
                  </c:pt>
                  <c:pt idx="1761">
                    <c:v>Rolling Mean (30 Minute)</c:v>
                  </c:pt>
                  <c:pt idx="1762">
                    <c:v>Rolling Mean (30 Minute)</c:v>
                  </c:pt>
                  <c:pt idx="1763">
                    <c:v>Rolling Mean (30 Minute)</c:v>
                  </c:pt>
                  <c:pt idx="1764">
                    <c:v>Rolling Mean (30 Minute)</c:v>
                  </c:pt>
                  <c:pt idx="1765">
                    <c:v>Rolling Mean (30 Minute)</c:v>
                  </c:pt>
                  <c:pt idx="1766">
                    <c:v>Rolling Mean (30 Minute)</c:v>
                  </c:pt>
                  <c:pt idx="1767">
                    <c:v>Rolling Mean (30 Minute)</c:v>
                  </c:pt>
                  <c:pt idx="1768">
                    <c:v>Rolling Mean (30 Minute)</c:v>
                  </c:pt>
                  <c:pt idx="1769">
                    <c:v>Rolling Mean (30 Minute)</c:v>
                  </c:pt>
                  <c:pt idx="1770">
                    <c:v>Rolling Mean (30 Minute)</c:v>
                  </c:pt>
                  <c:pt idx="1771">
                    <c:v>Rolling Mean (30 Minute)</c:v>
                  </c:pt>
                  <c:pt idx="1772">
                    <c:v>Rolling Mean (30 Minute)</c:v>
                  </c:pt>
                  <c:pt idx="1773">
                    <c:v>Rolling Mean (30 Minute)</c:v>
                  </c:pt>
                  <c:pt idx="1774">
                    <c:v>Rolling Mean (30 Minute)</c:v>
                  </c:pt>
                  <c:pt idx="1775">
                    <c:v>Rolling Mean (30 Minute)</c:v>
                  </c:pt>
                  <c:pt idx="1776">
                    <c:v>Rolling Mean (30 Minute)</c:v>
                  </c:pt>
                  <c:pt idx="1777">
                    <c:v>Rolling Mean (30 Minute)</c:v>
                  </c:pt>
                  <c:pt idx="1778">
                    <c:v>Rolling Mean (30 Minute)</c:v>
                  </c:pt>
                  <c:pt idx="1779">
                    <c:v>Rolling Mean (30 Minute)</c:v>
                  </c:pt>
                  <c:pt idx="1780">
                    <c:v>Rolling Mean (30 Minute)</c:v>
                  </c:pt>
                  <c:pt idx="1781">
                    <c:v>Rolling Mean (30 Minute)</c:v>
                  </c:pt>
                  <c:pt idx="1782">
                    <c:v>Rolling Mean (30 Minute)</c:v>
                  </c:pt>
                  <c:pt idx="1783">
                    <c:v>Rolling Mean (30 Minute)</c:v>
                  </c:pt>
                  <c:pt idx="1784">
                    <c:v>Rolling Mean (30 Minute)</c:v>
                  </c:pt>
                  <c:pt idx="1785">
                    <c:v>Rolling Mean (30 Minute)</c:v>
                  </c:pt>
                  <c:pt idx="1786">
                    <c:v>Rolling Mean (30 Minute)</c:v>
                  </c:pt>
                  <c:pt idx="1787">
                    <c:v>Rolling Mean (30 Minute)</c:v>
                  </c:pt>
                  <c:pt idx="1788">
                    <c:v>Rolling Mean (30 Minute)</c:v>
                  </c:pt>
                  <c:pt idx="1789">
                    <c:v>Rolling Mean (30 Minute)</c:v>
                  </c:pt>
                  <c:pt idx="1790">
                    <c:v>Rolling Mean (30 Minute)</c:v>
                  </c:pt>
                  <c:pt idx="1791">
                    <c:v>Rolling Mean (30 Minute)</c:v>
                  </c:pt>
                  <c:pt idx="1792">
                    <c:v>Rolling Mean (30 Minute)</c:v>
                  </c:pt>
                  <c:pt idx="1793">
                    <c:v>Rolling Mean (30 Minute)</c:v>
                  </c:pt>
                  <c:pt idx="1794">
                    <c:v>Rolling Mean (30 Minute)</c:v>
                  </c:pt>
                  <c:pt idx="1795">
                    <c:v>Rolling Mean (30 Minute)</c:v>
                  </c:pt>
                  <c:pt idx="1796">
                    <c:v>Rolling Mean (30 Minute)</c:v>
                  </c:pt>
                  <c:pt idx="1797">
                    <c:v>Rolling Mean (30 Minute)</c:v>
                  </c:pt>
                  <c:pt idx="1798">
                    <c:v>Rolling Mean (30 Minute)</c:v>
                  </c:pt>
                  <c:pt idx="1799">
                    <c:v>Rolling Mean (30 Minute)</c:v>
                  </c:pt>
                  <c:pt idx="1800">
                    <c:v>Rolling Mean (30 Minute)</c:v>
                  </c:pt>
                  <c:pt idx="1801">
                    <c:v>Rolling Mean (30 Minute)</c:v>
                  </c:pt>
                  <c:pt idx="1802">
                    <c:v>Rolling Mean (30 Minute)</c:v>
                  </c:pt>
                  <c:pt idx="1803">
                    <c:v>Rolling Mean (30 Minute)</c:v>
                  </c:pt>
                  <c:pt idx="1804">
                    <c:v>Rolling Mean (30 Minute)</c:v>
                  </c:pt>
                  <c:pt idx="1805">
                    <c:v>Rolling Mean (30 Minute)</c:v>
                  </c:pt>
                  <c:pt idx="1806">
                    <c:v>Rolling Mean (30 Minute)</c:v>
                  </c:pt>
                  <c:pt idx="1807">
                    <c:v>Rolling Mean (30 Minute)</c:v>
                  </c:pt>
                  <c:pt idx="1808">
                    <c:v>Rolling Mean (30 Minute)</c:v>
                  </c:pt>
                  <c:pt idx="1809">
                    <c:v>Rolling Mean (30 Minute)</c:v>
                  </c:pt>
                  <c:pt idx="1810">
                    <c:v>Rolling Mean (30 Minute)</c:v>
                  </c:pt>
                  <c:pt idx="1811">
                    <c:v>Rolling Mean (30 Minute)</c:v>
                  </c:pt>
                  <c:pt idx="1812">
                    <c:v>Rolling Mean (30 Minute)</c:v>
                  </c:pt>
                  <c:pt idx="1813">
                    <c:v>Rolling Mean (30 Minute)</c:v>
                  </c:pt>
                  <c:pt idx="1814">
                    <c:v>Rolling Mean (30 Minute)</c:v>
                  </c:pt>
                  <c:pt idx="1815">
                    <c:v>Rolling Mean (30 Minute)</c:v>
                  </c:pt>
                  <c:pt idx="1816">
                    <c:v>Rolling Mean (30 Minute)</c:v>
                  </c:pt>
                  <c:pt idx="1817">
                    <c:v>Rolling Mean (30 Minute)</c:v>
                  </c:pt>
                  <c:pt idx="1818">
                    <c:v>Rolling Mean (30 Minute)</c:v>
                  </c:pt>
                  <c:pt idx="1819">
                    <c:v>Rolling Mean (30 Minute)</c:v>
                  </c:pt>
                  <c:pt idx="1820">
                    <c:v>Rolling Mean (30 Minute)</c:v>
                  </c:pt>
                  <c:pt idx="1821">
                    <c:v>Rolling Mean (30 Minute)</c:v>
                  </c:pt>
                  <c:pt idx="1822">
                    <c:v>Rolling Mean (30 Minute)</c:v>
                  </c:pt>
                  <c:pt idx="1823">
                    <c:v>Rolling Mean (30 Minute)</c:v>
                  </c:pt>
                  <c:pt idx="1824">
                    <c:v>Rolling Mean (30 Minute)</c:v>
                  </c:pt>
                  <c:pt idx="1825">
                    <c:v>Rolling Mean (30 Minute)</c:v>
                  </c:pt>
                  <c:pt idx="1826">
                    <c:v>Rolling Mean (30 Minute)</c:v>
                  </c:pt>
                  <c:pt idx="1827">
                    <c:v>Rolling Mean (30 Minute)</c:v>
                  </c:pt>
                  <c:pt idx="1828">
                    <c:v>Rolling Mean (30 Minute)</c:v>
                  </c:pt>
                  <c:pt idx="1829">
                    <c:v>Rolling Mean (30 Minute)</c:v>
                  </c:pt>
                  <c:pt idx="1830">
                    <c:v>Rolling Mean (30 Minute)</c:v>
                  </c:pt>
                  <c:pt idx="1831">
                    <c:v>Rolling Mean (30 Minute)</c:v>
                  </c:pt>
                  <c:pt idx="1832">
                    <c:v>Rolling Mean (30 Minute)</c:v>
                  </c:pt>
                  <c:pt idx="1833">
                    <c:v>Rolling Mean (30 Minute)</c:v>
                  </c:pt>
                  <c:pt idx="1834">
                    <c:v>Rolling Mean (30 Minute)</c:v>
                  </c:pt>
                  <c:pt idx="1835">
                    <c:v>Rolling Mean (30 Minute)</c:v>
                  </c:pt>
                  <c:pt idx="1836">
                    <c:v>Rolling Mean (30 Minute)</c:v>
                  </c:pt>
                  <c:pt idx="1837">
                    <c:v>Rolling Mean (30 Minute)</c:v>
                  </c:pt>
                  <c:pt idx="1838">
                    <c:v>Rolling Mean (30 Minute)</c:v>
                  </c:pt>
                  <c:pt idx="1839">
                    <c:v>Rolling Mean (30 Minute)</c:v>
                  </c:pt>
                  <c:pt idx="1840">
                    <c:v>Rolling Mean (30 Minute)</c:v>
                  </c:pt>
                  <c:pt idx="1841">
                    <c:v>Rolling Mean (30 Minute)</c:v>
                  </c:pt>
                  <c:pt idx="1842">
                    <c:v>Rolling Mean (30 Minute)</c:v>
                  </c:pt>
                  <c:pt idx="1843">
                    <c:v>Rolling Mean (30 Minute)</c:v>
                  </c:pt>
                  <c:pt idx="1844">
                    <c:v>Rolling Mean (30 Minute)</c:v>
                  </c:pt>
                  <c:pt idx="1845">
                    <c:v>Rolling Mean (30 Minute)</c:v>
                  </c:pt>
                  <c:pt idx="1846">
                    <c:v>Rolling Mean (30 Minute)</c:v>
                  </c:pt>
                  <c:pt idx="1847">
                    <c:v>Rolling Mean (30 Minute)</c:v>
                  </c:pt>
                  <c:pt idx="1848">
                    <c:v>Rolling Mean (30 Minute)</c:v>
                  </c:pt>
                  <c:pt idx="1849">
                    <c:v>Rolling Mean (30 Minute)</c:v>
                  </c:pt>
                  <c:pt idx="1850">
                    <c:v>Rolling Mean (30 Minute)</c:v>
                  </c:pt>
                  <c:pt idx="1851">
                    <c:v>Rolling Mean (30 Minute)</c:v>
                  </c:pt>
                  <c:pt idx="1852">
                    <c:v>Rolling Mean (30 Minute)</c:v>
                  </c:pt>
                  <c:pt idx="1853">
                    <c:v>Rolling Mean (30 Minute)</c:v>
                  </c:pt>
                  <c:pt idx="1854">
                    <c:v>Rolling Mean (30 Minute)</c:v>
                  </c:pt>
                  <c:pt idx="1855">
                    <c:v>Rolling Mean (30 Minute)</c:v>
                  </c:pt>
                  <c:pt idx="1856">
                    <c:v>Rolling Mean (30 Minute)</c:v>
                  </c:pt>
                  <c:pt idx="1857">
                    <c:v>Rolling Mean (30 Minute)</c:v>
                  </c:pt>
                  <c:pt idx="1858">
                    <c:v>Rolling Mean (30 Minute)</c:v>
                  </c:pt>
                  <c:pt idx="1859">
                    <c:v>Rolling Mean (30 Minute)</c:v>
                  </c:pt>
                  <c:pt idx="1860">
                    <c:v>Rolling Mean (30 Minute)</c:v>
                  </c:pt>
                  <c:pt idx="1861">
                    <c:v>Rolling Mean (30 Minute)</c:v>
                  </c:pt>
                  <c:pt idx="1862">
                    <c:v>Rolling Mean (30 Minute)</c:v>
                  </c:pt>
                  <c:pt idx="1863">
                    <c:v>Rolling Mean (30 Minute)</c:v>
                  </c:pt>
                  <c:pt idx="1864">
                    <c:v>Rolling Mean (30 Minute)</c:v>
                  </c:pt>
                  <c:pt idx="1865">
                    <c:v>Rolling Mean (30 Minute)</c:v>
                  </c:pt>
                  <c:pt idx="1866">
                    <c:v>Rolling Mean (30 Minute)</c:v>
                  </c:pt>
                  <c:pt idx="1867">
                    <c:v>Rolling Mean (30 Minute)</c:v>
                  </c:pt>
                  <c:pt idx="1868">
                    <c:v>Rolling Mean (30 Minute)</c:v>
                  </c:pt>
                  <c:pt idx="1869">
                    <c:v>Rolling Mean (30 Minute)</c:v>
                  </c:pt>
                  <c:pt idx="1870">
                    <c:v>Rolling Mean (30 Minute)</c:v>
                  </c:pt>
                  <c:pt idx="1871">
                    <c:v>Rolling Mean (30 Minute)</c:v>
                  </c:pt>
                  <c:pt idx="1872">
                    <c:v>Rolling Mean (30 Minute)</c:v>
                  </c:pt>
                  <c:pt idx="1873">
                    <c:v>Rolling Mean (30 Minute)</c:v>
                  </c:pt>
                  <c:pt idx="1874">
                    <c:v>Rolling Mean (30 Minute)</c:v>
                  </c:pt>
                  <c:pt idx="1875">
                    <c:v>Rolling Mean (30 Minute)</c:v>
                  </c:pt>
                  <c:pt idx="1876">
                    <c:v>Rolling Mean (30 Minute)</c:v>
                  </c:pt>
                  <c:pt idx="1877">
                    <c:v>Rolling Mean (30 Minute)</c:v>
                  </c:pt>
                  <c:pt idx="1878">
                    <c:v>Rolling Mean (30 Minute)</c:v>
                  </c:pt>
                  <c:pt idx="1879">
                    <c:v>Rolling Mean (30 Minute)</c:v>
                  </c:pt>
                  <c:pt idx="1880">
                    <c:v>Rolling Mean (30 Minute)</c:v>
                  </c:pt>
                  <c:pt idx="1881">
                    <c:v>Rolling Mean (30 Minute)</c:v>
                  </c:pt>
                  <c:pt idx="1882">
                    <c:v>Rolling Mean (30 Minute)</c:v>
                  </c:pt>
                  <c:pt idx="1883">
                    <c:v>Rolling Mean (30 Minute)</c:v>
                  </c:pt>
                  <c:pt idx="1884">
                    <c:v>Rolling Mean (30 Minute)</c:v>
                  </c:pt>
                  <c:pt idx="1885">
                    <c:v>Rolling Mean (30 Minute)</c:v>
                  </c:pt>
                  <c:pt idx="1886">
                    <c:v>Rolling Mean (30 Minute)</c:v>
                  </c:pt>
                  <c:pt idx="1887">
                    <c:v>Rolling Mean (30 Minute)</c:v>
                  </c:pt>
                  <c:pt idx="1888">
                    <c:v>Rolling Mean (30 Minute)</c:v>
                  </c:pt>
                  <c:pt idx="1889">
                    <c:v>Rolling Mean (30 Minute)</c:v>
                  </c:pt>
                  <c:pt idx="1890">
                    <c:v>Rolling Mean (30 Minute)</c:v>
                  </c:pt>
                  <c:pt idx="1891">
                    <c:v>Rolling Mean (30 Minute)</c:v>
                  </c:pt>
                  <c:pt idx="1892">
                    <c:v>Rolling Mean (30 Minute)</c:v>
                  </c:pt>
                  <c:pt idx="1893">
                    <c:v>Rolling Mean (30 Minute)</c:v>
                  </c:pt>
                  <c:pt idx="1894">
                    <c:v>Rolling Mean (30 Minute)</c:v>
                  </c:pt>
                  <c:pt idx="1895">
                    <c:v>Rolling Mean (30 Minute)</c:v>
                  </c:pt>
                  <c:pt idx="1896">
                    <c:v>Rolling Mean (30 Minute)</c:v>
                  </c:pt>
                  <c:pt idx="1897">
                    <c:v>Rolling Mean (30 Minute)</c:v>
                  </c:pt>
                  <c:pt idx="1898">
                    <c:v>Rolling Mean (30 Minute)</c:v>
                  </c:pt>
                  <c:pt idx="1899">
                    <c:v>Rolling Mean (30 Minute)</c:v>
                  </c:pt>
                  <c:pt idx="1900">
                    <c:v>Rolling Mean (30 Minute)</c:v>
                  </c:pt>
                  <c:pt idx="1901">
                    <c:v>Rolling Mean (30 Minute)</c:v>
                  </c:pt>
                  <c:pt idx="1902">
                    <c:v>Rolling Mean (30 Minute)</c:v>
                  </c:pt>
                  <c:pt idx="1903">
                    <c:v>Rolling Mean (30 Minute)</c:v>
                  </c:pt>
                  <c:pt idx="1904">
                    <c:v>Rolling Mean (30 Minute)</c:v>
                  </c:pt>
                  <c:pt idx="1905">
                    <c:v>Rolling Mean (30 Minute)</c:v>
                  </c:pt>
                  <c:pt idx="1906">
                    <c:v>Rolling Mean (30 Minute)</c:v>
                  </c:pt>
                  <c:pt idx="1907">
                    <c:v>Rolling Mean (30 Minute)</c:v>
                  </c:pt>
                  <c:pt idx="1908">
                    <c:v>Rolling Mean (30 Minute)</c:v>
                  </c:pt>
                  <c:pt idx="1909">
                    <c:v>Rolling Mean (30 Minute)</c:v>
                  </c:pt>
                  <c:pt idx="1910">
                    <c:v>Rolling Mean (30 Minute)</c:v>
                  </c:pt>
                  <c:pt idx="1911">
                    <c:v>Rolling Mean (30 Minute)</c:v>
                  </c:pt>
                  <c:pt idx="1912">
                    <c:v>Rolling Mean (30 Minute)</c:v>
                  </c:pt>
                  <c:pt idx="1913">
                    <c:v>Rolling Mean (30 Minute)</c:v>
                  </c:pt>
                  <c:pt idx="1914">
                    <c:v>Rolling Mean (30 Minute)</c:v>
                  </c:pt>
                  <c:pt idx="1915">
                    <c:v>Rolling Mean (30 Minute)</c:v>
                  </c:pt>
                  <c:pt idx="1916">
                    <c:v>Rolling Mean (30 Minute)</c:v>
                  </c:pt>
                  <c:pt idx="1917">
                    <c:v>Rolling Mean (30 Minute)</c:v>
                  </c:pt>
                  <c:pt idx="1918">
                    <c:v>Rolling Mean (30 Minute)</c:v>
                  </c:pt>
                  <c:pt idx="1919">
                    <c:v>Rolling Mean (30 Minute)</c:v>
                  </c:pt>
                  <c:pt idx="1920">
                    <c:v>Rolling Mean (30 Minute)</c:v>
                  </c:pt>
                  <c:pt idx="1921">
                    <c:v>Rolling Mean (30 Minute)</c:v>
                  </c:pt>
                  <c:pt idx="1922">
                    <c:v>Rolling Mean (30 Minute)</c:v>
                  </c:pt>
                  <c:pt idx="1923">
                    <c:v>Rolling Mean (30 Minute)</c:v>
                  </c:pt>
                  <c:pt idx="1924">
                    <c:v>Rolling Mean (30 Minute)</c:v>
                  </c:pt>
                  <c:pt idx="1925">
                    <c:v>Rolling Mean (30 Minute)</c:v>
                  </c:pt>
                  <c:pt idx="1926">
                    <c:v>Rolling Mean (30 Minute)</c:v>
                  </c:pt>
                  <c:pt idx="1927">
                    <c:v>Rolling Mean (30 Minute)</c:v>
                  </c:pt>
                  <c:pt idx="1928">
                    <c:v>Rolling Mean (30 Minute)</c:v>
                  </c:pt>
                  <c:pt idx="1929">
                    <c:v>Rolling Mean (30 Minute)</c:v>
                  </c:pt>
                  <c:pt idx="1930">
                    <c:v>Rolling Mean (30 Minute)</c:v>
                  </c:pt>
                  <c:pt idx="1931">
                    <c:v>Rolling Mean (30 Minute)</c:v>
                  </c:pt>
                  <c:pt idx="1932">
                    <c:v>Rolling Mean (30 Minute)</c:v>
                  </c:pt>
                  <c:pt idx="1933">
                    <c:v>Rolling Mean (30 Minute)</c:v>
                  </c:pt>
                  <c:pt idx="1934">
                    <c:v>Rolling Mean (30 Minute)</c:v>
                  </c:pt>
                  <c:pt idx="1935">
                    <c:v>Rolling Mean (30 Minute)</c:v>
                  </c:pt>
                  <c:pt idx="1936">
                    <c:v>Rolling Mean (30 Minute)</c:v>
                  </c:pt>
                  <c:pt idx="1937">
                    <c:v>Rolling Mean (30 Minute)</c:v>
                  </c:pt>
                  <c:pt idx="1938">
                    <c:v>Rolling Mean (30 Minute)</c:v>
                  </c:pt>
                  <c:pt idx="1939">
                    <c:v>Rolling Mean (30 Minute)</c:v>
                  </c:pt>
                  <c:pt idx="1940">
                    <c:v>Rolling Mean (30 Minute)</c:v>
                  </c:pt>
                  <c:pt idx="1941">
                    <c:v>Rolling Mean (30 Minute)</c:v>
                  </c:pt>
                  <c:pt idx="1942">
                    <c:v>Rolling Mean (30 Minute)</c:v>
                  </c:pt>
                  <c:pt idx="1943">
                    <c:v>Rolling Mean (30 Minute)</c:v>
                  </c:pt>
                  <c:pt idx="1944">
                    <c:v>Rolling Mean (30 Minute)</c:v>
                  </c:pt>
                  <c:pt idx="1945">
                    <c:v>Rolling Mean (30 Minute)</c:v>
                  </c:pt>
                  <c:pt idx="1946">
                    <c:v>Rolling Mean (30 Minute)</c:v>
                  </c:pt>
                  <c:pt idx="1947">
                    <c:v>Rolling Mean (30 Minute)</c:v>
                  </c:pt>
                  <c:pt idx="1948">
                    <c:v>Rolling Mean (30 Minute)</c:v>
                  </c:pt>
                  <c:pt idx="1949">
                    <c:v>Rolling Mean (30 Minute)</c:v>
                  </c:pt>
                  <c:pt idx="1950">
                    <c:v>Rolling Mean (30 Minute)</c:v>
                  </c:pt>
                  <c:pt idx="1951">
                    <c:v>Rolling Mean (30 Minute)</c:v>
                  </c:pt>
                  <c:pt idx="1952">
                    <c:v>Rolling Mean (30 Minute)</c:v>
                  </c:pt>
                  <c:pt idx="1953">
                    <c:v>Rolling Mean (30 Minute)</c:v>
                  </c:pt>
                  <c:pt idx="1954">
                    <c:v>Rolling Mean (30 Minute)</c:v>
                  </c:pt>
                  <c:pt idx="1955">
                    <c:v>Rolling Mean (30 Minute)</c:v>
                  </c:pt>
                  <c:pt idx="1956">
                    <c:v>Rolling Mean (30 Minute)</c:v>
                  </c:pt>
                  <c:pt idx="1957">
                    <c:v>Rolling Mean (30 Minute)</c:v>
                  </c:pt>
                  <c:pt idx="1958">
                    <c:v>Rolling Mean (30 Minute)</c:v>
                  </c:pt>
                  <c:pt idx="1959">
                    <c:v>Rolling Mean (30 Minute)</c:v>
                  </c:pt>
                  <c:pt idx="1960">
                    <c:v>Rolling Mean (30 Minute)</c:v>
                  </c:pt>
                  <c:pt idx="1961">
                    <c:v>Rolling Mean (30 Minute)</c:v>
                  </c:pt>
                  <c:pt idx="1962">
                    <c:v>Rolling Mean (30 Minute)</c:v>
                  </c:pt>
                  <c:pt idx="1963">
                    <c:v>Rolling Mean (30 Minute)</c:v>
                  </c:pt>
                  <c:pt idx="1964">
                    <c:v>Rolling Mean (30 Minute)</c:v>
                  </c:pt>
                  <c:pt idx="1965">
                    <c:v>Rolling Mean (30 Minute)</c:v>
                  </c:pt>
                  <c:pt idx="1966">
                    <c:v>Rolling Mean (30 Minute)</c:v>
                  </c:pt>
                  <c:pt idx="1967">
                    <c:v>Rolling Mean (30 Minute)</c:v>
                  </c:pt>
                  <c:pt idx="1968">
                    <c:v>Rolling Mean (30 Minute)</c:v>
                  </c:pt>
                  <c:pt idx="1969">
                    <c:v>Rolling Mean (30 Minute)</c:v>
                  </c:pt>
                  <c:pt idx="1970">
                    <c:v>Rolling Mean (30 Minute)</c:v>
                  </c:pt>
                  <c:pt idx="1971">
                    <c:v>Rolling Mean (30 Minute)</c:v>
                  </c:pt>
                  <c:pt idx="1972">
                    <c:v>Rolling Mean (30 Minute)</c:v>
                  </c:pt>
                  <c:pt idx="1973">
                    <c:v>Rolling Mean (30 Minute)</c:v>
                  </c:pt>
                  <c:pt idx="1974">
                    <c:v>Rolling Mean (30 Minute)</c:v>
                  </c:pt>
                  <c:pt idx="1975">
                    <c:v>Rolling Mean (30 Minute)</c:v>
                  </c:pt>
                  <c:pt idx="1976">
                    <c:v>Rolling Mean (30 Minute)</c:v>
                  </c:pt>
                  <c:pt idx="1977">
                    <c:v>Rolling Mean (30 Minute)</c:v>
                  </c:pt>
                  <c:pt idx="1978">
                    <c:v>Rolling Mean (30 Minute)</c:v>
                  </c:pt>
                  <c:pt idx="1979">
                    <c:v>Rolling Mean (30 Minute)</c:v>
                  </c:pt>
                  <c:pt idx="1980">
                    <c:v>Rolling Mean (30 Minute)</c:v>
                  </c:pt>
                  <c:pt idx="1981">
                    <c:v>Rolling Mean (30 Minute)</c:v>
                  </c:pt>
                  <c:pt idx="1982">
                    <c:v>Rolling Mean (30 Minute)</c:v>
                  </c:pt>
                  <c:pt idx="1983">
                    <c:v>Rolling Mean (30 Minute)</c:v>
                  </c:pt>
                  <c:pt idx="1984">
                    <c:v>Rolling Mean (30 Minute)</c:v>
                  </c:pt>
                  <c:pt idx="1985">
                    <c:v>Rolling Mean (30 Minute)</c:v>
                  </c:pt>
                  <c:pt idx="1986">
                    <c:v>Rolling Mean (30 Minute)</c:v>
                  </c:pt>
                  <c:pt idx="1987">
                    <c:v>Rolling Mean (30 Minute)</c:v>
                  </c:pt>
                  <c:pt idx="1988">
                    <c:v>Rolling Mean (30 Minute)</c:v>
                  </c:pt>
                  <c:pt idx="1989">
                    <c:v>Rolling Mean (30 Minute)</c:v>
                  </c:pt>
                  <c:pt idx="1990">
                    <c:v>Rolling Mean (30 Minute)</c:v>
                  </c:pt>
                  <c:pt idx="1991">
                    <c:v>Rolling Mean (30 Minute)</c:v>
                  </c:pt>
                  <c:pt idx="1992">
                    <c:v>Rolling Mean (30 Minute)</c:v>
                  </c:pt>
                  <c:pt idx="1993">
                    <c:v>Rolling Mean (30 Minute)</c:v>
                  </c:pt>
                  <c:pt idx="1994">
                    <c:v>Rolling Mean (30 Minute)</c:v>
                  </c:pt>
                  <c:pt idx="1995">
                    <c:v>Rolling Mean (30 Minute)</c:v>
                  </c:pt>
                  <c:pt idx="1996">
                    <c:v>Rolling Mean (30 Minute)</c:v>
                  </c:pt>
                  <c:pt idx="1997">
                    <c:v>Rolling Mean (30 Minute)</c:v>
                  </c:pt>
                  <c:pt idx="1998">
                    <c:v>Rolling Mean (30 Minute)</c:v>
                  </c:pt>
                  <c:pt idx="1999">
                    <c:v>Rolling Mean (30 Minute)</c:v>
                  </c:pt>
                  <c:pt idx="2000">
                    <c:v>Rolling Mean (30 Minute)</c:v>
                  </c:pt>
                  <c:pt idx="2001">
                    <c:v>Rolling Mean (30 Minute)</c:v>
                  </c:pt>
                  <c:pt idx="2002">
                    <c:v>Rolling Mean (30 Minute)</c:v>
                  </c:pt>
                  <c:pt idx="2003">
                    <c:v>Rolling Mean (30 Minute)</c:v>
                  </c:pt>
                  <c:pt idx="2004">
                    <c:v>Rolling Mean (30 Minute)</c:v>
                  </c:pt>
                  <c:pt idx="2005">
                    <c:v>Rolling Mean (30 Minute)</c:v>
                  </c:pt>
                  <c:pt idx="2006">
                    <c:v>Rolling Mean (30 Minute)</c:v>
                  </c:pt>
                  <c:pt idx="2007">
                    <c:v>Rolling Mean (30 Minute)</c:v>
                  </c:pt>
                  <c:pt idx="2008">
                    <c:v>Rolling Mean (30 Minute)</c:v>
                  </c:pt>
                  <c:pt idx="2009">
                    <c:v>Rolling Mean (30 Minute)</c:v>
                  </c:pt>
                  <c:pt idx="2010">
                    <c:v>Rolling Mean (30 Minute)</c:v>
                  </c:pt>
                  <c:pt idx="2011">
                    <c:v>Rolling Mean (30 Minute)</c:v>
                  </c:pt>
                  <c:pt idx="2012">
                    <c:v>Rolling Mean (30 Minute)</c:v>
                  </c:pt>
                  <c:pt idx="2013">
                    <c:v>Rolling Mean (30 Minute)</c:v>
                  </c:pt>
                  <c:pt idx="2014">
                    <c:v>Rolling Mean (30 Minute)</c:v>
                  </c:pt>
                  <c:pt idx="2015">
                    <c:v>Rolling Mean (30 Minute)</c:v>
                  </c:pt>
                  <c:pt idx="2016">
                    <c:v>Rolling Mean (30 Minute)</c:v>
                  </c:pt>
                  <c:pt idx="2017">
                    <c:v>Rolling Mean (30 Minute)</c:v>
                  </c:pt>
                  <c:pt idx="2018">
                    <c:v>Rolling Mean (30 Minute)</c:v>
                  </c:pt>
                  <c:pt idx="2019">
                    <c:v>Rolling Mean (30 Minute)</c:v>
                  </c:pt>
                  <c:pt idx="2020">
                    <c:v>Rolling Mean (30 Minute)</c:v>
                  </c:pt>
                  <c:pt idx="2021">
                    <c:v>Rolling Mean (30 Minute)</c:v>
                  </c:pt>
                  <c:pt idx="2022">
                    <c:v>Rolling Mean (30 Minute)</c:v>
                  </c:pt>
                  <c:pt idx="2023">
                    <c:v>Rolling Mean (30 Minute)</c:v>
                  </c:pt>
                  <c:pt idx="2024">
                    <c:v>Rolling Mean (30 Minute)</c:v>
                  </c:pt>
                  <c:pt idx="2025">
                    <c:v>Rolling Mean (30 Minute)</c:v>
                  </c:pt>
                  <c:pt idx="2026">
                    <c:v>Rolling Mean (30 Minute)</c:v>
                  </c:pt>
                  <c:pt idx="2027">
                    <c:v>Rolling Mean (30 Minute)</c:v>
                  </c:pt>
                  <c:pt idx="2028">
                    <c:v>Rolling Mean (30 Minute)</c:v>
                  </c:pt>
                  <c:pt idx="2029">
                    <c:v>Rolling Mean (30 Minute)</c:v>
                  </c:pt>
                  <c:pt idx="2030">
                    <c:v>Rolling Mean (30 Minute)</c:v>
                  </c:pt>
                  <c:pt idx="2031">
                    <c:v>Rolling Mean (30 Minute)</c:v>
                  </c:pt>
                  <c:pt idx="2032">
                    <c:v>Rolling Mean (30 Minute)</c:v>
                  </c:pt>
                  <c:pt idx="2033">
                    <c:v>Rolling Mean (30 Minute)</c:v>
                  </c:pt>
                  <c:pt idx="2034">
                    <c:v>Rolling Mean (30 Minute)</c:v>
                  </c:pt>
                  <c:pt idx="2035">
                    <c:v>Rolling Mean (30 Minute)</c:v>
                  </c:pt>
                  <c:pt idx="2036">
                    <c:v>Rolling Mean (30 Minute)</c:v>
                  </c:pt>
                  <c:pt idx="2037">
                    <c:v>Rolling Mean (30 Minute)</c:v>
                  </c:pt>
                  <c:pt idx="2038">
                    <c:v>Rolling Mean (30 Minute)</c:v>
                  </c:pt>
                  <c:pt idx="2039">
                    <c:v>Rolling Mean (30 Minute)</c:v>
                  </c:pt>
                  <c:pt idx="2040">
                    <c:v>Rolling Mean (30 Minute)</c:v>
                  </c:pt>
                  <c:pt idx="2041">
                    <c:v>Rolling Mean (30 Minute)</c:v>
                  </c:pt>
                  <c:pt idx="2042">
                    <c:v>Rolling Mean (30 Minute)</c:v>
                  </c:pt>
                  <c:pt idx="2043">
                    <c:v>Rolling Mean (30 Minute)</c:v>
                  </c:pt>
                  <c:pt idx="2044">
                    <c:v>Rolling Mean (30 Minute)</c:v>
                  </c:pt>
                  <c:pt idx="2045">
                    <c:v>Rolling Mean (30 Minute)</c:v>
                  </c:pt>
                  <c:pt idx="2046">
                    <c:v>Rolling Mean (30 Minute)</c:v>
                  </c:pt>
                  <c:pt idx="2047">
                    <c:v>Rolling Mean (30 Minute)</c:v>
                  </c:pt>
                  <c:pt idx="2048">
                    <c:v>Rolling Mean (30 Minute)</c:v>
                  </c:pt>
                  <c:pt idx="2049">
                    <c:v>Rolling Mean (30 Minute)</c:v>
                  </c:pt>
                  <c:pt idx="2050">
                    <c:v>Rolling Mean (30 Minute)</c:v>
                  </c:pt>
                  <c:pt idx="2051">
                    <c:v>Rolling Mean (30 Minute)</c:v>
                  </c:pt>
                  <c:pt idx="2052">
                    <c:v>Rolling Mean (30 Minute)</c:v>
                  </c:pt>
                  <c:pt idx="2053">
                    <c:v>Rolling Mean (30 Minute)</c:v>
                  </c:pt>
                  <c:pt idx="2054">
                    <c:v>Rolling Mean (30 Minute)</c:v>
                  </c:pt>
                  <c:pt idx="2055">
                    <c:v>Rolling Mean (30 Minute)</c:v>
                  </c:pt>
                  <c:pt idx="2056">
                    <c:v>Rolling Mean (30 Minute)</c:v>
                  </c:pt>
                  <c:pt idx="2057">
                    <c:v>Rolling Mean (30 Minute)</c:v>
                  </c:pt>
                  <c:pt idx="2058">
                    <c:v>Rolling Mean (30 Minute)</c:v>
                  </c:pt>
                  <c:pt idx="2059">
                    <c:v>Rolling Mean (30 Minute)</c:v>
                  </c:pt>
                  <c:pt idx="2060">
                    <c:v>Rolling Mean (30 Minute)</c:v>
                  </c:pt>
                  <c:pt idx="2061">
                    <c:v>Rolling Mean (30 Minute)</c:v>
                  </c:pt>
                  <c:pt idx="2062">
                    <c:v>Rolling Mean (30 Minute)</c:v>
                  </c:pt>
                  <c:pt idx="2063">
                    <c:v>Rolling Mean (30 Minute)</c:v>
                  </c:pt>
                  <c:pt idx="2064">
                    <c:v>Rolling Mean (30 Minute)</c:v>
                  </c:pt>
                  <c:pt idx="2065">
                    <c:v>Rolling Mean (30 Minute)</c:v>
                  </c:pt>
                  <c:pt idx="2066">
                    <c:v>Rolling Mean (30 Minute)</c:v>
                  </c:pt>
                  <c:pt idx="2067">
                    <c:v>Rolling Mean (30 Minute)</c:v>
                  </c:pt>
                  <c:pt idx="2068">
                    <c:v>Rolling Mean (30 Minute)</c:v>
                  </c:pt>
                  <c:pt idx="2069">
                    <c:v>Rolling Mean (30 Minute)</c:v>
                  </c:pt>
                  <c:pt idx="2070">
                    <c:v>Rolling Mean (30 Minute)</c:v>
                  </c:pt>
                  <c:pt idx="2071">
                    <c:v>Rolling Mean (30 Minute)</c:v>
                  </c:pt>
                  <c:pt idx="2072">
                    <c:v>Rolling Mean (30 Minute)</c:v>
                  </c:pt>
                  <c:pt idx="2073">
                    <c:v>Rolling Mean (30 Minute)</c:v>
                  </c:pt>
                  <c:pt idx="2074">
                    <c:v>Rolling Mean (30 Minute)</c:v>
                  </c:pt>
                  <c:pt idx="2075">
                    <c:v>Rolling Mean (30 Minute)</c:v>
                  </c:pt>
                  <c:pt idx="2076">
                    <c:v>Rolling Mean (30 Minute)</c:v>
                  </c:pt>
                  <c:pt idx="2077">
                    <c:v>Rolling Mean (30 Minute)</c:v>
                  </c:pt>
                  <c:pt idx="2078">
                    <c:v>Rolling Mean (30 Minute)</c:v>
                  </c:pt>
                  <c:pt idx="2079">
                    <c:v>Rolling Mean (30 Minute)</c:v>
                  </c:pt>
                  <c:pt idx="2080">
                    <c:v>Rolling Mean (30 Minute)</c:v>
                  </c:pt>
                  <c:pt idx="2081">
                    <c:v>Rolling Mean (30 Minute)</c:v>
                  </c:pt>
                  <c:pt idx="2082">
                    <c:v>Rolling Mean (30 Minute)</c:v>
                  </c:pt>
                  <c:pt idx="2083">
                    <c:v>Rolling Mean (30 Minute)</c:v>
                  </c:pt>
                  <c:pt idx="2084">
                    <c:v>Rolling Mean (30 Minute)</c:v>
                  </c:pt>
                  <c:pt idx="2085">
                    <c:v>Rolling Mean (30 Minute)</c:v>
                  </c:pt>
                  <c:pt idx="2086">
                    <c:v>Rolling Mean (30 Minute)</c:v>
                  </c:pt>
                  <c:pt idx="2087">
                    <c:v>Rolling Mean (30 Minute)</c:v>
                  </c:pt>
                  <c:pt idx="2088">
                    <c:v>Rolling Mean (30 Minute)</c:v>
                  </c:pt>
                  <c:pt idx="2089">
                    <c:v>Rolling Mean (30 Minute)</c:v>
                  </c:pt>
                  <c:pt idx="2090">
                    <c:v>Rolling Mean (30 Minute)</c:v>
                  </c:pt>
                  <c:pt idx="2091">
                    <c:v>Rolling Mean (30 Minute)</c:v>
                  </c:pt>
                  <c:pt idx="2092">
                    <c:v>Rolling Mean (30 Minute)</c:v>
                  </c:pt>
                  <c:pt idx="2093">
                    <c:v>Rolling Mean (30 Minute)</c:v>
                  </c:pt>
                  <c:pt idx="2094">
                    <c:v>Rolling Mean (30 Minute)</c:v>
                  </c:pt>
                  <c:pt idx="2095">
                    <c:v>Rolling Mean (30 Minute)</c:v>
                  </c:pt>
                  <c:pt idx="2096">
                    <c:v>Rolling Mean (30 Minute)</c:v>
                  </c:pt>
                  <c:pt idx="2097">
                    <c:v>Rolling Mean (30 Minute)</c:v>
                  </c:pt>
                  <c:pt idx="2098">
                    <c:v>Rolling Mean (30 Minute)</c:v>
                  </c:pt>
                  <c:pt idx="2099">
                    <c:v>Rolling Mean (30 Minute)</c:v>
                  </c:pt>
                  <c:pt idx="2100">
                    <c:v>Rolling Mean (30 Minute)</c:v>
                  </c:pt>
                  <c:pt idx="2101">
                    <c:v>Rolling Mean (30 Minute)</c:v>
                  </c:pt>
                  <c:pt idx="2102">
                    <c:v>Rolling Mean (30 Minute)</c:v>
                  </c:pt>
                  <c:pt idx="2103">
                    <c:v>Rolling Mean (30 Minute)</c:v>
                  </c:pt>
                  <c:pt idx="2104">
                    <c:v>Rolling Mean (30 Minute)</c:v>
                  </c:pt>
                  <c:pt idx="2105">
                    <c:v>Rolling Mean (30 Minute)</c:v>
                  </c:pt>
                  <c:pt idx="2106">
                    <c:v>Rolling Mean (30 Minute)</c:v>
                  </c:pt>
                  <c:pt idx="2107">
                    <c:v>Rolling Mean (30 Minute)</c:v>
                  </c:pt>
                  <c:pt idx="2108">
                    <c:v>Rolling Mean (30 Minute)</c:v>
                  </c:pt>
                  <c:pt idx="2109">
                    <c:v>Rolling Mean (30 Minute)</c:v>
                  </c:pt>
                  <c:pt idx="2110">
                    <c:v>Rolling Mean (30 Minute)</c:v>
                  </c:pt>
                  <c:pt idx="2111">
                    <c:v>Rolling Mean (30 Minute)</c:v>
                  </c:pt>
                  <c:pt idx="2112">
                    <c:v>Rolling Mean (30 Minute)</c:v>
                  </c:pt>
                  <c:pt idx="2113">
                    <c:v>Rolling Mean (30 Minute)</c:v>
                  </c:pt>
                  <c:pt idx="2114">
                    <c:v>Rolling Mean (30 Minute)</c:v>
                  </c:pt>
                  <c:pt idx="2115">
                    <c:v>Rolling Mean (30 Minute)</c:v>
                  </c:pt>
                  <c:pt idx="2116">
                    <c:v>Rolling Mean (30 Minute)</c:v>
                  </c:pt>
                  <c:pt idx="2117">
                    <c:v>Rolling Mean (30 Minute)</c:v>
                  </c:pt>
                  <c:pt idx="2118">
                    <c:v>Rolling Mean (30 Minute)</c:v>
                  </c:pt>
                  <c:pt idx="2119">
                    <c:v>Rolling Mean (30 Minute)</c:v>
                  </c:pt>
                  <c:pt idx="2120">
                    <c:v>Rolling Mean (30 Minute)</c:v>
                  </c:pt>
                  <c:pt idx="2121">
                    <c:v>Rolling Mean (30 Minute)</c:v>
                  </c:pt>
                  <c:pt idx="2122">
                    <c:v>Rolling Mean (30 Minute)</c:v>
                  </c:pt>
                  <c:pt idx="2123">
                    <c:v>Rolling Mean (30 Minute)</c:v>
                  </c:pt>
                  <c:pt idx="2124">
                    <c:v>Rolling Mean (30 Minute)</c:v>
                  </c:pt>
                  <c:pt idx="2125">
                    <c:v>Rolling Mean (30 Minute)</c:v>
                  </c:pt>
                  <c:pt idx="2126">
                    <c:v>Rolling Mean (30 Minute)</c:v>
                  </c:pt>
                  <c:pt idx="2127">
                    <c:v>Rolling Mean (30 Minute)</c:v>
                  </c:pt>
                  <c:pt idx="2128">
                    <c:v>Rolling Mean (30 Minute)</c:v>
                  </c:pt>
                  <c:pt idx="2129">
                    <c:v>Rolling Mean (30 Minute)</c:v>
                  </c:pt>
                  <c:pt idx="2130">
                    <c:v>Rolling Mean (30 Minute)</c:v>
                  </c:pt>
                  <c:pt idx="2131">
                    <c:v>Rolling Mean (30 Minute)</c:v>
                  </c:pt>
                  <c:pt idx="2132">
                    <c:v>Rolling Mean (30 Minute)</c:v>
                  </c:pt>
                  <c:pt idx="2133">
                    <c:v>Rolling Mean (30 Minute)</c:v>
                  </c:pt>
                  <c:pt idx="2134">
                    <c:v>Rolling Mean (30 Minute)</c:v>
                  </c:pt>
                  <c:pt idx="2135">
                    <c:v>Rolling Mean (30 Minute)</c:v>
                  </c:pt>
                  <c:pt idx="2136">
                    <c:v>Rolling Mean (30 Minute)</c:v>
                  </c:pt>
                  <c:pt idx="2137">
                    <c:v>Rolling Mean (30 Minute)</c:v>
                  </c:pt>
                  <c:pt idx="2138">
                    <c:v>Rolling Mean (30 Minute)</c:v>
                  </c:pt>
                  <c:pt idx="2139">
                    <c:v>Rolling Mean (30 Minute)</c:v>
                  </c:pt>
                  <c:pt idx="2140">
                    <c:v>Rolling Mean (30 Minute)</c:v>
                  </c:pt>
                  <c:pt idx="2141">
                    <c:v>Rolling Mean (30 Minute)</c:v>
                  </c:pt>
                  <c:pt idx="2142">
                    <c:v>Rolling Mean (30 Minute)</c:v>
                  </c:pt>
                  <c:pt idx="2143">
                    <c:v>Rolling Mean (30 Minute)</c:v>
                  </c:pt>
                  <c:pt idx="2144">
                    <c:v>Rolling Mean (30 Minute)</c:v>
                  </c:pt>
                  <c:pt idx="2145">
                    <c:v>Rolling Mean (30 Minute)</c:v>
                  </c:pt>
                  <c:pt idx="2146">
                    <c:v>Rolling Mean (30 Minute)</c:v>
                  </c:pt>
                  <c:pt idx="2147">
                    <c:v>Rolling Mean (30 Minute)</c:v>
                  </c:pt>
                  <c:pt idx="2148">
                    <c:v>Rolling Mean (30 Minute)</c:v>
                  </c:pt>
                  <c:pt idx="2149">
                    <c:v>Rolling Mean (30 Minute)</c:v>
                  </c:pt>
                  <c:pt idx="2150">
                    <c:v>Rolling Mean (30 Minute)</c:v>
                  </c:pt>
                  <c:pt idx="2151">
                    <c:v>Rolling Mean (30 Minute)</c:v>
                  </c:pt>
                  <c:pt idx="2152">
                    <c:v>Rolling Mean (30 Minute)</c:v>
                  </c:pt>
                  <c:pt idx="2153">
                    <c:v>Rolling Mean (30 Minute)</c:v>
                  </c:pt>
                  <c:pt idx="2154">
                    <c:v>Rolling Mean (30 Minute)</c:v>
                  </c:pt>
                  <c:pt idx="2155">
                    <c:v>Rolling Mean (30 Minute)</c:v>
                  </c:pt>
                  <c:pt idx="2156">
                    <c:v>Rolling Mean (30 Minute)</c:v>
                  </c:pt>
                  <c:pt idx="2157">
                    <c:v>Rolling Mean (30 Minute)</c:v>
                  </c:pt>
                  <c:pt idx="2158">
                    <c:v>Rolling Mean (30 Minute)</c:v>
                  </c:pt>
                  <c:pt idx="2159">
                    <c:v>Rolling Mean (30 Minute)</c:v>
                  </c:pt>
                  <c:pt idx="2160">
                    <c:v>Rolling Mean (30 Minute)</c:v>
                  </c:pt>
                  <c:pt idx="2161">
                    <c:v>Rolling Mean (30 Minute)</c:v>
                  </c:pt>
                  <c:pt idx="2162">
                    <c:v>Rolling Mean (30 Minute)</c:v>
                  </c:pt>
                  <c:pt idx="2163">
                    <c:v>Rolling Mean (30 Minute)</c:v>
                  </c:pt>
                  <c:pt idx="2164">
                    <c:v>Rolling Mean (30 Minute)</c:v>
                  </c:pt>
                  <c:pt idx="2165">
                    <c:v>Rolling Mean (30 Minute)</c:v>
                  </c:pt>
                  <c:pt idx="2166">
                    <c:v>Rolling Mean (30 Minute)</c:v>
                  </c:pt>
                  <c:pt idx="2167">
                    <c:v>Rolling Mean (30 Minute)</c:v>
                  </c:pt>
                  <c:pt idx="2168">
                    <c:v>Rolling Mean (30 Minute)</c:v>
                  </c:pt>
                  <c:pt idx="2169">
                    <c:v>Rolling Mean (30 Minute)</c:v>
                  </c:pt>
                  <c:pt idx="2170">
                    <c:v>Rolling Mean (30 Minute)</c:v>
                  </c:pt>
                  <c:pt idx="2171">
                    <c:v>Rolling Mean (30 Minute)</c:v>
                  </c:pt>
                  <c:pt idx="2172">
                    <c:v>Rolling Mean (30 Minute)</c:v>
                  </c:pt>
                  <c:pt idx="2173">
                    <c:v>Rolling Mean (30 Minute)</c:v>
                  </c:pt>
                  <c:pt idx="2174">
                    <c:v>Rolling Mean (30 Minute)</c:v>
                  </c:pt>
                  <c:pt idx="2175">
                    <c:v>Rolling Mean (30 Minute)</c:v>
                  </c:pt>
                  <c:pt idx="2176">
                    <c:v>Rolling Mean (30 Minute)</c:v>
                  </c:pt>
                  <c:pt idx="2177">
                    <c:v>Rolling Mean (30 Minute)</c:v>
                  </c:pt>
                  <c:pt idx="2178">
                    <c:v>Rolling Mean (30 Minute)</c:v>
                  </c:pt>
                  <c:pt idx="2179">
                    <c:v>Rolling Mean (30 Minute)</c:v>
                  </c:pt>
                  <c:pt idx="2180">
                    <c:v>Rolling Mean (30 Minute)</c:v>
                  </c:pt>
                  <c:pt idx="2181">
                    <c:v>Rolling Mean (30 Minute)</c:v>
                  </c:pt>
                  <c:pt idx="2182">
                    <c:v>Rolling Mean (30 Minute)</c:v>
                  </c:pt>
                  <c:pt idx="2183">
                    <c:v>Rolling Mean (30 Minute)</c:v>
                  </c:pt>
                  <c:pt idx="2184">
                    <c:v>Rolling Mean (30 Minute)</c:v>
                  </c:pt>
                  <c:pt idx="2185">
                    <c:v>Rolling Mean (30 Minute)</c:v>
                  </c:pt>
                  <c:pt idx="2186">
                    <c:v>Rolling Mean (30 Minute)</c:v>
                  </c:pt>
                  <c:pt idx="2187">
                    <c:v>Rolling Mean (30 Minute)</c:v>
                  </c:pt>
                  <c:pt idx="2188">
                    <c:v>Rolling Mean (30 Minute)</c:v>
                  </c:pt>
                  <c:pt idx="2189">
                    <c:v>Rolling Mean (30 Minute)</c:v>
                  </c:pt>
                  <c:pt idx="2190">
                    <c:v>Rolling Mean (30 Minute)</c:v>
                  </c:pt>
                  <c:pt idx="2191">
                    <c:v>Rolling Mean (30 Minute)</c:v>
                  </c:pt>
                  <c:pt idx="2192">
                    <c:v>Rolling Mean (30 Minute)</c:v>
                  </c:pt>
                  <c:pt idx="2193">
                    <c:v>Rolling Mean (30 Minute)</c:v>
                  </c:pt>
                  <c:pt idx="2194">
                    <c:v>Rolling Mean (30 Minute)</c:v>
                  </c:pt>
                  <c:pt idx="2195">
                    <c:v>Rolling Mean (30 Minute)</c:v>
                  </c:pt>
                  <c:pt idx="2196">
                    <c:v>Rolling Mean (30 Minute)</c:v>
                  </c:pt>
                  <c:pt idx="2197">
                    <c:v>Rolling Mean (30 Minute)</c:v>
                  </c:pt>
                  <c:pt idx="2198">
                    <c:v>Rolling Mean (30 Minute)</c:v>
                  </c:pt>
                  <c:pt idx="2199">
                    <c:v>Rolling Mean (30 Minute)</c:v>
                  </c:pt>
                  <c:pt idx="2200">
                    <c:v>Rolling Mean (30 Minute)</c:v>
                  </c:pt>
                  <c:pt idx="2201">
                    <c:v>Rolling Mean (30 Minute)</c:v>
                  </c:pt>
                  <c:pt idx="2202">
                    <c:v>Rolling Mean (30 Minute)</c:v>
                  </c:pt>
                  <c:pt idx="2203">
                    <c:v>Rolling Mean (30 Minute)</c:v>
                  </c:pt>
                  <c:pt idx="2204">
                    <c:v>Rolling Mean (30 Minute)</c:v>
                  </c:pt>
                  <c:pt idx="2205">
                    <c:v>Rolling Mean (30 Minute)</c:v>
                  </c:pt>
                  <c:pt idx="2206">
                    <c:v>Rolling Mean (30 Minute)</c:v>
                  </c:pt>
                  <c:pt idx="2207">
                    <c:v>Rolling Mean (30 Minute)</c:v>
                  </c:pt>
                  <c:pt idx="2208">
                    <c:v>Rolling Mean (30 Minute)</c:v>
                  </c:pt>
                  <c:pt idx="2209">
                    <c:v>Rolling Mean (30 Minute)</c:v>
                  </c:pt>
                  <c:pt idx="2210">
                    <c:v>Rolling Mean (30 Minute)</c:v>
                  </c:pt>
                  <c:pt idx="2211">
                    <c:v>Rolling Mean (30 Minute)</c:v>
                  </c:pt>
                  <c:pt idx="2212">
                    <c:v>Rolling Mean (30 Minute)</c:v>
                  </c:pt>
                  <c:pt idx="2213">
                    <c:v>Rolling Mean (30 Minute)</c:v>
                  </c:pt>
                  <c:pt idx="2214">
                    <c:v>Rolling Mean (30 Minute)</c:v>
                  </c:pt>
                  <c:pt idx="2215">
                    <c:v>Rolling Mean (30 Minute)</c:v>
                  </c:pt>
                  <c:pt idx="2216">
                    <c:v>Rolling Mean (30 Minute)</c:v>
                  </c:pt>
                  <c:pt idx="2217">
                    <c:v>Rolling Mean (30 Minute)</c:v>
                  </c:pt>
                  <c:pt idx="2218">
                    <c:v>Rolling Mean (30 Minute)</c:v>
                  </c:pt>
                  <c:pt idx="2219">
                    <c:v>Rolling Mean (30 Minute)</c:v>
                  </c:pt>
                  <c:pt idx="2220">
                    <c:v>Rolling Mean (30 Minute)</c:v>
                  </c:pt>
                  <c:pt idx="2221">
                    <c:v>Rolling Mean (30 Minute)</c:v>
                  </c:pt>
                  <c:pt idx="2222">
                    <c:v>Rolling Mean (30 Minute)</c:v>
                  </c:pt>
                  <c:pt idx="2223">
                    <c:v>Rolling Mean (30 Minute)</c:v>
                  </c:pt>
                  <c:pt idx="2224">
                    <c:v>Rolling Mean (30 Minute)</c:v>
                  </c:pt>
                  <c:pt idx="2225">
                    <c:v>Rolling Mean (30 Minute)</c:v>
                  </c:pt>
                  <c:pt idx="2226">
                    <c:v>Rolling Mean (30 Minute)</c:v>
                  </c:pt>
                  <c:pt idx="2227">
                    <c:v>Rolling Mean (30 Minute)</c:v>
                  </c:pt>
                  <c:pt idx="2228">
                    <c:v>Rolling Mean (30 Minute)</c:v>
                  </c:pt>
                  <c:pt idx="2229">
                    <c:v>Rolling Mean (30 Minute)</c:v>
                  </c:pt>
                  <c:pt idx="2230">
                    <c:v>Rolling Mean (30 Minute)</c:v>
                  </c:pt>
                  <c:pt idx="2231">
                    <c:v>Rolling Mean (30 Minute)</c:v>
                  </c:pt>
                  <c:pt idx="2232">
                    <c:v>Rolling Mean (30 Minute)</c:v>
                  </c:pt>
                  <c:pt idx="2233">
                    <c:v>Rolling Mean (30 Minute)</c:v>
                  </c:pt>
                  <c:pt idx="2234">
                    <c:v>Rolling Mean (30 Minute)</c:v>
                  </c:pt>
                  <c:pt idx="2235">
                    <c:v>Rolling Mean (30 Minute)</c:v>
                  </c:pt>
                  <c:pt idx="2236">
                    <c:v>Rolling Mean (30 Minute)</c:v>
                  </c:pt>
                  <c:pt idx="2237">
                    <c:v>Rolling Mean (30 Minute)</c:v>
                  </c:pt>
                  <c:pt idx="2238">
                    <c:v>Rolling Mean (30 Minute)</c:v>
                  </c:pt>
                  <c:pt idx="2239">
                    <c:v>Rolling Mean (30 Minute)</c:v>
                  </c:pt>
                  <c:pt idx="2240">
                    <c:v>Rolling Mean (30 Minute)</c:v>
                  </c:pt>
                  <c:pt idx="2241">
                    <c:v>Rolling Mean (30 Minute)</c:v>
                  </c:pt>
                  <c:pt idx="2242">
                    <c:v>Rolling Mean (30 Minute)</c:v>
                  </c:pt>
                  <c:pt idx="2243">
                    <c:v>Rolling Mean (30 Minute)</c:v>
                  </c:pt>
                  <c:pt idx="2244">
                    <c:v>Rolling Mean (30 Minute)</c:v>
                  </c:pt>
                  <c:pt idx="2245">
                    <c:v>Rolling Mean (30 Minute)</c:v>
                  </c:pt>
                  <c:pt idx="2246">
                    <c:v>Rolling Mean (30 Minute)</c:v>
                  </c:pt>
                  <c:pt idx="2247">
                    <c:v>Rolling Mean (30 Minute)</c:v>
                  </c:pt>
                  <c:pt idx="2248">
                    <c:v>Rolling Mean (30 Minute)</c:v>
                  </c:pt>
                  <c:pt idx="2249">
                    <c:v>Rolling Mean (30 Minute)</c:v>
                  </c:pt>
                  <c:pt idx="2250">
                    <c:v>Rolling Mean (30 Minute)</c:v>
                  </c:pt>
                  <c:pt idx="2251">
                    <c:v>Rolling Mean (30 Minute)</c:v>
                  </c:pt>
                  <c:pt idx="2252">
                    <c:v>Rolling Mean (30 Minute)</c:v>
                  </c:pt>
                  <c:pt idx="2253">
                    <c:v>Rolling Mean (30 Minute)</c:v>
                  </c:pt>
                  <c:pt idx="2254">
                    <c:v>Rolling Mean (30 Minute)</c:v>
                  </c:pt>
                  <c:pt idx="2255">
                    <c:v>Rolling Mean (30 Minute)</c:v>
                  </c:pt>
                  <c:pt idx="2256">
                    <c:v>Rolling Mean (30 Minute)</c:v>
                  </c:pt>
                  <c:pt idx="2257">
                    <c:v>Rolling Mean (30 Minute)</c:v>
                  </c:pt>
                  <c:pt idx="2258">
                    <c:v>Rolling Mean (30 Minute)</c:v>
                  </c:pt>
                  <c:pt idx="2259">
                    <c:v>Rolling Mean (30 Minute)</c:v>
                  </c:pt>
                  <c:pt idx="2260">
                    <c:v>Rolling Mean (30 Minute)</c:v>
                  </c:pt>
                  <c:pt idx="2261">
                    <c:v>Rolling Mean (30 Minute)</c:v>
                  </c:pt>
                  <c:pt idx="2262">
                    <c:v>Rolling Mean (30 Minute)</c:v>
                  </c:pt>
                  <c:pt idx="2263">
                    <c:v>Rolling Mean (30 Minute)</c:v>
                  </c:pt>
                  <c:pt idx="2264">
                    <c:v>Rolling Mean (30 Minute)</c:v>
                  </c:pt>
                  <c:pt idx="2265">
                    <c:v>Rolling Mean (30 Minute)</c:v>
                  </c:pt>
                  <c:pt idx="2266">
                    <c:v>Rolling Mean (30 Minute)</c:v>
                  </c:pt>
                  <c:pt idx="2267">
                    <c:v>Rolling Mean (30 Minute)</c:v>
                  </c:pt>
                  <c:pt idx="2268">
                    <c:v>Rolling Mean (30 Minute)</c:v>
                  </c:pt>
                  <c:pt idx="2269">
                    <c:v>Rolling Mean (30 Minute)</c:v>
                  </c:pt>
                  <c:pt idx="2270">
                    <c:v>Rolling Mean (30 Minute)</c:v>
                  </c:pt>
                  <c:pt idx="2271">
                    <c:v>Rolling Mean (30 Minute)</c:v>
                  </c:pt>
                  <c:pt idx="2272">
                    <c:v>Rolling Mean (30 Minute)</c:v>
                  </c:pt>
                  <c:pt idx="2273">
                    <c:v>Rolling Mean (30 Minute)</c:v>
                  </c:pt>
                  <c:pt idx="2274">
                    <c:v>Rolling Mean (30 Minute)</c:v>
                  </c:pt>
                  <c:pt idx="2275">
                    <c:v>Rolling Mean (30 Minute)</c:v>
                  </c:pt>
                  <c:pt idx="2276">
                    <c:v>Rolling Mean (30 Minute)</c:v>
                  </c:pt>
                  <c:pt idx="2277">
                    <c:v>Rolling Mean (30 Minute)</c:v>
                  </c:pt>
                  <c:pt idx="2278">
                    <c:v>Rolling Mean (30 Minute)</c:v>
                  </c:pt>
                  <c:pt idx="2279">
                    <c:v>Rolling Mean (30 Minute)</c:v>
                  </c:pt>
                  <c:pt idx="2280">
                    <c:v>Rolling Mean (30 Minute)</c:v>
                  </c:pt>
                  <c:pt idx="2281">
                    <c:v>Rolling Mean (30 Minute)</c:v>
                  </c:pt>
                  <c:pt idx="2282">
                    <c:v>Rolling Mean (30 Minute)</c:v>
                  </c:pt>
                  <c:pt idx="2283">
                    <c:v>Rolling Mean (30 Minute)</c:v>
                  </c:pt>
                  <c:pt idx="2284">
                    <c:v>Rolling Mean (30 Minute)</c:v>
                  </c:pt>
                  <c:pt idx="2285">
                    <c:v>Rolling Mean (30 Minute)</c:v>
                  </c:pt>
                  <c:pt idx="2286">
                    <c:v>Rolling Mean (30 Minute)</c:v>
                  </c:pt>
                  <c:pt idx="2287">
                    <c:v>Rolling Mean (30 Minute)</c:v>
                  </c:pt>
                  <c:pt idx="2288">
                    <c:v>Rolling Mean (30 Minute)</c:v>
                  </c:pt>
                  <c:pt idx="2289">
                    <c:v>Rolling Mean (30 Minute)</c:v>
                  </c:pt>
                  <c:pt idx="2290">
                    <c:v>Rolling Mean (30 Minute)</c:v>
                  </c:pt>
                  <c:pt idx="2291">
                    <c:v>Rolling Mean (30 Minute)</c:v>
                  </c:pt>
                  <c:pt idx="2292">
                    <c:v>Rolling Mean (30 Minute)</c:v>
                  </c:pt>
                  <c:pt idx="2293">
                    <c:v>Rolling Mean (30 Minute)</c:v>
                  </c:pt>
                  <c:pt idx="2294">
                    <c:v>Rolling Mean (30 Minute)</c:v>
                  </c:pt>
                  <c:pt idx="2295">
                    <c:v>Rolling Mean (30 Minute)</c:v>
                  </c:pt>
                  <c:pt idx="2296">
                    <c:v>Rolling Mean (30 Minute)</c:v>
                  </c:pt>
                  <c:pt idx="2297">
                    <c:v>Rolling Mean (30 Minute)</c:v>
                  </c:pt>
                  <c:pt idx="2298">
                    <c:v>Rolling Mean (30 Minute)</c:v>
                  </c:pt>
                  <c:pt idx="2299">
                    <c:v>Rolling Mean (30 Minute)</c:v>
                  </c:pt>
                  <c:pt idx="2300">
                    <c:v>Rolling Mean (30 Minute)</c:v>
                  </c:pt>
                  <c:pt idx="2301">
                    <c:v>Rolling Mean (30 Minute)</c:v>
                  </c:pt>
                  <c:pt idx="2302">
                    <c:v>Rolling Mean (30 Minute)</c:v>
                  </c:pt>
                  <c:pt idx="2303">
                    <c:v>Rolling Mean (30 Minute)</c:v>
                  </c:pt>
                  <c:pt idx="2304">
                    <c:v>Rolling Mean (30 Minute)</c:v>
                  </c:pt>
                  <c:pt idx="2305">
                    <c:v>Rolling Mean (30 Minute)</c:v>
                  </c:pt>
                  <c:pt idx="2306">
                    <c:v>Rolling Mean (30 Minute)</c:v>
                  </c:pt>
                  <c:pt idx="2307">
                    <c:v>Rolling Mean (30 Minute)</c:v>
                  </c:pt>
                  <c:pt idx="2308">
                    <c:v>Rolling Mean (30 Minute)</c:v>
                  </c:pt>
                  <c:pt idx="2309">
                    <c:v>Rolling Mean (30 Minute)</c:v>
                  </c:pt>
                  <c:pt idx="2310">
                    <c:v>Rolling Mean (30 Minute)</c:v>
                  </c:pt>
                  <c:pt idx="2311">
                    <c:v>Rolling Mean (30 Minute)</c:v>
                  </c:pt>
                  <c:pt idx="2312">
                    <c:v>Rolling Mean (30 Minute)</c:v>
                  </c:pt>
                  <c:pt idx="2313">
                    <c:v>Rolling Mean (30 Minute)</c:v>
                  </c:pt>
                  <c:pt idx="2314">
                    <c:v>Rolling Mean (30 Minute)</c:v>
                  </c:pt>
                  <c:pt idx="2315">
                    <c:v>Rolling Mean (30 Minute)</c:v>
                  </c:pt>
                  <c:pt idx="2316">
                    <c:v>Rolling Mean (30 Minute)</c:v>
                  </c:pt>
                  <c:pt idx="2317">
                    <c:v>Rolling Mean (30 Minute)</c:v>
                  </c:pt>
                  <c:pt idx="2318">
                    <c:v>Rolling Mean (30 Minute)</c:v>
                  </c:pt>
                  <c:pt idx="2319">
                    <c:v>Rolling Mean (30 Minute)</c:v>
                  </c:pt>
                  <c:pt idx="2320">
                    <c:v>Rolling Mean (30 Minute)</c:v>
                  </c:pt>
                  <c:pt idx="2321">
                    <c:v>Rolling Mean (30 Minute)</c:v>
                  </c:pt>
                  <c:pt idx="2322">
                    <c:v>Rolling Mean (30 Minute)</c:v>
                  </c:pt>
                  <c:pt idx="2323">
                    <c:v>Rolling Mean (30 Minute)</c:v>
                  </c:pt>
                  <c:pt idx="2324">
                    <c:v>Rolling Mean (30 Minute)</c:v>
                  </c:pt>
                  <c:pt idx="2325">
                    <c:v>Rolling Mean (30 Minute)</c:v>
                  </c:pt>
                  <c:pt idx="2326">
                    <c:v>Rolling Mean (30 Minute)</c:v>
                  </c:pt>
                  <c:pt idx="2327">
                    <c:v>Rolling Mean (30 Minute)</c:v>
                  </c:pt>
                  <c:pt idx="2328">
                    <c:v>Rolling Mean (30 Minute)</c:v>
                  </c:pt>
                  <c:pt idx="2329">
                    <c:v>Rolling Mean (30 Minute)</c:v>
                  </c:pt>
                  <c:pt idx="2330">
                    <c:v>Rolling Mean (30 Minute)</c:v>
                  </c:pt>
                  <c:pt idx="2331">
                    <c:v>Rolling Mean (30 Minute)</c:v>
                  </c:pt>
                  <c:pt idx="2332">
                    <c:v>Rolling Mean (30 Minute)</c:v>
                  </c:pt>
                  <c:pt idx="2333">
                    <c:v>Rolling Mean (30 Minute)</c:v>
                  </c:pt>
                  <c:pt idx="2334">
                    <c:v>Rolling Mean (30 Minute)</c:v>
                  </c:pt>
                  <c:pt idx="2335">
                    <c:v>Rolling Mean (30 Minute)</c:v>
                  </c:pt>
                  <c:pt idx="2336">
                    <c:v>Rolling Mean (30 Minute)</c:v>
                  </c:pt>
                  <c:pt idx="2337">
                    <c:v>Rolling Mean (30 Minute)</c:v>
                  </c:pt>
                  <c:pt idx="2338">
                    <c:v>Rolling Mean (30 Minute)</c:v>
                  </c:pt>
                  <c:pt idx="2339">
                    <c:v>Rolling Mean (30 Minute)</c:v>
                  </c:pt>
                  <c:pt idx="2340">
                    <c:v>Rolling Mean (30 Minute)</c:v>
                  </c:pt>
                  <c:pt idx="2341">
                    <c:v>Rolling Mean (30 Minute)</c:v>
                  </c:pt>
                  <c:pt idx="2342">
                    <c:v>Rolling Mean (30 Minute)</c:v>
                  </c:pt>
                  <c:pt idx="2343">
                    <c:v>Rolling Mean (30 Minute)</c:v>
                  </c:pt>
                  <c:pt idx="2344">
                    <c:v>Rolling Mean (30 Minute)</c:v>
                  </c:pt>
                  <c:pt idx="2345">
                    <c:v>Rolling Mean (30 Minute)</c:v>
                  </c:pt>
                  <c:pt idx="2346">
                    <c:v>Rolling Mean (30 Minute)</c:v>
                  </c:pt>
                  <c:pt idx="2347">
                    <c:v>Rolling Mean (30 Minute)</c:v>
                  </c:pt>
                  <c:pt idx="2348">
                    <c:v>Rolling Mean (30 Minute)</c:v>
                  </c:pt>
                  <c:pt idx="2349">
                    <c:v>Rolling Mean (30 Minute)</c:v>
                  </c:pt>
                  <c:pt idx="2350">
                    <c:v>Rolling Mean (30 Minute)</c:v>
                  </c:pt>
                  <c:pt idx="2351">
                    <c:v>Rolling Mean (30 Minute)</c:v>
                  </c:pt>
                  <c:pt idx="2352">
                    <c:v>Rolling Mean (30 Minute)</c:v>
                  </c:pt>
                  <c:pt idx="2353">
                    <c:v>Rolling Mean (30 Minute)</c:v>
                  </c:pt>
                  <c:pt idx="2354">
                    <c:v>Rolling Mean (30 Minute)</c:v>
                  </c:pt>
                  <c:pt idx="2355">
                    <c:v>Rolling Mean (30 Minute)</c:v>
                  </c:pt>
                  <c:pt idx="2356">
                    <c:v>Rolling Mean (30 Minute)</c:v>
                  </c:pt>
                  <c:pt idx="2357">
                    <c:v>Rolling Mean (30 Minute)</c:v>
                  </c:pt>
                  <c:pt idx="2358">
                    <c:v>Rolling Mean (30 Minute)</c:v>
                  </c:pt>
                  <c:pt idx="2359">
                    <c:v>Rolling Mean (30 Minute)</c:v>
                  </c:pt>
                  <c:pt idx="2360">
                    <c:v>Rolling Mean (30 Minute)</c:v>
                  </c:pt>
                  <c:pt idx="2361">
                    <c:v>Rolling Mean (30 Minute)</c:v>
                  </c:pt>
                  <c:pt idx="2362">
                    <c:v>Rolling Mean (30 Minute)</c:v>
                  </c:pt>
                  <c:pt idx="2363">
                    <c:v>Rolling Mean (30 Minute)</c:v>
                  </c:pt>
                  <c:pt idx="2364">
                    <c:v>Rolling Mean (30 Minute)</c:v>
                  </c:pt>
                  <c:pt idx="2365">
                    <c:v>Rolling Mean (30 Minute)</c:v>
                  </c:pt>
                  <c:pt idx="2366">
                    <c:v>Rolling Mean (30 Minute)</c:v>
                  </c:pt>
                  <c:pt idx="2367">
                    <c:v>Rolling Mean (30 Minute)</c:v>
                  </c:pt>
                  <c:pt idx="2368">
                    <c:v>Rolling Mean (30 Minute)</c:v>
                  </c:pt>
                  <c:pt idx="2369">
                    <c:v>Rolling Mean (30 Minute)</c:v>
                  </c:pt>
                  <c:pt idx="2370">
                    <c:v>Rolling Mean (30 Minute)</c:v>
                  </c:pt>
                  <c:pt idx="2371">
                    <c:v>Rolling Mean (30 Minute)</c:v>
                  </c:pt>
                  <c:pt idx="2372">
                    <c:v>Rolling Mean (30 Minute)</c:v>
                  </c:pt>
                  <c:pt idx="2373">
                    <c:v>Rolling Mean (30 Minute)</c:v>
                  </c:pt>
                  <c:pt idx="2374">
                    <c:v>Rolling Mean (30 Minute)</c:v>
                  </c:pt>
                  <c:pt idx="2375">
                    <c:v>Rolling Mean (30 Minute)</c:v>
                  </c:pt>
                  <c:pt idx="2376">
                    <c:v>Rolling Mean (30 Minute)</c:v>
                  </c:pt>
                  <c:pt idx="2377">
                    <c:v>Rolling Mean (30 Minute)</c:v>
                  </c:pt>
                  <c:pt idx="2378">
                    <c:v>Rolling Mean (30 Minute)</c:v>
                  </c:pt>
                  <c:pt idx="2379">
                    <c:v>Rolling Mean (30 Minute)</c:v>
                  </c:pt>
                  <c:pt idx="2380">
                    <c:v>Rolling Mean (30 Minute)</c:v>
                  </c:pt>
                  <c:pt idx="2381">
                    <c:v>Rolling Mean (30 Minute)</c:v>
                  </c:pt>
                  <c:pt idx="2382">
                    <c:v>Rolling Mean (30 Minute)</c:v>
                  </c:pt>
                  <c:pt idx="2383">
                    <c:v>Rolling Mean (30 Minute)</c:v>
                  </c:pt>
                  <c:pt idx="2384">
                    <c:v>Rolling Mean (30 Minute)</c:v>
                  </c:pt>
                  <c:pt idx="2385">
                    <c:v>Rolling Mean (30 Minute)</c:v>
                  </c:pt>
                  <c:pt idx="2386">
                    <c:v>Rolling Mean (30 Minute)</c:v>
                  </c:pt>
                  <c:pt idx="2387">
                    <c:v>Rolling Mean (30 Minute)</c:v>
                  </c:pt>
                  <c:pt idx="2388">
                    <c:v>Rolling Mean (30 Minute)</c:v>
                  </c:pt>
                  <c:pt idx="2389">
                    <c:v>Rolling Mean (30 Minute)</c:v>
                  </c:pt>
                  <c:pt idx="2390">
                    <c:v>Rolling Mean (30 Minute)</c:v>
                  </c:pt>
                  <c:pt idx="2391">
                    <c:v>Rolling Mean (30 Minute)</c:v>
                  </c:pt>
                  <c:pt idx="2392">
                    <c:v>Rolling Mean (30 Minute)</c:v>
                  </c:pt>
                  <c:pt idx="2393">
                    <c:v>Rolling Mean (30 Minute)</c:v>
                  </c:pt>
                  <c:pt idx="2394">
                    <c:v>Rolling Mean (30 Minute)</c:v>
                  </c:pt>
                  <c:pt idx="2395">
                    <c:v>Rolling Mean (30 Minute)</c:v>
                  </c:pt>
                  <c:pt idx="2396">
                    <c:v>Rolling Mean (30 Minute)</c:v>
                  </c:pt>
                  <c:pt idx="2397">
                    <c:v>Rolling Mean (30 Minute)</c:v>
                  </c:pt>
                  <c:pt idx="2398">
                    <c:v>Rolling Mean (30 Minute)</c:v>
                  </c:pt>
                  <c:pt idx="2399">
                    <c:v>Rolling Mean (30 Minute)</c:v>
                  </c:pt>
                  <c:pt idx="2400">
                    <c:v>Rolling Mean (30 Minute)</c:v>
                  </c:pt>
                  <c:pt idx="2401">
                    <c:v>Rolling Mean (30 Minute)</c:v>
                  </c:pt>
                  <c:pt idx="2402">
                    <c:v>Rolling Mean (30 Minute)</c:v>
                  </c:pt>
                  <c:pt idx="2403">
                    <c:v>Rolling Mean (30 Minute)</c:v>
                  </c:pt>
                  <c:pt idx="2404">
                    <c:v>Rolling Mean (30 Minute)</c:v>
                  </c:pt>
                  <c:pt idx="2405">
                    <c:v>Rolling Mean (30 Minute)</c:v>
                  </c:pt>
                  <c:pt idx="2406">
                    <c:v>Rolling Mean (30 Minute)</c:v>
                  </c:pt>
                  <c:pt idx="2407">
                    <c:v>Rolling Mean (30 Minute)</c:v>
                  </c:pt>
                  <c:pt idx="2408">
                    <c:v>Rolling Mean (30 Minute)</c:v>
                  </c:pt>
                  <c:pt idx="2409">
                    <c:v>Rolling Mean (30 Minute)</c:v>
                  </c:pt>
                  <c:pt idx="2410">
                    <c:v>Rolling Mean (30 Minute)</c:v>
                  </c:pt>
                  <c:pt idx="2411">
                    <c:v>Rolling Mean (30 Minute)</c:v>
                  </c:pt>
                  <c:pt idx="2412">
                    <c:v>Rolling Mean (30 Minute)</c:v>
                  </c:pt>
                  <c:pt idx="2413">
                    <c:v>Rolling Mean (30 Minute)</c:v>
                  </c:pt>
                  <c:pt idx="2414">
                    <c:v>Rolling Mean (30 Minute)</c:v>
                  </c:pt>
                  <c:pt idx="2415">
                    <c:v>Rolling Mean (30 Minute)</c:v>
                  </c:pt>
                  <c:pt idx="2416">
                    <c:v>Rolling Mean (30 Minute)</c:v>
                  </c:pt>
                  <c:pt idx="2417">
                    <c:v>Rolling Mean (30 Minute)</c:v>
                  </c:pt>
                  <c:pt idx="2418">
                    <c:v>Rolling Mean (30 Minute)</c:v>
                  </c:pt>
                  <c:pt idx="2419">
                    <c:v>Rolling Mean (30 Minute)</c:v>
                  </c:pt>
                  <c:pt idx="2420">
                    <c:v>Rolling Mean (30 Minute)</c:v>
                  </c:pt>
                  <c:pt idx="2421">
                    <c:v>Rolling Mean (30 Minute)</c:v>
                  </c:pt>
                  <c:pt idx="2422">
                    <c:v>Rolling Mean (30 Minute)</c:v>
                  </c:pt>
                  <c:pt idx="2423">
                    <c:v>Rolling Mean (30 Minute)</c:v>
                  </c:pt>
                  <c:pt idx="2424">
                    <c:v>Rolling Mean (30 Minute)</c:v>
                  </c:pt>
                  <c:pt idx="2425">
                    <c:v>Rolling Mean (30 Minute)</c:v>
                  </c:pt>
                  <c:pt idx="2426">
                    <c:v>Rolling Mean (30 Minute)</c:v>
                  </c:pt>
                  <c:pt idx="2427">
                    <c:v>Rolling Mean (30 Minute)</c:v>
                  </c:pt>
                  <c:pt idx="2428">
                    <c:v>Rolling Mean (30 Minute)</c:v>
                  </c:pt>
                  <c:pt idx="2429">
                    <c:v>Rolling Mean (30 Minute)</c:v>
                  </c:pt>
                  <c:pt idx="2430">
                    <c:v>Rolling Mean (30 Minute)</c:v>
                  </c:pt>
                  <c:pt idx="2431">
                    <c:v>Rolling Mean (30 Minute)</c:v>
                  </c:pt>
                  <c:pt idx="2432">
                    <c:v>Rolling Mean (30 Minute)</c:v>
                  </c:pt>
                  <c:pt idx="2433">
                    <c:v>Rolling Mean (30 Minute)</c:v>
                  </c:pt>
                  <c:pt idx="2434">
                    <c:v>Rolling Mean (30 Minute)</c:v>
                  </c:pt>
                  <c:pt idx="2435">
                    <c:v>Rolling Mean (30 Minute)</c:v>
                  </c:pt>
                  <c:pt idx="2436">
                    <c:v>Rolling Mean (30 Minute)</c:v>
                  </c:pt>
                  <c:pt idx="2437">
                    <c:v>Rolling Mean (30 Minute)</c:v>
                  </c:pt>
                  <c:pt idx="2438">
                    <c:v>Rolling Mean (30 Minute)</c:v>
                  </c:pt>
                  <c:pt idx="2439">
                    <c:v>Rolling Mean (30 Minute)</c:v>
                  </c:pt>
                  <c:pt idx="2440">
                    <c:v>Rolling Mean (30 Minute)</c:v>
                  </c:pt>
                  <c:pt idx="2441">
                    <c:v>Rolling Mean (30 Minute)</c:v>
                  </c:pt>
                  <c:pt idx="2442">
                    <c:v>Rolling Mean (30 Minute)</c:v>
                  </c:pt>
                  <c:pt idx="2443">
                    <c:v>Rolling Mean (30 Minute)</c:v>
                  </c:pt>
                  <c:pt idx="2444">
                    <c:v>Rolling Mean (30 Minute)</c:v>
                  </c:pt>
                  <c:pt idx="2445">
                    <c:v>Rolling Mean (30 Minute)</c:v>
                  </c:pt>
                  <c:pt idx="2446">
                    <c:v>Rolling Mean (30 Minute)</c:v>
                  </c:pt>
                  <c:pt idx="2447">
                    <c:v>Rolling Mean (30 Minute)</c:v>
                  </c:pt>
                  <c:pt idx="2448">
                    <c:v>Rolling Mean (30 Minute)</c:v>
                  </c:pt>
                  <c:pt idx="2449">
                    <c:v>Rolling Mean (30 Minute)</c:v>
                  </c:pt>
                  <c:pt idx="2450">
                    <c:v>Rolling Mean (30 Minute)</c:v>
                  </c:pt>
                  <c:pt idx="2451">
                    <c:v>Rolling Mean (30 Minute)</c:v>
                  </c:pt>
                </c:lvl>
              </c:multiLvlStrCache>
            </c:multiLvlStrRef>
          </c:cat>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EEAA-4648-9585-8881DB12715D}"/>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cat>
            <c:multiLvlStrRef>
              <c:f>'DRT Rolling Mean'!$A$2:$B$2453</c:f>
              <c:multiLvlStrCache>
                <c:ptCount val="2452"/>
                <c:lvl>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lvl>
                <c:lvl>
                  <c:pt idx="0">
                    <c:v>Rolling Mean (30 Minute)</c:v>
                  </c:pt>
                  <c:pt idx="1">
                    <c:v>Rolling Mean (30 Minute)</c:v>
                  </c:pt>
                  <c:pt idx="2">
                    <c:v>Rolling Mean (30 Minute)</c:v>
                  </c:pt>
                  <c:pt idx="3">
                    <c:v>Rolling Mean (30 Minute)</c:v>
                  </c:pt>
                  <c:pt idx="4">
                    <c:v>Rolling Mean (30 Minute)</c:v>
                  </c:pt>
                  <c:pt idx="5">
                    <c:v>Rolling Mean (30 Minute)</c:v>
                  </c:pt>
                  <c:pt idx="6">
                    <c:v>Rolling Mean (30 Minute)</c:v>
                  </c:pt>
                  <c:pt idx="7">
                    <c:v>Rolling Mean (30 Minute)</c:v>
                  </c:pt>
                  <c:pt idx="8">
                    <c:v>Rolling Mean (30 Minute)</c:v>
                  </c:pt>
                  <c:pt idx="9">
                    <c:v>Rolling Mean (30 Minute)</c:v>
                  </c:pt>
                  <c:pt idx="10">
                    <c:v>Rolling Mean (30 Minute)</c:v>
                  </c:pt>
                  <c:pt idx="11">
                    <c:v>Rolling Mean (30 Minute)</c:v>
                  </c:pt>
                  <c:pt idx="12">
                    <c:v>Rolling Mean (30 Minute)</c:v>
                  </c:pt>
                  <c:pt idx="13">
                    <c:v>Rolling Mean (30 Minute)</c:v>
                  </c:pt>
                  <c:pt idx="14">
                    <c:v>Rolling Mean (30 Minute)</c:v>
                  </c:pt>
                  <c:pt idx="15">
                    <c:v>Rolling Mean (30 Minute)</c:v>
                  </c:pt>
                  <c:pt idx="16">
                    <c:v>Rolling Mean (30 Minute)</c:v>
                  </c:pt>
                  <c:pt idx="17">
                    <c:v>Rolling Mean (30 Minute)</c:v>
                  </c:pt>
                  <c:pt idx="18">
                    <c:v>Rolling Mean (30 Minute)</c:v>
                  </c:pt>
                  <c:pt idx="19">
                    <c:v>Rolling Mean (30 Minute)</c:v>
                  </c:pt>
                  <c:pt idx="20">
                    <c:v>Rolling Mean (30 Minute)</c:v>
                  </c:pt>
                  <c:pt idx="21">
                    <c:v>Rolling Mean (30 Minute)</c:v>
                  </c:pt>
                  <c:pt idx="22">
                    <c:v>Rolling Mean (30 Minute)</c:v>
                  </c:pt>
                  <c:pt idx="23">
                    <c:v>Rolling Mean (30 Minute)</c:v>
                  </c:pt>
                  <c:pt idx="24">
                    <c:v>Rolling Mean (30 Minute)</c:v>
                  </c:pt>
                  <c:pt idx="25">
                    <c:v>Rolling Mean (30 Minute)</c:v>
                  </c:pt>
                  <c:pt idx="26">
                    <c:v>Rolling Mean (30 Minute)</c:v>
                  </c:pt>
                  <c:pt idx="27">
                    <c:v>Rolling Mean (30 Minute)</c:v>
                  </c:pt>
                  <c:pt idx="28">
                    <c:v>Rolling Mean (30 Minute)</c:v>
                  </c:pt>
                  <c:pt idx="29">
                    <c:v>Rolling Mean (30 Minute)</c:v>
                  </c:pt>
                  <c:pt idx="30">
                    <c:v>Rolling Mean (30 Minute)</c:v>
                  </c:pt>
                  <c:pt idx="31">
                    <c:v>Rolling Mean (30 Minute)</c:v>
                  </c:pt>
                  <c:pt idx="32">
                    <c:v>Rolling Mean (30 Minute)</c:v>
                  </c:pt>
                  <c:pt idx="33">
                    <c:v>Rolling Mean (30 Minute)</c:v>
                  </c:pt>
                  <c:pt idx="34">
                    <c:v>Rolling Mean (30 Minute)</c:v>
                  </c:pt>
                  <c:pt idx="35">
                    <c:v>Rolling Mean (30 Minute)</c:v>
                  </c:pt>
                  <c:pt idx="36">
                    <c:v>Rolling Mean (30 Minute)</c:v>
                  </c:pt>
                  <c:pt idx="37">
                    <c:v>Rolling Mean (30 Minute)</c:v>
                  </c:pt>
                  <c:pt idx="38">
                    <c:v>Rolling Mean (30 Minute)</c:v>
                  </c:pt>
                  <c:pt idx="39">
                    <c:v>Rolling Mean (30 Minute)</c:v>
                  </c:pt>
                  <c:pt idx="40">
                    <c:v>Rolling Mean (30 Minute)</c:v>
                  </c:pt>
                  <c:pt idx="41">
                    <c:v>Rolling Mean (30 Minute)</c:v>
                  </c:pt>
                  <c:pt idx="42">
                    <c:v>Rolling Mean (30 Minute)</c:v>
                  </c:pt>
                  <c:pt idx="43">
                    <c:v>Rolling Mean (30 Minute)</c:v>
                  </c:pt>
                  <c:pt idx="44">
                    <c:v>Rolling Mean (30 Minute)</c:v>
                  </c:pt>
                  <c:pt idx="45">
                    <c:v>Rolling Mean (30 Minute)</c:v>
                  </c:pt>
                  <c:pt idx="46">
                    <c:v>Rolling Mean (30 Minute)</c:v>
                  </c:pt>
                  <c:pt idx="47">
                    <c:v>Rolling Mean (30 Minute)</c:v>
                  </c:pt>
                  <c:pt idx="48">
                    <c:v>Rolling Mean (30 Minute)</c:v>
                  </c:pt>
                  <c:pt idx="49">
                    <c:v>Rolling Mean (30 Minute)</c:v>
                  </c:pt>
                  <c:pt idx="50">
                    <c:v>Rolling Mean (30 Minute)</c:v>
                  </c:pt>
                  <c:pt idx="51">
                    <c:v>Rolling Mean (30 Minute)</c:v>
                  </c:pt>
                  <c:pt idx="52">
                    <c:v>Rolling Mean (30 Minute)</c:v>
                  </c:pt>
                  <c:pt idx="53">
                    <c:v>Rolling Mean (30 Minute)</c:v>
                  </c:pt>
                  <c:pt idx="54">
                    <c:v>Rolling Mean (30 Minute)</c:v>
                  </c:pt>
                  <c:pt idx="55">
                    <c:v>Rolling Mean (30 Minute)</c:v>
                  </c:pt>
                  <c:pt idx="56">
                    <c:v>Rolling Mean (30 Minute)</c:v>
                  </c:pt>
                  <c:pt idx="57">
                    <c:v>Rolling Mean (30 Minute)</c:v>
                  </c:pt>
                  <c:pt idx="58">
                    <c:v>Rolling Mean (30 Minute)</c:v>
                  </c:pt>
                  <c:pt idx="59">
                    <c:v>Rolling Mean (30 Minute)</c:v>
                  </c:pt>
                  <c:pt idx="60">
                    <c:v>Rolling Mean (30 Minute)</c:v>
                  </c:pt>
                  <c:pt idx="61">
                    <c:v>Rolling Mean (30 Minute)</c:v>
                  </c:pt>
                  <c:pt idx="62">
                    <c:v>Rolling Mean (30 Minute)</c:v>
                  </c:pt>
                  <c:pt idx="63">
                    <c:v>Rolling Mean (30 Minute)</c:v>
                  </c:pt>
                  <c:pt idx="64">
                    <c:v>Rolling Mean (30 Minute)</c:v>
                  </c:pt>
                  <c:pt idx="65">
                    <c:v>Rolling Mean (30 Minute)</c:v>
                  </c:pt>
                  <c:pt idx="66">
                    <c:v>Rolling Mean (30 Minute)</c:v>
                  </c:pt>
                  <c:pt idx="67">
                    <c:v>Rolling Mean (30 Minute)</c:v>
                  </c:pt>
                  <c:pt idx="68">
                    <c:v>Rolling Mean (30 Minute)</c:v>
                  </c:pt>
                  <c:pt idx="69">
                    <c:v>Rolling Mean (30 Minute)</c:v>
                  </c:pt>
                  <c:pt idx="70">
                    <c:v>Rolling Mean (30 Minute)</c:v>
                  </c:pt>
                  <c:pt idx="71">
                    <c:v>Rolling Mean (30 Minute)</c:v>
                  </c:pt>
                  <c:pt idx="72">
                    <c:v>Rolling Mean (30 Minute)</c:v>
                  </c:pt>
                  <c:pt idx="73">
                    <c:v>Rolling Mean (30 Minute)</c:v>
                  </c:pt>
                  <c:pt idx="74">
                    <c:v>Rolling Mean (30 Minute)</c:v>
                  </c:pt>
                  <c:pt idx="75">
                    <c:v>Rolling Mean (30 Minute)</c:v>
                  </c:pt>
                  <c:pt idx="76">
                    <c:v>Rolling Mean (30 Minute)</c:v>
                  </c:pt>
                  <c:pt idx="77">
                    <c:v>Rolling Mean (30 Minute)</c:v>
                  </c:pt>
                  <c:pt idx="78">
                    <c:v>Rolling Mean (30 Minute)</c:v>
                  </c:pt>
                  <c:pt idx="79">
                    <c:v>Rolling Mean (30 Minute)</c:v>
                  </c:pt>
                  <c:pt idx="80">
                    <c:v>Rolling Mean (30 Minute)</c:v>
                  </c:pt>
                  <c:pt idx="81">
                    <c:v>Rolling Mean (30 Minute)</c:v>
                  </c:pt>
                  <c:pt idx="82">
                    <c:v>Rolling Mean (30 Minute)</c:v>
                  </c:pt>
                  <c:pt idx="83">
                    <c:v>Rolling Mean (30 Minute)</c:v>
                  </c:pt>
                  <c:pt idx="84">
                    <c:v>Rolling Mean (30 Minute)</c:v>
                  </c:pt>
                  <c:pt idx="85">
                    <c:v>Rolling Mean (30 Minute)</c:v>
                  </c:pt>
                  <c:pt idx="86">
                    <c:v>Rolling Mean (30 Minute)</c:v>
                  </c:pt>
                  <c:pt idx="87">
                    <c:v>Rolling Mean (30 Minute)</c:v>
                  </c:pt>
                  <c:pt idx="88">
                    <c:v>Rolling Mean (30 Minute)</c:v>
                  </c:pt>
                  <c:pt idx="89">
                    <c:v>Rolling Mean (30 Minute)</c:v>
                  </c:pt>
                  <c:pt idx="90">
                    <c:v>Rolling Mean (30 Minute)</c:v>
                  </c:pt>
                  <c:pt idx="91">
                    <c:v>Rolling Mean (30 Minute)</c:v>
                  </c:pt>
                  <c:pt idx="92">
                    <c:v>Rolling Mean (30 Minute)</c:v>
                  </c:pt>
                  <c:pt idx="93">
                    <c:v>Rolling Mean (30 Minute)</c:v>
                  </c:pt>
                  <c:pt idx="94">
                    <c:v>Rolling Mean (30 Minute)</c:v>
                  </c:pt>
                  <c:pt idx="95">
                    <c:v>Rolling Mean (30 Minute)</c:v>
                  </c:pt>
                  <c:pt idx="96">
                    <c:v>Rolling Mean (30 Minute)</c:v>
                  </c:pt>
                  <c:pt idx="97">
                    <c:v>Rolling Mean (30 Minute)</c:v>
                  </c:pt>
                  <c:pt idx="98">
                    <c:v>Rolling Mean (30 Minute)</c:v>
                  </c:pt>
                  <c:pt idx="99">
                    <c:v>Rolling Mean (30 Minute)</c:v>
                  </c:pt>
                  <c:pt idx="100">
                    <c:v>Rolling Mean (30 Minute)</c:v>
                  </c:pt>
                  <c:pt idx="101">
                    <c:v>Rolling Mean (30 Minute)</c:v>
                  </c:pt>
                  <c:pt idx="102">
                    <c:v>Rolling Mean (30 Minute)</c:v>
                  </c:pt>
                  <c:pt idx="103">
                    <c:v>Rolling Mean (30 Minute)</c:v>
                  </c:pt>
                  <c:pt idx="104">
                    <c:v>Rolling Mean (30 Minute)</c:v>
                  </c:pt>
                  <c:pt idx="105">
                    <c:v>Rolling Mean (30 Minute)</c:v>
                  </c:pt>
                  <c:pt idx="106">
                    <c:v>Rolling Mean (30 Minute)</c:v>
                  </c:pt>
                  <c:pt idx="107">
                    <c:v>Rolling Mean (30 Minute)</c:v>
                  </c:pt>
                  <c:pt idx="108">
                    <c:v>Rolling Mean (30 Minute)</c:v>
                  </c:pt>
                  <c:pt idx="109">
                    <c:v>Rolling Mean (30 Minute)</c:v>
                  </c:pt>
                  <c:pt idx="110">
                    <c:v>Rolling Mean (30 Minute)</c:v>
                  </c:pt>
                  <c:pt idx="111">
                    <c:v>Rolling Mean (30 Minute)</c:v>
                  </c:pt>
                  <c:pt idx="112">
                    <c:v>Rolling Mean (30 Minute)</c:v>
                  </c:pt>
                  <c:pt idx="113">
                    <c:v>Rolling Mean (30 Minute)</c:v>
                  </c:pt>
                  <c:pt idx="114">
                    <c:v>Rolling Mean (30 Minute)</c:v>
                  </c:pt>
                  <c:pt idx="115">
                    <c:v>Rolling Mean (30 Minute)</c:v>
                  </c:pt>
                  <c:pt idx="116">
                    <c:v>Rolling Mean (30 Minute)</c:v>
                  </c:pt>
                  <c:pt idx="117">
                    <c:v>Rolling Mean (30 Minute)</c:v>
                  </c:pt>
                  <c:pt idx="118">
                    <c:v>Rolling Mean (30 Minute)</c:v>
                  </c:pt>
                  <c:pt idx="119">
                    <c:v>Rolling Mean (30 Minute)</c:v>
                  </c:pt>
                  <c:pt idx="120">
                    <c:v>Rolling Mean (30 Minute)</c:v>
                  </c:pt>
                  <c:pt idx="121">
                    <c:v>Rolling Mean (30 Minute)</c:v>
                  </c:pt>
                  <c:pt idx="122">
                    <c:v>Rolling Mean (30 Minute)</c:v>
                  </c:pt>
                  <c:pt idx="123">
                    <c:v>Rolling Mean (30 Minute)</c:v>
                  </c:pt>
                  <c:pt idx="124">
                    <c:v>Rolling Mean (30 Minute)</c:v>
                  </c:pt>
                  <c:pt idx="125">
                    <c:v>Rolling Mean (30 Minute)</c:v>
                  </c:pt>
                  <c:pt idx="126">
                    <c:v>Rolling Mean (30 Minute)</c:v>
                  </c:pt>
                  <c:pt idx="127">
                    <c:v>Rolling Mean (30 Minute)</c:v>
                  </c:pt>
                  <c:pt idx="128">
                    <c:v>Rolling Mean (30 Minute)</c:v>
                  </c:pt>
                  <c:pt idx="129">
                    <c:v>Rolling Mean (30 Minute)</c:v>
                  </c:pt>
                  <c:pt idx="130">
                    <c:v>Rolling Mean (30 Minute)</c:v>
                  </c:pt>
                  <c:pt idx="131">
                    <c:v>Rolling Mean (30 Minute)</c:v>
                  </c:pt>
                  <c:pt idx="132">
                    <c:v>Rolling Mean (30 Minute)</c:v>
                  </c:pt>
                  <c:pt idx="133">
                    <c:v>Rolling Mean (30 Minute)</c:v>
                  </c:pt>
                  <c:pt idx="134">
                    <c:v>Rolling Mean (30 Minute)</c:v>
                  </c:pt>
                  <c:pt idx="135">
                    <c:v>Rolling Mean (30 Minute)</c:v>
                  </c:pt>
                  <c:pt idx="136">
                    <c:v>Rolling Mean (30 Minute)</c:v>
                  </c:pt>
                  <c:pt idx="137">
                    <c:v>Rolling Mean (30 Minute)</c:v>
                  </c:pt>
                  <c:pt idx="138">
                    <c:v>Rolling Mean (30 Minute)</c:v>
                  </c:pt>
                  <c:pt idx="139">
                    <c:v>Rolling Mean (30 Minute)</c:v>
                  </c:pt>
                  <c:pt idx="140">
                    <c:v>Rolling Mean (30 Minute)</c:v>
                  </c:pt>
                  <c:pt idx="141">
                    <c:v>Rolling Mean (30 Minute)</c:v>
                  </c:pt>
                  <c:pt idx="142">
                    <c:v>Rolling Mean (30 Minute)</c:v>
                  </c:pt>
                  <c:pt idx="143">
                    <c:v>Rolling Mean (30 Minute)</c:v>
                  </c:pt>
                  <c:pt idx="144">
                    <c:v>Rolling Mean (30 Minute)</c:v>
                  </c:pt>
                  <c:pt idx="145">
                    <c:v>Rolling Mean (30 Minute)</c:v>
                  </c:pt>
                  <c:pt idx="146">
                    <c:v>Rolling Mean (30 Minute)</c:v>
                  </c:pt>
                  <c:pt idx="147">
                    <c:v>Rolling Mean (30 Minute)</c:v>
                  </c:pt>
                  <c:pt idx="148">
                    <c:v>Rolling Mean (30 Minute)</c:v>
                  </c:pt>
                  <c:pt idx="149">
                    <c:v>Rolling Mean (30 Minute)</c:v>
                  </c:pt>
                  <c:pt idx="150">
                    <c:v>Rolling Mean (30 Minute)</c:v>
                  </c:pt>
                  <c:pt idx="151">
                    <c:v>Rolling Mean (30 Minute)</c:v>
                  </c:pt>
                  <c:pt idx="152">
                    <c:v>Rolling Mean (30 Minute)</c:v>
                  </c:pt>
                  <c:pt idx="153">
                    <c:v>Rolling Mean (30 Minute)</c:v>
                  </c:pt>
                  <c:pt idx="154">
                    <c:v>Rolling Mean (30 Minute)</c:v>
                  </c:pt>
                  <c:pt idx="155">
                    <c:v>Rolling Mean (30 Minute)</c:v>
                  </c:pt>
                  <c:pt idx="156">
                    <c:v>Rolling Mean (30 Minute)</c:v>
                  </c:pt>
                  <c:pt idx="157">
                    <c:v>Rolling Mean (30 Minute)</c:v>
                  </c:pt>
                  <c:pt idx="158">
                    <c:v>Rolling Mean (30 Minute)</c:v>
                  </c:pt>
                  <c:pt idx="159">
                    <c:v>Rolling Mean (30 Minute)</c:v>
                  </c:pt>
                  <c:pt idx="160">
                    <c:v>Rolling Mean (30 Minute)</c:v>
                  </c:pt>
                  <c:pt idx="161">
                    <c:v>Rolling Mean (30 Minute)</c:v>
                  </c:pt>
                  <c:pt idx="162">
                    <c:v>Rolling Mean (30 Minute)</c:v>
                  </c:pt>
                  <c:pt idx="163">
                    <c:v>Rolling Mean (30 Minute)</c:v>
                  </c:pt>
                  <c:pt idx="164">
                    <c:v>Rolling Mean (30 Minute)</c:v>
                  </c:pt>
                  <c:pt idx="165">
                    <c:v>Rolling Mean (30 Minute)</c:v>
                  </c:pt>
                  <c:pt idx="166">
                    <c:v>Rolling Mean (30 Minute)</c:v>
                  </c:pt>
                  <c:pt idx="167">
                    <c:v>Rolling Mean (30 Minute)</c:v>
                  </c:pt>
                  <c:pt idx="168">
                    <c:v>Rolling Mean (30 Minute)</c:v>
                  </c:pt>
                  <c:pt idx="169">
                    <c:v>Rolling Mean (30 Minute)</c:v>
                  </c:pt>
                  <c:pt idx="170">
                    <c:v>Rolling Mean (30 Minute)</c:v>
                  </c:pt>
                  <c:pt idx="171">
                    <c:v>Rolling Mean (30 Minute)</c:v>
                  </c:pt>
                  <c:pt idx="172">
                    <c:v>Rolling Mean (30 Minute)</c:v>
                  </c:pt>
                  <c:pt idx="173">
                    <c:v>Rolling Mean (30 Minute)</c:v>
                  </c:pt>
                  <c:pt idx="174">
                    <c:v>Rolling Mean (30 Minute)</c:v>
                  </c:pt>
                  <c:pt idx="175">
                    <c:v>Rolling Mean (30 Minute)</c:v>
                  </c:pt>
                  <c:pt idx="176">
                    <c:v>Rolling Mean (30 Minute)</c:v>
                  </c:pt>
                  <c:pt idx="177">
                    <c:v>Rolling Mean (30 Minute)</c:v>
                  </c:pt>
                  <c:pt idx="178">
                    <c:v>Rolling Mean (30 Minute)</c:v>
                  </c:pt>
                  <c:pt idx="179">
                    <c:v>Rolling Mean (30 Minute)</c:v>
                  </c:pt>
                  <c:pt idx="180">
                    <c:v>Rolling Mean (30 Minute)</c:v>
                  </c:pt>
                  <c:pt idx="181">
                    <c:v>Rolling Mean (30 Minute)</c:v>
                  </c:pt>
                  <c:pt idx="182">
                    <c:v>Rolling Mean (30 Minute)</c:v>
                  </c:pt>
                  <c:pt idx="183">
                    <c:v>Rolling Mean (30 Minute)</c:v>
                  </c:pt>
                  <c:pt idx="184">
                    <c:v>Rolling Mean (30 Minute)</c:v>
                  </c:pt>
                  <c:pt idx="185">
                    <c:v>Rolling Mean (30 Minute)</c:v>
                  </c:pt>
                  <c:pt idx="186">
                    <c:v>Rolling Mean (30 Minute)</c:v>
                  </c:pt>
                  <c:pt idx="187">
                    <c:v>Rolling Mean (30 Minute)</c:v>
                  </c:pt>
                  <c:pt idx="188">
                    <c:v>Rolling Mean (30 Minute)</c:v>
                  </c:pt>
                  <c:pt idx="189">
                    <c:v>Rolling Mean (30 Minute)</c:v>
                  </c:pt>
                  <c:pt idx="190">
                    <c:v>Rolling Mean (30 Minute)</c:v>
                  </c:pt>
                  <c:pt idx="191">
                    <c:v>Rolling Mean (30 Minute)</c:v>
                  </c:pt>
                  <c:pt idx="192">
                    <c:v>Rolling Mean (30 Minute)</c:v>
                  </c:pt>
                  <c:pt idx="193">
                    <c:v>Rolling Mean (30 Minute)</c:v>
                  </c:pt>
                  <c:pt idx="194">
                    <c:v>Rolling Mean (30 Minute)</c:v>
                  </c:pt>
                  <c:pt idx="195">
                    <c:v>Rolling Mean (30 Minute)</c:v>
                  </c:pt>
                  <c:pt idx="196">
                    <c:v>Rolling Mean (30 Minute)</c:v>
                  </c:pt>
                  <c:pt idx="197">
                    <c:v>Rolling Mean (30 Minute)</c:v>
                  </c:pt>
                  <c:pt idx="198">
                    <c:v>Rolling Mean (30 Minute)</c:v>
                  </c:pt>
                  <c:pt idx="199">
                    <c:v>Rolling Mean (30 Minute)</c:v>
                  </c:pt>
                  <c:pt idx="200">
                    <c:v>Rolling Mean (30 Minute)</c:v>
                  </c:pt>
                  <c:pt idx="201">
                    <c:v>Rolling Mean (30 Minute)</c:v>
                  </c:pt>
                  <c:pt idx="202">
                    <c:v>Rolling Mean (30 Minute)</c:v>
                  </c:pt>
                  <c:pt idx="203">
                    <c:v>Rolling Mean (30 Minute)</c:v>
                  </c:pt>
                  <c:pt idx="204">
                    <c:v>Rolling Mean (30 Minute)</c:v>
                  </c:pt>
                  <c:pt idx="205">
                    <c:v>Rolling Mean (30 Minute)</c:v>
                  </c:pt>
                  <c:pt idx="206">
                    <c:v>Rolling Mean (30 Minute)</c:v>
                  </c:pt>
                  <c:pt idx="207">
                    <c:v>Rolling Mean (30 Minute)</c:v>
                  </c:pt>
                  <c:pt idx="208">
                    <c:v>Rolling Mean (30 Minute)</c:v>
                  </c:pt>
                  <c:pt idx="209">
                    <c:v>Rolling Mean (30 Minute)</c:v>
                  </c:pt>
                  <c:pt idx="210">
                    <c:v>Rolling Mean (30 Minute)</c:v>
                  </c:pt>
                  <c:pt idx="211">
                    <c:v>Rolling Mean (30 Minute)</c:v>
                  </c:pt>
                  <c:pt idx="212">
                    <c:v>Rolling Mean (30 Minute)</c:v>
                  </c:pt>
                  <c:pt idx="213">
                    <c:v>Rolling Mean (30 Minute)</c:v>
                  </c:pt>
                  <c:pt idx="214">
                    <c:v>Rolling Mean (30 Minute)</c:v>
                  </c:pt>
                  <c:pt idx="215">
                    <c:v>Rolling Mean (30 Minute)</c:v>
                  </c:pt>
                  <c:pt idx="216">
                    <c:v>Rolling Mean (30 Minute)</c:v>
                  </c:pt>
                  <c:pt idx="217">
                    <c:v>Rolling Mean (30 Minute)</c:v>
                  </c:pt>
                  <c:pt idx="218">
                    <c:v>Rolling Mean (30 Minute)</c:v>
                  </c:pt>
                  <c:pt idx="219">
                    <c:v>Rolling Mean (30 Minute)</c:v>
                  </c:pt>
                  <c:pt idx="220">
                    <c:v>Rolling Mean (30 Minute)</c:v>
                  </c:pt>
                  <c:pt idx="221">
                    <c:v>Rolling Mean (30 Minute)</c:v>
                  </c:pt>
                  <c:pt idx="222">
                    <c:v>Rolling Mean (30 Minute)</c:v>
                  </c:pt>
                  <c:pt idx="223">
                    <c:v>Rolling Mean (30 Minute)</c:v>
                  </c:pt>
                  <c:pt idx="224">
                    <c:v>Rolling Mean (30 Minute)</c:v>
                  </c:pt>
                  <c:pt idx="225">
                    <c:v>Rolling Mean (30 Minute)</c:v>
                  </c:pt>
                  <c:pt idx="226">
                    <c:v>Rolling Mean (30 Minute)</c:v>
                  </c:pt>
                  <c:pt idx="227">
                    <c:v>Rolling Mean (30 Minute)</c:v>
                  </c:pt>
                  <c:pt idx="228">
                    <c:v>Rolling Mean (30 Minute)</c:v>
                  </c:pt>
                  <c:pt idx="229">
                    <c:v>Rolling Mean (30 Minute)</c:v>
                  </c:pt>
                  <c:pt idx="230">
                    <c:v>Rolling Mean (30 Minute)</c:v>
                  </c:pt>
                  <c:pt idx="231">
                    <c:v>Rolling Mean (30 Minute)</c:v>
                  </c:pt>
                  <c:pt idx="232">
                    <c:v>Rolling Mean (30 Minute)</c:v>
                  </c:pt>
                  <c:pt idx="233">
                    <c:v>Rolling Mean (30 Minute)</c:v>
                  </c:pt>
                  <c:pt idx="234">
                    <c:v>Rolling Mean (30 Minute)</c:v>
                  </c:pt>
                  <c:pt idx="235">
                    <c:v>Rolling Mean (30 Minute)</c:v>
                  </c:pt>
                  <c:pt idx="236">
                    <c:v>Rolling Mean (30 Minute)</c:v>
                  </c:pt>
                  <c:pt idx="237">
                    <c:v>Rolling Mean (30 Minute)</c:v>
                  </c:pt>
                  <c:pt idx="238">
                    <c:v>Rolling Mean (30 Minute)</c:v>
                  </c:pt>
                  <c:pt idx="239">
                    <c:v>Rolling Mean (30 Minute)</c:v>
                  </c:pt>
                  <c:pt idx="240">
                    <c:v>Rolling Mean (30 Minute)</c:v>
                  </c:pt>
                  <c:pt idx="241">
                    <c:v>Rolling Mean (30 Minute)</c:v>
                  </c:pt>
                  <c:pt idx="242">
                    <c:v>Rolling Mean (30 Minute)</c:v>
                  </c:pt>
                  <c:pt idx="243">
                    <c:v>Rolling Mean (30 Minute)</c:v>
                  </c:pt>
                  <c:pt idx="244">
                    <c:v>Rolling Mean (30 Minute)</c:v>
                  </c:pt>
                  <c:pt idx="245">
                    <c:v>Rolling Mean (30 Minute)</c:v>
                  </c:pt>
                  <c:pt idx="246">
                    <c:v>Rolling Mean (30 Minute)</c:v>
                  </c:pt>
                  <c:pt idx="247">
                    <c:v>Rolling Mean (30 Minute)</c:v>
                  </c:pt>
                  <c:pt idx="248">
                    <c:v>Rolling Mean (30 Minute)</c:v>
                  </c:pt>
                  <c:pt idx="249">
                    <c:v>Rolling Mean (30 Minute)</c:v>
                  </c:pt>
                  <c:pt idx="250">
                    <c:v>Rolling Mean (30 Minute)</c:v>
                  </c:pt>
                  <c:pt idx="251">
                    <c:v>Rolling Mean (30 Minute)</c:v>
                  </c:pt>
                  <c:pt idx="252">
                    <c:v>Rolling Mean (30 Minute)</c:v>
                  </c:pt>
                  <c:pt idx="253">
                    <c:v>Rolling Mean (30 Minute)</c:v>
                  </c:pt>
                  <c:pt idx="254">
                    <c:v>Rolling Mean (30 Minute)</c:v>
                  </c:pt>
                  <c:pt idx="255">
                    <c:v>Rolling Mean (30 Minute)</c:v>
                  </c:pt>
                  <c:pt idx="256">
                    <c:v>Rolling Mean (30 Minute)</c:v>
                  </c:pt>
                  <c:pt idx="257">
                    <c:v>Rolling Mean (30 Minute)</c:v>
                  </c:pt>
                  <c:pt idx="258">
                    <c:v>Rolling Mean (30 Minute)</c:v>
                  </c:pt>
                  <c:pt idx="259">
                    <c:v>Rolling Mean (30 Minute)</c:v>
                  </c:pt>
                  <c:pt idx="260">
                    <c:v>Rolling Mean (30 Minute)</c:v>
                  </c:pt>
                  <c:pt idx="261">
                    <c:v>Rolling Mean (30 Minute)</c:v>
                  </c:pt>
                  <c:pt idx="262">
                    <c:v>Rolling Mean (30 Minute)</c:v>
                  </c:pt>
                  <c:pt idx="263">
                    <c:v>Rolling Mean (30 Minute)</c:v>
                  </c:pt>
                  <c:pt idx="264">
                    <c:v>Rolling Mean (30 Minute)</c:v>
                  </c:pt>
                  <c:pt idx="265">
                    <c:v>Rolling Mean (30 Minute)</c:v>
                  </c:pt>
                  <c:pt idx="266">
                    <c:v>Rolling Mean (30 Minute)</c:v>
                  </c:pt>
                  <c:pt idx="267">
                    <c:v>Rolling Mean (30 Minute)</c:v>
                  </c:pt>
                  <c:pt idx="268">
                    <c:v>Rolling Mean (30 Minute)</c:v>
                  </c:pt>
                  <c:pt idx="269">
                    <c:v>Rolling Mean (30 Minute)</c:v>
                  </c:pt>
                  <c:pt idx="270">
                    <c:v>Rolling Mean (30 Minute)</c:v>
                  </c:pt>
                  <c:pt idx="271">
                    <c:v>Rolling Mean (30 Minute)</c:v>
                  </c:pt>
                  <c:pt idx="272">
                    <c:v>Rolling Mean (30 Minute)</c:v>
                  </c:pt>
                  <c:pt idx="273">
                    <c:v>Rolling Mean (30 Minute)</c:v>
                  </c:pt>
                  <c:pt idx="274">
                    <c:v>Rolling Mean (30 Minute)</c:v>
                  </c:pt>
                  <c:pt idx="275">
                    <c:v>Rolling Mean (30 Minute)</c:v>
                  </c:pt>
                  <c:pt idx="276">
                    <c:v>Rolling Mean (30 Minute)</c:v>
                  </c:pt>
                  <c:pt idx="277">
                    <c:v>Rolling Mean (30 Minute)</c:v>
                  </c:pt>
                  <c:pt idx="278">
                    <c:v>Rolling Mean (30 Minute)</c:v>
                  </c:pt>
                  <c:pt idx="279">
                    <c:v>Rolling Mean (30 Minute)</c:v>
                  </c:pt>
                  <c:pt idx="280">
                    <c:v>Rolling Mean (30 Minute)</c:v>
                  </c:pt>
                  <c:pt idx="281">
                    <c:v>Rolling Mean (30 Minute)</c:v>
                  </c:pt>
                  <c:pt idx="282">
                    <c:v>Rolling Mean (30 Minute)</c:v>
                  </c:pt>
                  <c:pt idx="283">
                    <c:v>Rolling Mean (30 Minute)</c:v>
                  </c:pt>
                  <c:pt idx="284">
                    <c:v>Rolling Mean (30 Minute)</c:v>
                  </c:pt>
                  <c:pt idx="285">
                    <c:v>Rolling Mean (30 Minute)</c:v>
                  </c:pt>
                  <c:pt idx="286">
                    <c:v>Rolling Mean (30 Minute)</c:v>
                  </c:pt>
                  <c:pt idx="287">
                    <c:v>Rolling Mean (30 Minute)</c:v>
                  </c:pt>
                  <c:pt idx="288">
                    <c:v>Rolling Mean (30 Minute)</c:v>
                  </c:pt>
                  <c:pt idx="289">
                    <c:v>Rolling Mean (30 Minute)</c:v>
                  </c:pt>
                  <c:pt idx="290">
                    <c:v>Rolling Mean (30 Minute)</c:v>
                  </c:pt>
                  <c:pt idx="291">
                    <c:v>Rolling Mean (30 Minute)</c:v>
                  </c:pt>
                  <c:pt idx="292">
                    <c:v>Rolling Mean (30 Minute)</c:v>
                  </c:pt>
                  <c:pt idx="293">
                    <c:v>Rolling Mean (30 Minute)</c:v>
                  </c:pt>
                  <c:pt idx="294">
                    <c:v>Rolling Mean (30 Minute)</c:v>
                  </c:pt>
                  <c:pt idx="295">
                    <c:v>Rolling Mean (30 Minute)</c:v>
                  </c:pt>
                  <c:pt idx="296">
                    <c:v>Rolling Mean (30 Minute)</c:v>
                  </c:pt>
                  <c:pt idx="297">
                    <c:v>Rolling Mean (30 Minute)</c:v>
                  </c:pt>
                  <c:pt idx="298">
                    <c:v>Rolling Mean (30 Minute)</c:v>
                  </c:pt>
                  <c:pt idx="299">
                    <c:v>Rolling Mean (30 Minute)</c:v>
                  </c:pt>
                  <c:pt idx="300">
                    <c:v>Rolling Mean (30 Minute)</c:v>
                  </c:pt>
                  <c:pt idx="301">
                    <c:v>Rolling Mean (30 Minute)</c:v>
                  </c:pt>
                  <c:pt idx="302">
                    <c:v>Rolling Mean (30 Minute)</c:v>
                  </c:pt>
                  <c:pt idx="303">
                    <c:v>Rolling Mean (30 Minute)</c:v>
                  </c:pt>
                  <c:pt idx="304">
                    <c:v>Rolling Mean (30 Minute)</c:v>
                  </c:pt>
                  <c:pt idx="305">
                    <c:v>Rolling Mean (30 Minute)</c:v>
                  </c:pt>
                  <c:pt idx="306">
                    <c:v>Rolling Mean (30 Minute)</c:v>
                  </c:pt>
                  <c:pt idx="307">
                    <c:v>Rolling Mean (30 Minute)</c:v>
                  </c:pt>
                  <c:pt idx="308">
                    <c:v>Rolling Mean (30 Minute)</c:v>
                  </c:pt>
                  <c:pt idx="309">
                    <c:v>Rolling Mean (30 Minute)</c:v>
                  </c:pt>
                  <c:pt idx="310">
                    <c:v>Rolling Mean (30 Minute)</c:v>
                  </c:pt>
                  <c:pt idx="311">
                    <c:v>Rolling Mean (30 Minute)</c:v>
                  </c:pt>
                  <c:pt idx="312">
                    <c:v>Rolling Mean (30 Minute)</c:v>
                  </c:pt>
                  <c:pt idx="313">
                    <c:v>Rolling Mean (30 Minute)</c:v>
                  </c:pt>
                  <c:pt idx="314">
                    <c:v>Rolling Mean (30 Minute)</c:v>
                  </c:pt>
                  <c:pt idx="315">
                    <c:v>Rolling Mean (30 Minute)</c:v>
                  </c:pt>
                  <c:pt idx="316">
                    <c:v>Rolling Mean (30 Minute)</c:v>
                  </c:pt>
                  <c:pt idx="317">
                    <c:v>Rolling Mean (30 Minute)</c:v>
                  </c:pt>
                  <c:pt idx="318">
                    <c:v>Rolling Mean (30 Minute)</c:v>
                  </c:pt>
                  <c:pt idx="319">
                    <c:v>Rolling Mean (30 Minute)</c:v>
                  </c:pt>
                  <c:pt idx="320">
                    <c:v>Rolling Mean (30 Minute)</c:v>
                  </c:pt>
                  <c:pt idx="321">
                    <c:v>Rolling Mean (30 Minute)</c:v>
                  </c:pt>
                  <c:pt idx="322">
                    <c:v>Rolling Mean (30 Minute)</c:v>
                  </c:pt>
                  <c:pt idx="323">
                    <c:v>Rolling Mean (30 Minute)</c:v>
                  </c:pt>
                  <c:pt idx="324">
                    <c:v>Rolling Mean (30 Minute)</c:v>
                  </c:pt>
                  <c:pt idx="325">
                    <c:v>Rolling Mean (30 Minute)</c:v>
                  </c:pt>
                  <c:pt idx="326">
                    <c:v>Rolling Mean (30 Minute)</c:v>
                  </c:pt>
                  <c:pt idx="327">
                    <c:v>Rolling Mean (30 Minute)</c:v>
                  </c:pt>
                  <c:pt idx="328">
                    <c:v>Rolling Mean (30 Minute)</c:v>
                  </c:pt>
                  <c:pt idx="329">
                    <c:v>Rolling Mean (30 Minute)</c:v>
                  </c:pt>
                  <c:pt idx="330">
                    <c:v>Rolling Mean (30 Minute)</c:v>
                  </c:pt>
                  <c:pt idx="331">
                    <c:v>Rolling Mean (30 Minute)</c:v>
                  </c:pt>
                  <c:pt idx="332">
                    <c:v>Rolling Mean (30 Minute)</c:v>
                  </c:pt>
                  <c:pt idx="333">
                    <c:v>Rolling Mean (30 Minute)</c:v>
                  </c:pt>
                  <c:pt idx="334">
                    <c:v>Rolling Mean (30 Minute)</c:v>
                  </c:pt>
                  <c:pt idx="335">
                    <c:v>Rolling Mean (30 Minute)</c:v>
                  </c:pt>
                  <c:pt idx="336">
                    <c:v>Rolling Mean (30 Minute)</c:v>
                  </c:pt>
                  <c:pt idx="337">
                    <c:v>Rolling Mean (30 Minute)</c:v>
                  </c:pt>
                  <c:pt idx="338">
                    <c:v>Rolling Mean (30 Minute)</c:v>
                  </c:pt>
                  <c:pt idx="339">
                    <c:v>Rolling Mean (30 Minute)</c:v>
                  </c:pt>
                  <c:pt idx="340">
                    <c:v>Rolling Mean (30 Minute)</c:v>
                  </c:pt>
                  <c:pt idx="341">
                    <c:v>Rolling Mean (30 Minute)</c:v>
                  </c:pt>
                  <c:pt idx="342">
                    <c:v>Rolling Mean (30 Minute)</c:v>
                  </c:pt>
                  <c:pt idx="343">
                    <c:v>Rolling Mean (30 Minute)</c:v>
                  </c:pt>
                  <c:pt idx="344">
                    <c:v>Rolling Mean (30 Minute)</c:v>
                  </c:pt>
                  <c:pt idx="345">
                    <c:v>Rolling Mean (30 Minute)</c:v>
                  </c:pt>
                  <c:pt idx="346">
                    <c:v>Rolling Mean (30 Minute)</c:v>
                  </c:pt>
                  <c:pt idx="347">
                    <c:v>Rolling Mean (30 Minute)</c:v>
                  </c:pt>
                  <c:pt idx="348">
                    <c:v>Rolling Mean (30 Minute)</c:v>
                  </c:pt>
                  <c:pt idx="349">
                    <c:v>Rolling Mean (30 Minute)</c:v>
                  </c:pt>
                  <c:pt idx="350">
                    <c:v>Rolling Mean (30 Minute)</c:v>
                  </c:pt>
                  <c:pt idx="351">
                    <c:v>Rolling Mean (30 Minute)</c:v>
                  </c:pt>
                  <c:pt idx="352">
                    <c:v>Rolling Mean (30 Minute)</c:v>
                  </c:pt>
                  <c:pt idx="353">
                    <c:v>Rolling Mean (30 Minute)</c:v>
                  </c:pt>
                  <c:pt idx="354">
                    <c:v>Rolling Mean (30 Minute)</c:v>
                  </c:pt>
                  <c:pt idx="355">
                    <c:v>Rolling Mean (30 Minute)</c:v>
                  </c:pt>
                  <c:pt idx="356">
                    <c:v>Rolling Mean (30 Minute)</c:v>
                  </c:pt>
                  <c:pt idx="357">
                    <c:v>Rolling Mean (30 Minute)</c:v>
                  </c:pt>
                  <c:pt idx="358">
                    <c:v>Rolling Mean (30 Minute)</c:v>
                  </c:pt>
                  <c:pt idx="359">
                    <c:v>Rolling Mean (30 Minute)</c:v>
                  </c:pt>
                  <c:pt idx="360">
                    <c:v>Rolling Mean (30 Minute)</c:v>
                  </c:pt>
                  <c:pt idx="361">
                    <c:v>Rolling Mean (30 Minute)</c:v>
                  </c:pt>
                  <c:pt idx="362">
                    <c:v>Rolling Mean (30 Minute)</c:v>
                  </c:pt>
                  <c:pt idx="363">
                    <c:v>Rolling Mean (30 Minute)</c:v>
                  </c:pt>
                  <c:pt idx="364">
                    <c:v>Rolling Mean (30 Minute)</c:v>
                  </c:pt>
                  <c:pt idx="365">
                    <c:v>Rolling Mean (30 Minute)</c:v>
                  </c:pt>
                  <c:pt idx="366">
                    <c:v>Rolling Mean (30 Minute)</c:v>
                  </c:pt>
                  <c:pt idx="367">
                    <c:v>Rolling Mean (30 Minute)</c:v>
                  </c:pt>
                  <c:pt idx="368">
                    <c:v>Rolling Mean (30 Minute)</c:v>
                  </c:pt>
                  <c:pt idx="369">
                    <c:v>Rolling Mean (30 Minute)</c:v>
                  </c:pt>
                  <c:pt idx="370">
                    <c:v>Rolling Mean (30 Minute)</c:v>
                  </c:pt>
                  <c:pt idx="371">
                    <c:v>Rolling Mean (30 Minute)</c:v>
                  </c:pt>
                  <c:pt idx="372">
                    <c:v>Rolling Mean (30 Minute)</c:v>
                  </c:pt>
                  <c:pt idx="373">
                    <c:v>Rolling Mean (30 Minute)</c:v>
                  </c:pt>
                  <c:pt idx="374">
                    <c:v>Rolling Mean (30 Minute)</c:v>
                  </c:pt>
                  <c:pt idx="375">
                    <c:v>Rolling Mean (30 Minute)</c:v>
                  </c:pt>
                  <c:pt idx="376">
                    <c:v>Rolling Mean (30 Minute)</c:v>
                  </c:pt>
                  <c:pt idx="377">
                    <c:v>Rolling Mean (30 Minute)</c:v>
                  </c:pt>
                  <c:pt idx="378">
                    <c:v>Rolling Mean (30 Minute)</c:v>
                  </c:pt>
                  <c:pt idx="379">
                    <c:v>Rolling Mean (30 Minute)</c:v>
                  </c:pt>
                  <c:pt idx="380">
                    <c:v>Rolling Mean (30 Minute)</c:v>
                  </c:pt>
                  <c:pt idx="381">
                    <c:v>Rolling Mean (30 Minute)</c:v>
                  </c:pt>
                  <c:pt idx="382">
                    <c:v>Rolling Mean (30 Minute)</c:v>
                  </c:pt>
                  <c:pt idx="383">
                    <c:v>Rolling Mean (30 Minute)</c:v>
                  </c:pt>
                  <c:pt idx="384">
                    <c:v>Rolling Mean (30 Minute)</c:v>
                  </c:pt>
                  <c:pt idx="385">
                    <c:v>Rolling Mean (30 Minute)</c:v>
                  </c:pt>
                  <c:pt idx="386">
                    <c:v>Rolling Mean (30 Minute)</c:v>
                  </c:pt>
                  <c:pt idx="387">
                    <c:v>Rolling Mean (30 Minute)</c:v>
                  </c:pt>
                  <c:pt idx="388">
                    <c:v>Rolling Mean (30 Minute)</c:v>
                  </c:pt>
                  <c:pt idx="389">
                    <c:v>Rolling Mean (30 Minute)</c:v>
                  </c:pt>
                  <c:pt idx="390">
                    <c:v>Rolling Mean (30 Minute)</c:v>
                  </c:pt>
                  <c:pt idx="391">
                    <c:v>Rolling Mean (30 Minute)</c:v>
                  </c:pt>
                  <c:pt idx="392">
                    <c:v>Rolling Mean (30 Minute)</c:v>
                  </c:pt>
                  <c:pt idx="393">
                    <c:v>Rolling Mean (30 Minute)</c:v>
                  </c:pt>
                  <c:pt idx="394">
                    <c:v>Rolling Mean (30 Minute)</c:v>
                  </c:pt>
                  <c:pt idx="395">
                    <c:v>Rolling Mean (30 Minute)</c:v>
                  </c:pt>
                  <c:pt idx="396">
                    <c:v>Rolling Mean (30 Minute)</c:v>
                  </c:pt>
                  <c:pt idx="397">
                    <c:v>Rolling Mean (30 Minute)</c:v>
                  </c:pt>
                  <c:pt idx="398">
                    <c:v>Rolling Mean (30 Minute)</c:v>
                  </c:pt>
                  <c:pt idx="399">
                    <c:v>Rolling Mean (30 Minute)</c:v>
                  </c:pt>
                  <c:pt idx="400">
                    <c:v>Rolling Mean (30 Minute)</c:v>
                  </c:pt>
                  <c:pt idx="401">
                    <c:v>Rolling Mean (30 Minute)</c:v>
                  </c:pt>
                  <c:pt idx="402">
                    <c:v>Rolling Mean (30 Minute)</c:v>
                  </c:pt>
                  <c:pt idx="403">
                    <c:v>Rolling Mean (30 Minute)</c:v>
                  </c:pt>
                  <c:pt idx="404">
                    <c:v>Rolling Mean (30 Minute)</c:v>
                  </c:pt>
                  <c:pt idx="405">
                    <c:v>Rolling Mean (30 Minute)</c:v>
                  </c:pt>
                  <c:pt idx="406">
                    <c:v>Rolling Mean (30 Minute)</c:v>
                  </c:pt>
                  <c:pt idx="407">
                    <c:v>Rolling Mean (30 Minute)</c:v>
                  </c:pt>
                  <c:pt idx="408">
                    <c:v>Rolling Mean (30 Minute)</c:v>
                  </c:pt>
                  <c:pt idx="409">
                    <c:v>Rolling Mean (30 Minute)</c:v>
                  </c:pt>
                  <c:pt idx="410">
                    <c:v>Rolling Mean (30 Minute)</c:v>
                  </c:pt>
                  <c:pt idx="411">
                    <c:v>Rolling Mean (30 Minute)</c:v>
                  </c:pt>
                  <c:pt idx="412">
                    <c:v>Rolling Mean (30 Minute)</c:v>
                  </c:pt>
                  <c:pt idx="413">
                    <c:v>Rolling Mean (30 Minute)</c:v>
                  </c:pt>
                  <c:pt idx="414">
                    <c:v>Rolling Mean (30 Minute)</c:v>
                  </c:pt>
                  <c:pt idx="415">
                    <c:v>Rolling Mean (30 Minute)</c:v>
                  </c:pt>
                  <c:pt idx="416">
                    <c:v>Rolling Mean (30 Minute)</c:v>
                  </c:pt>
                  <c:pt idx="417">
                    <c:v>Rolling Mean (30 Minute)</c:v>
                  </c:pt>
                  <c:pt idx="418">
                    <c:v>Rolling Mean (30 Minute)</c:v>
                  </c:pt>
                  <c:pt idx="419">
                    <c:v>Rolling Mean (30 Minute)</c:v>
                  </c:pt>
                  <c:pt idx="420">
                    <c:v>Rolling Mean (30 Minute)</c:v>
                  </c:pt>
                  <c:pt idx="421">
                    <c:v>Rolling Mean (30 Minute)</c:v>
                  </c:pt>
                  <c:pt idx="422">
                    <c:v>Rolling Mean (30 Minute)</c:v>
                  </c:pt>
                  <c:pt idx="423">
                    <c:v>Rolling Mean (30 Minute)</c:v>
                  </c:pt>
                  <c:pt idx="424">
                    <c:v>Rolling Mean (30 Minute)</c:v>
                  </c:pt>
                  <c:pt idx="425">
                    <c:v>Rolling Mean (30 Minute)</c:v>
                  </c:pt>
                  <c:pt idx="426">
                    <c:v>Rolling Mean (30 Minute)</c:v>
                  </c:pt>
                  <c:pt idx="427">
                    <c:v>Rolling Mean (30 Minute)</c:v>
                  </c:pt>
                  <c:pt idx="428">
                    <c:v>Rolling Mean (30 Minute)</c:v>
                  </c:pt>
                  <c:pt idx="429">
                    <c:v>Rolling Mean (30 Minute)</c:v>
                  </c:pt>
                  <c:pt idx="430">
                    <c:v>Rolling Mean (30 Minute)</c:v>
                  </c:pt>
                  <c:pt idx="431">
                    <c:v>Rolling Mean (30 Minute)</c:v>
                  </c:pt>
                  <c:pt idx="432">
                    <c:v>Rolling Mean (30 Minute)</c:v>
                  </c:pt>
                  <c:pt idx="433">
                    <c:v>Rolling Mean (30 Minute)</c:v>
                  </c:pt>
                  <c:pt idx="434">
                    <c:v>Rolling Mean (30 Minute)</c:v>
                  </c:pt>
                  <c:pt idx="435">
                    <c:v>Rolling Mean (30 Minute)</c:v>
                  </c:pt>
                  <c:pt idx="436">
                    <c:v>Rolling Mean (30 Minute)</c:v>
                  </c:pt>
                  <c:pt idx="437">
                    <c:v>Rolling Mean (30 Minute)</c:v>
                  </c:pt>
                  <c:pt idx="438">
                    <c:v>Rolling Mean (30 Minute)</c:v>
                  </c:pt>
                  <c:pt idx="439">
                    <c:v>Rolling Mean (30 Minute)</c:v>
                  </c:pt>
                  <c:pt idx="440">
                    <c:v>Rolling Mean (30 Minute)</c:v>
                  </c:pt>
                  <c:pt idx="441">
                    <c:v>Rolling Mean (30 Minute)</c:v>
                  </c:pt>
                  <c:pt idx="442">
                    <c:v>Rolling Mean (30 Minute)</c:v>
                  </c:pt>
                  <c:pt idx="443">
                    <c:v>Rolling Mean (30 Minute)</c:v>
                  </c:pt>
                  <c:pt idx="444">
                    <c:v>Rolling Mean (30 Minute)</c:v>
                  </c:pt>
                  <c:pt idx="445">
                    <c:v>Rolling Mean (30 Minute)</c:v>
                  </c:pt>
                  <c:pt idx="446">
                    <c:v>Rolling Mean (30 Minute)</c:v>
                  </c:pt>
                  <c:pt idx="447">
                    <c:v>Rolling Mean (30 Minute)</c:v>
                  </c:pt>
                  <c:pt idx="448">
                    <c:v>Rolling Mean (30 Minute)</c:v>
                  </c:pt>
                  <c:pt idx="449">
                    <c:v>Rolling Mean (30 Minute)</c:v>
                  </c:pt>
                  <c:pt idx="450">
                    <c:v>Rolling Mean (30 Minute)</c:v>
                  </c:pt>
                  <c:pt idx="451">
                    <c:v>Rolling Mean (30 Minute)</c:v>
                  </c:pt>
                  <c:pt idx="452">
                    <c:v>Rolling Mean (30 Minute)</c:v>
                  </c:pt>
                  <c:pt idx="453">
                    <c:v>Rolling Mean (30 Minute)</c:v>
                  </c:pt>
                  <c:pt idx="454">
                    <c:v>Rolling Mean (30 Minute)</c:v>
                  </c:pt>
                  <c:pt idx="455">
                    <c:v>Rolling Mean (30 Minute)</c:v>
                  </c:pt>
                  <c:pt idx="456">
                    <c:v>Rolling Mean (30 Minute)</c:v>
                  </c:pt>
                  <c:pt idx="457">
                    <c:v>Rolling Mean (30 Minute)</c:v>
                  </c:pt>
                  <c:pt idx="458">
                    <c:v>Rolling Mean (30 Minute)</c:v>
                  </c:pt>
                  <c:pt idx="459">
                    <c:v>Rolling Mean (30 Minute)</c:v>
                  </c:pt>
                  <c:pt idx="460">
                    <c:v>Rolling Mean (30 Minute)</c:v>
                  </c:pt>
                  <c:pt idx="461">
                    <c:v>Rolling Mean (30 Minute)</c:v>
                  </c:pt>
                  <c:pt idx="462">
                    <c:v>Rolling Mean (30 Minute)</c:v>
                  </c:pt>
                  <c:pt idx="463">
                    <c:v>Rolling Mean (30 Minute)</c:v>
                  </c:pt>
                  <c:pt idx="464">
                    <c:v>Rolling Mean (30 Minute)</c:v>
                  </c:pt>
                  <c:pt idx="465">
                    <c:v>Rolling Mean (30 Minute)</c:v>
                  </c:pt>
                  <c:pt idx="466">
                    <c:v>Rolling Mean (30 Minute)</c:v>
                  </c:pt>
                  <c:pt idx="467">
                    <c:v>Rolling Mean (30 Minute)</c:v>
                  </c:pt>
                  <c:pt idx="468">
                    <c:v>Rolling Mean (30 Minute)</c:v>
                  </c:pt>
                  <c:pt idx="469">
                    <c:v>Rolling Mean (30 Minute)</c:v>
                  </c:pt>
                  <c:pt idx="470">
                    <c:v>Rolling Mean (30 Minute)</c:v>
                  </c:pt>
                  <c:pt idx="471">
                    <c:v>Rolling Mean (30 Minute)</c:v>
                  </c:pt>
                  <c:pt idx="472">
                    <c:v>Rolling Mean (30 Minute)</c:v>
                  </c:pt>
                  <c:pt idx="473">
                    <c:v>Rolling Mean (30 Minute)</c:v>
                  </c:pt>
                  <c:pt idx="474">
                    <c:v>Rolling Mean (30 Minute)</c:v>
                  </c:pt>
                  <c:pt idx="475">
                    <c:v>Rolling Mean (30 Minute)</c:v>
                  </c:pt>
                  <c:pt idx="476">
                    <c:v>Rolling Mean (30 Minute)</c:v>
                  </c:pt>
                  <c:pt idx="477">
                    <c:v>Rolling Mean (30 Minute)</c:v>
                  </c:pt>
                  <c:pt idx="478">
                    <c:v>Rolling Mean (30 Minute)</c:v>
                  </c:pt>
                  <c:pt idx="479">
                    <c:v>Rolling Mean (30 Minute)</c:v>
                  </c:pt>
                  <c:pt idx="480">
                    <c:v>Rolling Mean (30 Minute)</c:v>
                  </c:pt>
                  <c:pt idx="481">
                    <c:v>Rolling Mean (30 Minute)</c:v>
                  </c:pt>
                  <c:pt idx="482">
                    <c:v>Rolling Mean (30 Minute)</c:v>
                  </c:pt>
                  <c:pt idx="483">
                    <c:v>Rolling Mean (30 Minute)</c:v>
                  </c:pt>
                  <c:pt idx="484">
                    <c:v>Rolling Mean (30 Minute)</c:v>
                  </c:pt>
                  <c:pt idx="485">
                    <c:v>Rolling Mean (30 Minute)</c:v>
                  </c:pt>
                  <c:pt idx="486">
                    <c:v>Rolling Mean (30 Minute)</c:v>
                  </c:pt>
                  <c:pt idx="487">
                    <c:v>Rolling Mean (30 Minute)</c:v>
                  </c:pt>
                  <c:pt idx="488">
                    <c:v>Rolling Mean (30 Minute)</c:v>
                  </c:pt>
                  <c:pt idx="489">
                    <c:v>Rolling Mean (30 Minute)</c:v>
                  </c:pt>
                  <c:pt idx="490">
                    <c:v>Rolling Mean (30 Minute)</c:v>
                  </c:pt>
                  <c:pt idx="491">
                    <c:v>Rolling Mean (30 Minute)</c:v>
                  </c:pt>
                  <c:pt idx="492">
                    <c:v>Rolling Mean (30 Minute)</c:v>
                  </c:pt>
                  <c:pt idx="493">
                    <c:v>Rolling Mean (30 Minute)</c:v>
                  </c:pt>
                  <c:pt idx="494">
                    <c:v>Rolling Mean (30 Minute)</c:v>
                  </c:pt>
                  <c:pt idx="495">
                    <c:v>Rolling Mean (30 Minute)</c:v>
                  </c:pt>
                  <c:pt idx="496">
                    <c:v>Rolling Mean (30 Minute)</c:v>
                  </c:pt>
                  <c:pt idx="497">
                    <c:v>Rolling Mean (30 Minute)</c:v>
                  </c:pt>
                  <c:pt idx="498">
                    <c:v>Rolling Mean (30 Minute)</c:v>
                  </c:pt>
                  <c:pt idx="499">
                    <c:v>Rolling Mean (30 Minute)</c:v>
                  </c:pt>
                  <c:pt idx="500">
                    <c:v>Rolling Mean (30 Minute)</c:v>
                  </c:pt>
                  <c:pt idx="501">
                    <c:v>Rolling Mean (30 Minute)</c:v>
                  </c:pt>
                  <c:pt idx="502">
                    <c:v>Rolling Mean (30 Minute)</c:v>
                  </c:pt>
                  <c:pt idx="503">
                    <c:v>Rolling Mean (30 Minute)</c:v>
                  </c:pt>
                  <c:pt idx="504">
                    <c:v>Rolling Mean (30 Minute)</c:v>
                  </c:pt>
                  <c:pt idx="505">
                    <c:v>Rolling Mean (30 Minute)</c:v>
                  </c:pt>
                  <c:pt idx="506">
                    <c:v>Rolling Mean (30 Minute)</c:v>
                  </c:pt>
                  <c:pt idx="507">
                    <c:v>Rolling Mean (30 Minute)</c:v>
                  </c:pt>
                  <c:pt idx="508">
                    <c:v>Rolling Mean (30 Minute)</c:v>
                  </c:pt>
                  <c:pt idx="509">
                    <c:v>Rolling Mean (30 Minute)</c:v>
                  </c:pt>
                  <c:pt idx="510">
                    <c:v>Rolling Mean (30 Minute)</c:v>
                  </c:pt>
                  <c:pt idx="511">
                    <c:v>Rolling Mean (30 Minute)</c:v>
                  </c:pt>
                  <c:pt idx="512">
                    <c:v>Rolling Mean (30 Minute)</c:v>
                  </c:pt>
                  <c:pt idx="513">
                    <c:v>Rolling Mean (30 Minute)</c:v>
                  </c:pt>
                  <c:pt idx="514">
                    <c:v>Rolling Mean (30 Minute)</c:v>
                  </c:pt>
                  <c:pt idx="515">
                    <c:v>Rolling Mean (30 Minute)</c:v>
                  </c:pt>
                  <c:pt idx="516">
                    <c:v>Rolling Mean (30 Minute)</c:v>
                  </c:pt>
                  <c:pt idx="517">
                    <c:v>Rolling Mean (30 Minute)</c:v>
                  </c:pt>
                  <c:pt idx="518">
                    <c:v>Rolling Mean (30 Minute)</c:v>
                  </c:pt>
                  <c:pt idx="519">
                    <c:v>Rolling Mean (30 Minute)</c:v>
                  </c:pt>
                  <c:pt idx="520">
                    <c:v>Rolling Mean (30 Minute)</c:v>
                  </c:pt>
                  <c:pt idx="521">
                    <c:v>Rolling Mean (30 Minute)</c:v>
                  </c:pt>
                  <c:pt idx="522">
                    <c:v>Rolling Mean (30 Minute)</c:v>
                  </c:pt>
                  <c:pt idx="523">
                    <c:v>Rolling Mean (30 Minute)</c:v>
                  </c:pt>
                  <c:pt idx="524">
                    <c:v>Rolling Mean (30 Minute)</c:v>
                  </c:pt>
                  <c:pt idx="525">
                    <c:v>Rolling Mean (30 Minute)</c:v>
                  </c:pt>
                  <c:pt idx="526">
                    <c:v>Rolling Mean (30 Minute)</c:v>
                  </c:pt>
                  <c:pt idx="527">
                    <c:v>Rolling Mean (30 Minute)</c:v>
                  </c:pt>
                  <c:pt idx="528">
                    <c:v>Rolling Mean (30 Minute)</c:v>
                  </c:pt>
                  <c:pt idx="529">
                    <c:v>Rolling Mean (30 Minute)</c:v>
                  </c:pt>
                  <c:pt idx="530">
                    <c:v>Rolling Mean (30 Minute)</c:v>
                  </c:pt>
                  <c:pt idx="531">
                    <c:v>Rolling Mean (30 Minute)</c:v>
                  </c:pt>
                  <c:pt idx="532">
                    <c:v>Rolling Mean (30 Minute)</c:v>
                  </c:pt>
                  <c:pt idx="533">
                    <c:v>Rolling Mean (30 Minute)</c:v>
                  </c:pt>
                  <c:pt idx="534">
                    <c:v>Rolling Mean (30 Minute)</c:v>
                  </c:pt>
                  <c:pt idx="535">
                    <c:v>Rolling Mean (30 Minute)</c:v>
                  </c:pt>
                  <c:pt idx="536">
                    <c:v>Rolling Mean (30 Minute)</c:v>
                  </c:pt>
                  <c:pt idx="537">
                    <c:v>Rolling Mean (30 Minute)</c:v>
                  </c:pt>
                  <c:pt idx="538">
                    <c:v>Rolling Mean (30 Minute)</c:v>
                  </c:pt>
                  <c:pt idx="539">
                    <c:v>Rolling Mean (30 Minute)</c:v>
                  </c:pt>
                  <c:pt idx="540">
                    <c:v>Rolling Mean (30 Minute)</c:v>
                  </c:pt>
                  <c:pt idx="541">
                    <c:v>Rolling Mean (30 Minute)</c:v>
                  </c:pt>
                  <c:pt idx="542">
                    <c:v>Rolling Mean (30 Minute)</c:v>
                  </c:pt>
                  <c:pt idx="543">
                    <c:v>Rolling Mean (30 Minute)</c:v>
                  </c:pt>
                  <c:pt idx="544">
                    <c:v>Rolling Mean (30 Minute)</c:v>
                  </c:pt>
                  <c:pt idx="545">
                    <c:v>Rolling Mean (30 Minute)</c:v>
                  </c:pt>
                  <c:pt idx="546">
                    <c:v>Rolling Mean (30 Minute)</c:v>
                  </c:pt>
                  <c:pt idx="547">
                    <c:v>Rolling Mean (30 Minute)</c:v>
                  </c:pt>
                  <c:pt idx="548">
                    <c:v>Rolling Mean (30 Minute)</c:v>
                  </c:pt>
                  <c:pt idx="549">
                    <c:v>Rolling Mean (30 Minute)</c:v>
                  </c:pt>
                  <c:pt idx="550">
                    <c:v>Rolling Mean (30 Minute)</c:v>
                  </c:pt>
                  <c:pt idx="551">
                    <c:v>Rolling Mean (30 Minute)</c:v>
                  </c:pt>
                  <c:pt idx="552">
                    <c:v>Rolling Mean (30 Minute)</c:v>
                  </c:pt>
                  <c:pt idx="553">
                    <c:v>Rolling Mean (30 Minute)</c:v>
                  </c:pt>
                  <c:pt idx="554">
                    <c:v>Rolling Mean (30 Minute)</c:v>
                  </c:pt>
                  <c:pt idx="555">
                    <c:v>Rolling Mean (30 Minute)</c:v>
                  </c:pt>
                  <c:pt idx="556">
                    <c:v>Rolling Mean (30 Minute)</c:v>
                  </c:pt>
                  <c:pt idx="557">
                    <c:v>Rolling Mean (30 Minute)</c:v>
                  </c:pt>
                  <c:pt idx="558">
                    <c:v>Rolling Mean (30 Minute)</c:v>
                  </c:pt>
                  <c:pt idx="559">
                    <c:v>Rolling Mean (30 Minute)</c:v>
                  </c:pt>
                  <c:pt idx="560">
                    <c:v>Rolling Mean (30 Minute)</c:v>
                  </c:pt>
                  <c:pt idx="561">
                    <c:v>Rolling Mean (30 Minute)</c:v>
                  </c:pt>
                  <c:pt idx="562">
                    <c:v>Rolling Mean (30 Minute)</c:v>
                  </c:pt>
                  <c:pt idx="563">
                    <c:v>Rolling Mean (30 Minute)</c:v>
                  </c:pt>
                  <c:pt idx="564">
                    <c:v>Rolling Mean (30 Minute)</c:v>
                  </c:pt>
                  <c:pt idx="565">
                    <c:v>Rolling Mean (30 Minute)</c:v>
                  </c:pt>
                  <c:pt idx="566">
                    <c:v>Rolling Mean (30 Minute)</c:v>
                  </c:pt>
                  <c:pt idx="567">
                    <c:v>Rolling Mean (30 Minute)</c:v>
                  </c:pt>
                  <c:pt idx="568">
                    <c:v>Rolling Mean (30 Minute)</c:v>
                  </c:pt>
                  <c:pt idx="569">
                    <c:v>Rolling Mean (30 Minute)</c:v>
                  </c:pt>
                  <c:pt idx="570">
                    <c:v>Rolling Mean (30 Minute)</c:v>
                  </c:pt>
                  <c:pt idx="571">
                    <c:v>Rolling Mean (30 Minute)</c:v>
                  </c:pt>
                  <c:pt idx="572">
                    <c:v>Rolling Mean (30 Minute)</c:v>
                  </c:pt>
                  <c:pt idx="573">
                    <c:v>Rolling Mean (30 Minute)</c:v>
                  </c:pt>
                  <c:pt idx="574">
                    <c:v>Rolling Mean (30 Minute)</c:v>
                  </c:pt>
                  <c:pt idx="575">
                    <c:v>Rolling Mean (30 Minute)</c:v>
                  </c:pt>
                  <c:pt idx="576">
                    <c:v>Rolling Mean (30 Minute)</c:v>
                  </c:pt>
                  <c:pt idx="577">
                    <c:v>Rolling Mean (30 Minute)</c:v>
                  </c:pt>
                  <c:pt idx="578">
                    <c:v>Rolling Mean (30 Minute)</c:v>
                  </c:pt>
                  <c:pt idx="579">
                    <c:v>Rolling Mean (30 Minute)</c:v>
                  </c:pt>
                  <c:pt idx="580">
                    <c:v>Rolling Mean (30 Minute)</c:v>
                  </c:pt>
                  <c:pt idx="581">
                    <c:v>Rolling Mean (30 Minute)</c:v>
                  </c:pt>
                  <c:pt idx="582">
                    <c:v>Rolling Mean (30 Minute)</c:v>
                  </c:pt>
                  <c:pt idx="583">
                    <c:v>Rolling Mean (30 Minute)</c:v>
                  </c:pt>
                  <c:pt idx="584">
                    <c:v>Rolling Mean (30 Minute)</c:v>
                  </c:pt>
                  <c:pt idx="585">
                    <c:v>Rolling Mean (30 Minute)</c:v>
                  </c:pt>
                  <c:pt idx="586">
                    <c:v>Rolling Mean (30 Minute)</c:v>
                  </c:pt>
                  <c:pt idx="587">
                    <c:v>Rolling Mean (30 Minute)</c:v>
                  </c:pt>
                  <c:pt idx="588">
                    <c:v>Rolling Mean (30 Minute)</c:v>
                  </c:pt>
                  <c:pt idx="589">
                    <c:v>Rolling Mean (30 Minute)</c:v>
                  </c:pt>
                  <c:pt idx="590">
                    <c:v>Rolling Mean (30 Minute)</c:v>
                  </c:pt>
                  <c:pt idx="591">
                    <c:v>Rolling Mean (30 Minute)</c:v>
                  </c:pt>
                  <c:pt idx="592">
                    <c:v>Rolling Mean (30 Minute)</c:v>
                  </c:pt>
                  <c:pt idx="593">
                    <c:v>Rolling Mean (30 Minute)</c:v>
                  </c:pt>
                  <c:pt idx="594">
                    <c:v>Rolling Mean (30 Minute)</c:v>
                  </c:pt>
                  <c:pt idx="595">
                    <c:v>Rolling Mean (30 Minute)</c:v>
                  </c:pt>
                  <c:pt idx="596">
                    <c:v>Rolling Mean (30 Minute)</c:v>
                  </c:pt>
                  <c:pt idx="597">
                    <c:v>Rolling Mean (30 Minute)</c:v>
                  </c:pt>
                  <c:pt idx="598">
                    <c:v>Rolling Mean (30 Minute)</c:v>
                  </c:pt>
                  <c:pt idx="599">
                    <c:v>Rolling Mean (30 Minute)</c:v>
                  </c:pt>
                  <c:pt idx="600">
                    <c:v>Rolling Mean (30 Minute)</c:v>
                  </c:pt>
                  <c:pt idx="601">
                    <c:v>Rolling Mean (30 Minute)</c:v>
                  </c:pt>
                  <c:pt idx="602">
                    <c:v>Rolling Mean (30 Minute)</c:v>
                  </c:pt>
                  <c:pt idx="603">
                    <c:v>Rolling Mean (30 Minute)</c:v>
                  </c:pt>
                  <c:pt idx="604">
                    <c:v>Rolling Mean (30 Minute)</c:v>
                  </c:pt>
                  <c:pt idx="605">
                    <c:v>Rolling Mean (30 Minute)</c:v>
                  </c:pt>
                  <c:pt idx="606">
                    <c:v>Rolling Mean (30 Minute)</c:v>
                  </c:pt>
                  <c:pt idx="607">
                    <c:v>Rolling Mean (30 Minute)</c:v>
                  </c:pt>
                  <c:pt idx="608">
                    <c:v>Rolling Mean (30 Minute)</c:v>
                  </c:pt>
                  <c:pt idx="609">
                    <c:v>Rolling Mean (30 Minute)</c:v>
                  </c:pt>
                  <c:pt idx="610">
                    <c:v>Rolling Mean (30 Minute)</c:v>
                  </c:pt>
                  <c:pt idx="611">
                    <c:v>Rolling Mean (30 Minute)</c:v>
                  </c:pt>
                  <c:pt idx="612">
                    <c:v>Rolling Mean (30 Minute)</c:v>
                  </c:pt>
                  <c:pt idx="613">
                    <c:v>Rolling Mean (30 Minute)</c:v>
                  </c:pt>
                  <c:pt idx="614">
                    <c:v>Rolling Mean (30 Minute)</c:v>
                  </c:pt>
                  <c:pt idx="615">
                    <c:v>Rolling Mean (30 Minute)</c:v>
                  </c:pt>
                  <c:pt idx="616">
                    <c:v>Rolling Mean (30 Minute)</c:v>
                  </c:pt>
                  <c:pt idx="617">
                    <c:v>Rolling Mean (30 Minute)</c:v>
                  </c:pt>
                  <c:pt idx="618">
                    <c:v>Rolling Mean (30 Minute)</c:v>
                  </c:pt>
                  <c:pt idx="619">
                    <c:v>Rolling Mean (30 Minute)</c:v>
                  </c:pt>
                  <c:pt idx="620">
                    <c:v>Rolling Mean (30 Minute)</c:v>
                  </c:pt>
                  <c:pt idx="621">
                    <c:v>Rolling Mean (30 Minute)</c:v>
                  </c:pt>
                  <c:pt idx="622">
                    <c:v>Rolling Mean (30 Minute)</c:v>
                  </c:pt>
                  <c:pt idx="623">
                    <c:v>Rolling Mean (30 Minute)</c:v>
                  </c:pt>
                  <c:pt idx="624">
                    <c:v>Rolling Mean (30 Minute)</c:v>
                  </c:pt>
                  <c:pt idx="625">
                    <c:v>Rolling Mean (30 Minute)</c:v>
                  </c:pt>
                  <c:pt idx="626">
                    <c:v>Rolling Mean (30 Minute)</c:v>
                  </c:pt>
                  <c:pt idx="627">
                    <c:v>Rolling Mean (30 Minute)</c:v>
                  </c:pt>
                  <c:pt idx="628">
                    <c:v>Rolling Mean (30 Minute)</c:v>
                  </c:pt>
                  <c:pt idx="629">
                    <c:v>Rolling Mean (30 Minute)</c:v>
                  </c:pt>
                  <c:pt idx="630">
                    <c:v>Rolling Mean (30 Minute)</c:v>
                  </c:pt>
                  <c:pt idx="631">
                    <c:v>Rolling Mean (30 Minute)</c:v>
                  </c:pt>
                  <c:pt idx="632">
                    <c:v>Rolling Mean (30 Minute)</c:v>
                  </c:pt>
                  <c:pt idx="633">
                    <c:v>Rolling Mean (30 Minute)</c:v>
                  </c:pt>
                  <c:pt idx="634">
                    <c:v>Rolling Mean (30 Minute)</c:v>
                  </c:pt>
                  <c:pt idx="635">
                    <c:v>Rolling Mean (30 Minute)</c:v>
                  </c:pt>
                  <c:pt idx="636">
                    <c:v>Rolling Mean (30 Minute)</c:v>
                  </c:pt>
                  <c:pt idx="637">
                    <c:v>Rolling Mean (30 Minute)</c:v>
                  </c:pt>
                  <c:pt idx="638">
                    <c:v>Rolling Mean (30 Minute)</c:v>
                  </c:pt>
                  <c:pt idx="639">
                    <c:v>Rolling Mean (30 Minute)</c:v>
                  </c:pt>
                  <c:pt idx="640">
                    <c:v>Rolling Mean (30 Minute)</c:v>
                  </c:pt>
                  <c:pt idx="641">
                    <c:v>Rolling Mean (30 Minute)</c:v>
                  </c:pt>
                  <c:pt idx="642">
                    <c:v>Rolling Mean (30 Minute)</c:v>
                  </c:pt>
                  <c:pt idx="643">
                    <c:v>Rolling Mean (30 Minute)</c:v>
                  </c:pt>
                  <c:pt idx="644">
                    <c:v>Rolling Mean (30 Minute)</c:v>
                  </c:pt>
                  <c:pt idx="645">
                    <c:v>Rolling Mean (30 Minute)</c:v>
                  </c:pt>
                  <c:pt idx="646">
                    <c:v>Rolling Mean (30 Minute)</c:v>
                  </c:pt>
                  <c:pt idx="647">
                    <c:v>Rolling Mean (30 Minute)</c:v>
                  </c:pt>
                  <c:pt idx="648">
                    <c:v>Rolling Mean (30 Minute)</c:v>
                  </c:pt>
                  <c:pt idx="649">
                    <c:v>Rolling Mean (30 Minute)</c:v>
                  </c:pt>
                  <c:pt idx="650">
                    <c:v>Rolling Mean (30 Minute)</c:v>
                  </c:pt>
                  <c:pt idx="651">
                    <c:v>Rolling Mean (30 Minute)</c:v>
                  </c:pt>
                  <c:pt idx="652">
                    <c:v>Rolling Mean (30 Minute)</c:v>
                  </c:pt>
                  <c:pt idx="653">
                    <c:v>Rolling Mean (30 Minute)</c:v>
                  </c:pt>
                  <c:pt idx="654">
                    <c:v>Rolling Mean (30 Minute)</c:v>
                  </c:pt>
                  <c:pt idx="655">
                    <c:v>Rolling Mean (30 Minute)</c:v>
                  </c:pt>
                  <c:pt idx="656">
                    <c:v>Rolling Mean (30 Minute)</c:v>
                  </c:pt>
                  <c:pt idx="657">
                    <c:v>Rolling Mean (30 Minute)</c:v>
                  </c:pt>
                  <c:pt idx="658">
                    <c:v>Rolling Mean (30 Minute)</c:v>
                  </c:pt>
                  <c:pt idx="659">
                    <c:v>Rolling Mean (30 Minute)</c:v>
                  </c:pt>
                  <c:pt idx="660">
                    <c:v>Rolling Mean (30 Minute)</c:v>
                  </c:pt>
                  <c:pt idx="661">
                    <c:v>Rolling Mean (30 Minute)</c:v>
                  </c:pt>
                  <c:pt idx="662">
                    <c:v>Rolling Mean (30 Minute)</c:v>
                  </c:pt>
                  <c:pt idx="663">
                    <c:v>Rolling Mean (30 Minute)</c:v>
                  </c:pt>
                  <c:pt idx="664">
                    <c:v>Rolling Mean (30 Minute)</c:v>
                  </c:pt>
                  <c:pt idx="665">
                    <c:v>Rolling Mean (30 Minute)</c:v>
                  </c:pt>
                  <c:pt idx="666">
                    <c:v>Rolling Mean (30 Minute)</c:v>
                  </c:pt>
                  <c:pt idx="667">
                    <c:v>Rolling Mean (30 Minute)</c:v>
                  </c:pt>
                  <c:pt idx="668">
                    <c:v>Rolling Mean (30 Minute)</c:v>
                  </c:pt>
                  <c:pt idx="669">
                    <c:v>Rolling Mean (30 Minute)</c:v>
                  </c:pt>
                  <c:pt idx="670">
                    <c:v>Rolling Mean (30 Minute)</c:v>
                  </c:pt>
                  <c:pt idx="671">
                    <c:v>Rolling Mean (30 Minute)</c:v>
                  </c:pt>
                  <c:pt idx="672">
                    <c:v>Rolling Mean (30 Minute)</c:v>
                  </c:pt>
                  <c:pt idx="673">
                    <c:v>Rolling Mean (30 Minute)</c:v>
                  </c:pt>
                  <c:pt idx="674">
                    <c:v>Rolling Mean (30 Minute)</c:v>
                  </c:pt>
                  <c:pt idx="675">
                    <c:v>Rolling Mean (30 Minute)</c:v>
                  </c:pt>
                  <c:pt idx="676">
                    <c:v>Rolling Mean (30 Minute)</c:v>
                  </c:pt>
                  <c:pt idx="677">
                    <c:v>Rolling Mean (30 Minute)</c:v>
                  </c:pt>
                  <c:pt idx="678">
                    <c:v>Rolling Mean (30 Minute)</c:v>
                  </c:pt>
                  <c:pt idx="679">
                    <c:v>Rolling Mean (30 Minute)</c:v>
                  </c:pt>
                  <c:pt idx="680">
                    <c:v>Rolling Mean (30 Minute)</c:v>
                  </c:pt>
                  <c:pt idx="681">
                    <c:v>Rolling Mean (30 Minute)</c:v>
                  </c:pt>
                  <c:pt idx="682">
                    <c:v>Rolling Mean (30 Minute)</c:v>
                  </c:pt>
                  <c:pt idx="683">
                    <c:v>Rolling Mean (30 Minute)</c:v>
                  </c:pt>
                  <c:pt idx="684">
                    <c:v>Rolling Mean (30 Minute)</c:v>
                  </c:pt>
                  <c:pt idx="685">
                    <c:v>Rolling Mean (30 Minute)</c:v>
                  </c:pt>
                  <c:pt idx="686">
                    <c:v>Rolling Mean (30 Minute)</c:v>
                  </c:pt>
                  <c:pt idx="687">
                    <c:v>Rolling Mean (30 Minute)</c:v>
                  </c:pt>
                  <c:pt idx="688">
                    <c:v>Rolling Mean (30 Minute)</c:v>
                  </c:pt>
                  <c:pt idx="689">
                    <c:v>Rolling Mean (30 Minute)</c:v>
                  </c:pt>
                  <c:pt idx="690">
                    <c:v>Rolling Mean (30 Minute)</c:v>
                  </c:pt>
                  <c:pt idx="691">
                    <c:v>Rolling Mean (30 Minute)</c:v>
                  </c:pt>
                  <c:pt idx="692">
                    <c:v>Rolling Mean (30 Minute)</c:v>
                  </c:pt>
                  <c:pt idx="693">
                    <c:v>Rolling Mean (30 Minute)</c:v>
                  </c:pt>
                  <c:pt idx="694">
                    <c:v>Rolling Mean (30 Minute)</c:v>
                  </c:pt>
                  <c:pt idx="695">
                    <c:v>Rolling Mean (30 Minute)</c:v>
                  </c:pt>
                  <c:pt idx="696">
                    <c:v>Rolling Mean (30 Minute)</c:v>
                  </c:pt>
                  <c:pt idx="697">
                    <c:v>Rolling Mean (30 Minute)</c:v>
                  </c:pt>
                  <c:pt idx="698">
                    <c:v>Rolling Mean (30 Minute)</c:v>
                  </c:pt>
                  <c:pt idx="699">
                    <c:v>Rolling Mean (30 Minute)</c:v>
                  </c:pt>
                  <c:pt idx="700">
                    <c:v>Rolling Mean (30 Minute)</c:v>
                  </c:pt>
                  <c:pt idx="701">
                    <c:v>Rolling Mean (30 Minute)</c:v>
                  </c:pt>
                  <c:pt idx="702">
                    <c:v>Rolling Mean (30 Minute)</c:v>
                  </c:pt>
                  <c:pt idx="703">
                    <c:v>Rolling Mean (30 Minute)</c:v>
                  </c:pt>
                  <c:pt idx="704">
                    <c:v>Rolling Mean (30 Minute)</c:v>
                  </c:pt>
                  <c:pt idx="705">
                    <c:v>Rolling Mean (30 Minute)</c:v>
                  </c:pt>
                  <c:pt idx="706">
                    <c:v>Rolling Mean (30 Minute)</c:v>
                  </c:pt>
                  <c:pt idx="707">
                    <c:v>Rolling Mean (30 Minute)</c:v>
                  </c:pt>
                  <c:pt idx="708">
                    <c:v>Rolling Mean (30 Minute)</c:v>
                  </c:pt>
                  <c:pt idx="709">
                    <c:v>Rolling Mean (30 Minute)</c:v>
                  </c:pt>
                  <c:pt idx="710">
                    <c:v>Rolling Mean (30 Minute)</c:v>
                  </c:pt>
                  <c:pt idx="711">
                    <c:v>Rolling Mean (30 Minute)</c:v>
                  </c:pt>
                  <c:pt idx="712">
                    <c:v>Rolling Mean (30 Minute)</c:v>
                  </c:pt>
                  <c:pt idx="713">
                    <c:v>Rolling Mean (30 Minute)</c:v>
                  </c:pt>
                  <c:pt idx="714">
                    <c:v>Rolling Mean (30 Minute)</c:v>
                  </c:pt>
                  <c:pt idx="715">
                    <c:v>Rolling Mean (30 Minute)</c:v>
                  </c:pt>
                  <c:pt idx="716">
                    <c:v>Rolling Mean (30 Minute)</c:v>
                  </c:pt>
                  <c:pt idx="717">
                    <c:v>Rolling Mean (30 Minute)</c:v>
                  </c:pt>
                  <c:pt idx="718">
                    <c:v>Rolling Mean (30 Minute)</c:v>
                  </c:pt>
                  <c:pt idx="719">
                    <c:v>Rolling Mean (30 Minute)</c:v>
                  </c:pt>
                  <c:pt idx="720">
                    <c:v>Rolling Mean (30 Minute)</c:v>
                  </c:pt>
                  <c:pt idx="721">
                    <c:v>Rolling Mean (30 Minute)</c:v>
                  </c:pt>
                  <c:pt idx="722">
                    <c:v>Rolling Mean (30 Minute)</c:v>
                  </c:pt>
                  <c:pt idx="723">
                    <c:v>Rolling Mean (30 Minute)</c:v>
                  </c:pt>
                  <c:pt idx="724">
                    <c:v>Rolling Mean (30 Minute)</c:v>
                  </c:pt>
                  <c:pt idx="725">
                    <c:v>Rolling Mean (30 Minute)</c:v>
                  </c:pt>
                  <c:pt idx="726">
                    <c:v>Rolling Mean (30 Minute)</c:v>
                  </c:pt>
                  <c:pt idx="727">
                    <c:v>Rolling Mean (30 Minute)</c:v>
                  </c:pt>
                  <c:pt idx="728">
                    <c:v>Rolling Mean (30 Minute)</c:v>
                  </c:pt>
                  <c:pt idx="729">
                    <c:v>Rolling Mean (30 Minute)</c:v>
                  </c:pt>
                  <c:pt idx="730">
                    <c:v>Rolling Mean (30 Minute)</c:v>
                  </c:pt>
                  <c:pt idx="731">
                    <c:v>Rolling Mean (30 Minute)</c:v>
                  </c:pt>
                  <c:pt idx="732">
                    <c:v>Rolling Mean (30 Minute)</c:v>
                  </c:pt>
                  <c:pt idx="733">
                    <c:v>Rolling Mean (30 Minute)</c:v>
                  </c:pt>
                  <c:pt idx="734">
                    <c:v>Rolling Mean (30 Minute)</c:v>
                  </c:pt>
                  <c:pt idx="735">
                    <c:v>Rolling Mean (30 Minute)</c:v>
                  </c:pt>
                  <c:pt idx="736">
                    <c:v>Rolling Mean (30 Minute)</c:v>
                  </c:pt>
                  <c:pt idx="737">
                    <c:v>Rolling Mean (30 Minute)</c:v>
                  </c:pt>
                  <c:pt idx="738">
                    <c:v>Rolling Mean (30 Minute)</c:v>
                  </c:pt>
                  <c:pt idx="739">
                    <c:v>Rolling Mean (30 Minute)</c:v>
                  </c:pt>
                  <c:pt idx="740">
                    <c:v>Rolling Mean (30 Minute)</c:v>
                  </c:pt>
                  <c:pt idx="741">
                    <c:v>Rolling Mean (30 Minute)</c:v>
                  </c:pt>
                  <c:pt idx="742">
                    <c:v>Rolling Mean (30 Minute)</c:v>
                  </c:pt>
                  <c:pt idx="743">
                    <c:v>Rolling Mean (30 Minute)</c:v>
                  </c:pt>
                  <c:pt idx="744">
                    <c:v>Rolling Mean (30 Minute)</c:v>
                  </c:pt>
                  <c:pt idx="745">
                    <c:v>Rolling Mean (30 Minute)</c:v>
                  </c:pt>
                  <c:pt idx="746">
                    <c:v>Rolling Mean (30 Minute)</c:v>
                  </c:pt>
                  <c:pt idx="747">
                    <c:v>Rolling Mean (30 Minute)</c:v>
                  </c:pt>
                  <c:pt idx="748">
                    <c:v>Rolling Mean (30 Minute)</c:v>
                  </c:pt>
                  <c:pt idx="749">
                    <c:v>Rolling Mean (30 Minute)</c:v>
                  </c:pt>
                  <c:pt idx="750">
                    <c:v>Rolling Mean (30 Minute)</c:v>
                  </c:pt>
                  <c:pt idx="751">
                    <c:v>Rolling Mean (30 Minute)</c:v>
                  </c:pt>
                  <c:pt idx="752">
                    <c:v>Rolling Mean (30 Minute)</c:v>
                  </c:pt>
                  <c:pt idx="753">
                    <c:v>Rolling Mean (30 Minute)</c:v>
                  </c:pt>
                  <c:pt idx="754">
                    <c:v>Rolling Mean (30 Minute)</c:v>
                  </c:pt>
                  <c:pt idx="755">
                    <c:v>Rolling Mean (30 Minute)</c:v>
                  </c:pt>
                  <c:pt idx="756">
                    <c:v>Rolling Mean (30 Minute)</c:v>
                  </c:pt>
                  <c:pt idx="757">
                    <c:v>Rolling Mean (30 Minute)</c:v>
                  </c:pt>
                  <c:pt idx="758">
                    <c:v>Rolling Mean (30 Minute)</c:v>
                  </c:pt>
                  <c:pt idx="759">
                    <c:v>Rolling Mean (30 Minute)</c:v>
                  </c:pt>
                  <c:pt idx="760">
                    <c:v>Rolling Mean (30 Minute)</c:v>
                  </c:pt>
                  <c:pt idx="761">
                    <c:v>Rolling Mean (30 Minute)</c:v>
                  </c:pt>
                  <c:pt idx="762">
                    <c:v>Rolling Mean (30 Minute)</c:v>
                  </c:pt>
                  <c:pt idx="763">
                    <c:v>Rolling Mean (30 Minute)</c:v>
                  </c:pt>
                  <c:pt idx="764">
                    <c:v>Rolling Mean (30 Minute)</c:v>
                  </c:pt>
                  <c:pt idx="765">
                    <c:v>Rolling Mean (30 Minute)</c:v>
                  </c:pt>
                  <c:pt idx="766">
                    <c:v>Rolling Mean (30 Minute)</c:v>
                  </c:pt>
                  <c:pt idx="767">
                    <c:v>Rolling Mean (30 Minute)</c:v>
                  </c:pt>
                  <c:pt idx="768">
                    <c:v>Rolling Mean (30 Minute)</c:v>
                  </c:pt>
                  <c:pt idx="769">
                    <c:v>Rolling Mean (30 Minute)</c:v>
                  </c:pt>
                  <c:pt idx="770">
                    <c:v>Rolling Mean (30 Minute)</c:v>
                  </c:pt>
                  <c:pt idx="771">
                    <c:v>Rolling Mean (30 Minute)</c:v>
                  </c:pt>
                  <c:pt idx="772">
                    <c:v>Rolling Mean (30 Minute)</c:v>
                  </c:pt>
                  <c:pt idx="773">
                    <c:v>Rolling Mean (30 Minute)</c:v>
                  </c:pt>
                  <c:pt idx="774">
                    <c:v>Rolling Mean (30 Minute)</c:v>
                  </c:pt>
                  <c:pt idx="775">
                    <c:v>Rolling Mean (30 Minute)</c:v>
                  </c:pt>
                  <c:pt idx="776">
                    <c:v>Rolling Mean (30 Minute)</c:v>
                  </c:pt>
                  <c:pt idx="777">
                    <c:v>Rolling Mean (30 Minute)</c:v>
                  </c:pt>
                  <c:pt idx="778">
                    <c:v>Rolling Mean (30 Minute)</c:v>
                  </c:pt>
                  <c:pt idx="779">
                    <c:v>Rolling Mean (30 Minute)</c:v>
                  </c:pt>
                  <c:pt idx="780">
                    <c:v>Rolling Mean (30 Minute)</c:v>
                  </c:pt>
                  <c:pt idx="781">
                    <c:v>Rolling Mean (30 Minute)</c:v>
                  </c:pt>
                  <c:pt idx="782">
                    <c:v>Rolling Mean (30 Minute)</c:v>
                  </c:pt>
                  <c:pt idx="783">
                    <c:v>Rolling Mean (30 Minute)</c:v>
                  </c:pt>
                  <c:pt idx="784">
                    <c:v>Rolling Mean (30 Minute)</c:v>
                  </c:pt>
                  <c:pt idx="785">
                    <c:v>Rolling Mean (30 Minute)</c:v>
                  </c:pt>
                  <c:pt idx="786">
                    <c:v>Rolling Mean (30 Minute)</c:v>
                  </c:pt>
                  <c:pt idx="787">
                    <c:v>Rolling Mean (30 Minute)</c:v>
                  </c:pt>
                  <c:pt idx="788">
                    <c:v>Rolling Mean (30 Minute)</c:v>
                  </c:pt>
                  <c:pt idx="789">
                    <c:v>Rolling Mean (30 Minute)</c:v>
                  </c:pt>
                  <c:pt idx="790">
                    <c:v>Rolling Mean (30 Minute)</c:v>
                  </c:pt>
                  <c:pt idx="791">
                    <c:v>Rolling Mean (30 Minute)</c:v>
                  </c:pt>
                  <c:pt idx="792">
                    <c:v>Rolling Mean (30 Minute)</c:v>
                  </c:pt>
                  <c:pt idx="793">
                    <c:v>Rolling Mean (30 Minute)</c:v>
                  </c:pt>
                  <c:pt idx="794">
                    <c:v>Rolling Mean (30 Minute)</c:v>
                  </c:pt>
                  <c:pt idx="795">
                    <c:v>Rolling Mean (30 Minute)</c:v>
                  </c:pt>
                  <c:pt idx="796">
                    <c:v>Rolling Mean (30 Minute)</c:v>
                  </c:pt>
                  <c:pt idx="797">
                    <c:v>Rolling Mean (30 Minute)</c:v>
                  </c:pt>
                  <c:pt idx="798">
                    <c:v>Rolling Mean (30 Minute)</c:v>
                  </c:pt>
                  <c:pt idx="799">
                    <c:v>Rolling Mean (30 Minute)</c:v>
                  </c:pt>
                  <c:pt idx="800">
                    <c:v>Rolling Mean (30 Minute)</c:v>
                  </c:pt>
                  <c:pt idx="801">
                    <c:v>Rolling Mean (30 Minute)</c:v>
                  </c:pt>
                  <c:pt idx="802">
                    <c:v>Rolling Mean (30 Minute)</c:v>
                  </c:pt>
                  <c:pt idx="803">
                    <c:v>Rolling Mean (30 Minute)</c:v>
                  </c:pt>
                  <c:pt idx="804">
                    <c:v>Rolling Mean (30 Minute)</c:v>
                  </c:pt>
                  <c:pt idx="805">
                    <c:v>Rolling Mean (30 Minute)</c:v>
                  </c:pt>
                  <c:pt idx="806">
                    <c:v>Rolling Mean (30 Minute)</c:v>
                  </c:pt>
                  <c:pt idx="807">
                    <c:v>Rolling Mean (30 Minute)</c:v>
                  </c:pt>
                  <c:pt idx="808">
                    <c:v>Rolling Mean (30 Minute)</c:v>
                  </c:pt>
                  <c:pt idx="809">
                    <c:v>Rolling Mean (30 Minute)</c:v>
                  </c:pt>
                  <c:pt idx="810">
                    <c:v>Rolling Mean (30 Minute)</c:v>
                  </c:pt>
                  <c:pt idx="811">
                    <c:v>Rolling Mean (30 Minute)</c:v>
                  </c:pt>
                  <c:pt idx="812">
                    <c:v>Rolling Mean (30 Minute)</c:v>
                  </c:pt>
                  <c:pt idx="813">
                    <c:v>Rolling Mean (30 Minute)</c:v>
                  </c:pt>
                  <c:pt idx="814">
                    <c:v>Rolling Mean (30 Minute)</c:v>
                  </c:pt>
                  <c:pt idx="815">
                    <c:v>Rolling Mean (30 Minute)</c:v>
                  </c:pt>
                  <c:pt idx="816">
                    <c:v>Rolling Mean (30 Minute)</c:v>
                  </c:pt>
                  <c:pt idx="817">
                    <c:v>Rolling Mean (30 Minute)</c:v>
                  </c:pt>
                  <c:pt idx="818">
                    <c:v>Rolling Mean (30 Minute)</c:v>
                  </c:pt>
                  <c:pt idx="819">
                    <c:v>Rolling Mean (30 Minute)</c:v>
                  </c:pt>
                  <c:pt idx="820">
                    <c:v>Rolling Mean (30 Minute)</c:v>
                  </c:pt>
                  <c:pt idx="821">
                    <c:v>Rolling Mean (30 Minute)</c:v>
                  </c:pt>
                  <c:pt idx="822">
                    <c:v>Rolling Mean (30 Minute)</c:v>
                  </c:pt>
                  <c:pt idx="823">
                    <c:v>Rolling Mean (30 Minute)</c:v>
                  </c:pt>
                  <c:pt idx="824">
                    <c:v>Rolling Mean (30 Minute)</c:v>
                  </c:pt>
                  <c:pt idx="825">
                    <c:v>Rolling Mean (30 Minute)</c:v>
                  </c:pt>
                  <c:pt idx="826">
                    <c:v>Rolling Mean (30 Minute)</c:v>
                  </c:pt>
                  <c:pt idx="827">
                    <c:v>Rolling Mean (30 Minute)</c:v>
                  </c:pt>
                  <c:pt idx="828">
                    <c:v>Rolling Mean (30 Minute)</c:v>
                  </c:pt>
                  <c:pt idx="829">
                    <c:v>Rolling Mean (30 Minute)</c:v>
                  </c:pt>
                  <c:pt idx="830">
                    <c:v>Rolling Mean (30 Minute)</c:v>
                  </c:pt>
                  <c:pt idx="831">
                    <c:v>Rolling Mean (30 Minute)</c:v>
                  </c:pt>
                  <c:pt idx="832">
                    <c:v>Rolling Mean (30 Minute)</c:v>
                  </c:pt>
                  <c:pt idx="833">
                    <c:v>Rolling Mean (30 Minute)</c:v>
                  </c:pt>
                  <c:pt idx="834">
                    <c:v>Rolling Mean (30 Minute)</c:v>
                  </c:pt>
                  <c:pt idx="835">
                    <c:v>Rolling Mean (30 Minute)</c:v>
                  </c:pt>
                  <c:pt idx="836">
                    <c:v>Rolling Mean (30 Minute)</c:v>
                  </c:pt>
                  <c:pt idx="837">
                    <c:v>Rolling Mean (30 Minute)</c:v>
                  </c:pt>
                  <c:pt idx="838">
                    <c:v>Rolling Mean (30 Minute)</c:v>
                  </c:pt>
                  <c:pt idx="839">
                    <c:v>Rolling Mean (30 Minute)</c:v>
                  </c:pt>
                  <c:pt idx="840">
                    <c:v>Rolling Mean (30 Minute)</c:v>
                  </c:pt>
                  <c:pt idx="841">
                    <c:v>Rolling Mean (30 Minute)</c:v>
                  </c:pt>
                  <c:pt idx="842">
                    <c:v>Rolling Mean (30 Minute)</c:v>
                  </c:pt>
                  <c:pt idx="843">
                    <c:v>Rolling Mean (30 Minute)</c:v>
                  </c:pt>
                  <c:pt idx="844">
                    <c:v>Rolling Mean (30 Minute)</c:v>
                  </c:pt>
                  <c:pt idx="845">
                    <c:v>Rolling Mean (30 Minute)</c:v>
                  </c:pt>
                  <c:pt idx="846">
                    <c:v>Rolling Mean (30 Minute)</c:v>
                  </c:pt>
                  <c:pt idx="847">
                    <c:v>Rolling Mean (30 Minute)</c:v>
                  </c:pt>
                  <c:pt idx="848">
                    <c:v>Rolling Mean (30 Minute)</c:v>
                  </c:pt>
                  <c:pt idx="849">
                    <c:v>Rolling Mean (30 Minute)</c:v>
                  </c:pt>
                  <c:pt idx="850">
                    <c:v>Rolling Mean (30 Minute)</c:v>
                  </c:pt>
                  <c:pt idx="851">
                    <c:v>Rolling Mean (30 Minute)</c:v>
                  </c:pt>
                  <c:pt idx="852">
                    <c:v>Rolling Mean (30 Minute)</c:v>
                  </c:pt>
                  <c:pt idx="853">
                    <c:v>Rolling Mean (30 Minute)</c:v>
                  </c:pt>
                  <c:pt idx="854">
                    <c:v>Rolling Mean (30 Minute)</c:v>
                  </c:pt>
                  <c:pt idx="855">
                    <c:v>Rolling Mean (30 Minute)</c:v>
                  </c:pt>
                  <c:pt idx="856">
                    <c:v>Rolling Mean (30 Minute)</c:v>
                  </c:pt>
                  <c:pt idx="857">
                    <c:v>Rolling Mean (30 Minute)</c:v>
                  </c:pt>
                  <c:pt idx="858">
                    <c:v>Rolling Mean (30 Minute)</c:v>
                  </c:pt>
                  <c:pt idx="859">
                    <c:v>Rolling Mean (30 Minute)</c:v>
                  </c:pt>
                  <c:pt idx="860">
                    <c:v>Rolling Mean (30 Minute)</c:v>
                  </c:pt>
                  <c:pt idx="861">
                    <c:v>Rolling Mean (30 Minute)</c:v>
                  </c:pt>
                  <c:pt idx="862">
                    <c:v>Rolling Mean (30 Minute)</c:v>
                  </c:pt>
                  <c:pt idx="863">
                    <c:v>Rolling Mean (30 Minute)</c:v>
                  </c:pt>
                  <c:pt idx="864">
                    <c:v>Rolling Mean (30 Minute)</c:v>
                  </c:pt>
                  <c:pt idx="865">
                    <c:v>Rolling Mean (30 Minute)</c:v>
                  </c:pt>
                  <c:pt idx="866">
                    <c:v>Rolling Mean (30 Minute)</c:v>
                  </c:pt>
                  <c:pt idx="867">
                    <c:v>Rolling Mean (30 Minute)</c:v>
                  </c:pt>
                  <c:pt idx="868">
                    <c:v>Rolling Mean (30 Minute)</c:v>
                  </c:pt>
                  <c:pt idx="869">
                    <c:v>Rolling Mean (30 Minute)</c:v>
                  </c:pt>
                  <c:pt idx="870">
                    <c:v>Rolling Mean (30 Minute)</c:v>
                  </c:pt>
                  <c:pt idx="871">
                    <c:v>Rolling Mean (30 Minute)</c:v>
                  </c:pt>
                  <c:pt idx="872">
                    <c:v>Rolling Mean (30 Minute)</c:v>
                  </c:pt>
                  <c:pt idx="873">
                    <c:v>Rolling Mean (30 Minute)</c:v>
                  </c:pt>
                  <c:pt idx="874">
                    <c:v>Rolling Mean (30 Minute)</c:v>
                  </c:pt>
                  <c:pt idx="875">
                    <c:v>Rolling Mean (30 Minute)</c:v>
                  </c:pt>
                  <c:pt idx="876">
                    <c:v>Rolling Mean (30 Minute)</c:v>
                  </c:pt>
                  <c:pt idx="877">
                    <c:v>Rolling Mean (30 Minute)</c:v>
                  </c:pt>
                  <c:pt idx="878">
                    <c:v>Rolling Mean (30 Minute)</c:v>
                  </c:pt>
                  <c:pt idx="879">
                    <c:v>Rolling Mean (30 Minute)</c:v>
                  </c:pt>
                  <c:pt idx="880">
                    <c:v>Rolling Mean (30 Minute)</c:v>
                  </c:pt>
                  <c:pt idx="881">
                    <c:v>Rolling Mean (30 Minute)</c:v>
                  </c:pt>
                  <c:pt idx="882">
                    <c:v>Rolling Mean (30 Minute)</c:v>
                  </c:pt>
                  <c:pt idx="883">
                    <c:v>Rolling Mean (30 Minute)</c:v>
                  </c:pt>
                  <c:pt idx="884">
                    <c:v>Rolling Mean (30 Minute)</c:v>
                  </c:pt>
                  <c:pt idx="885">
                    <c:v>Rolling Mean (30 Minute)</c:v>
                  </c:pt>
                  <c:pt idx="886">
                    <c:v>Rolling Mean (30 Minute)</c:v>
                  </c:pt>
                  <c:pt idx="887">
                    <c:v>Rolling Mean (30 Minute)</c:v>
                  </c:pt>
                  <c:pt idx="888">
                    <c:v>Rolling Mean (30 Minute)</c:v>
                  </c:pt>
                  <c:pt idx="889">
                    <c:v>Rolling Mean (30 Minute)</c:v>
                  </c:pt>
                  <c:pt idx="890">
                    <c:v>Rolling Mean (30 Minute)</c:v>
                  </c:pt>
                  <c:pt idx="891">
                    <c:v>Rolling Mean (30 Minute)</c:v>
                  </c:pt>
                  <c:pt idx="892">
                    <c:v>Rolling Mean (30 Minute)</c:v>
                  </c:pt>
                  <c:pt idx="893">
                    <c:v>Rolling Mean (30 Minute)</c:v>
                  </c:pt>
                  <c:pt idx="894">
                    <c:v>Rolling Mean (30 Minute)</c:v>
                  </c:pt>
                  <c:pt idx="895">
                    <c:v>Rolling Mean (30 Minute)</c:v>
                  </c:pt>
                  <c:pt idx="896">
                    <c:v>Rolling Mean (30 Minute)</c:v>
                  </c:pt>
                  <c:pt idx="897">
                    <c:v>Rolling Mean (30 Minute)</c:v>
                  </c:pt>
                  <c:pt idx="898">
                    <c:v>Rolling Mean (30 Minute)</c:v>
                  </c:pt>
                  <c:pt idx="899">
                    <c:v>Rolling Mean (30 Minute)</c:v>
                  </c:pt>
                  <c:pt idx="900">
                    <c:v>Rolling Mean (30 Minute)</c:v>
                  </c:pt>
                  <c:pt idx="901">
                    <c:v>Rolling Mean (30 Minute)</c:v>
                  </c:pt>
                  <c:pt idx="902">
                    <c:v>Rolling Mean (30 Minute)</c:v>
                  </c:pt>
                  <c:pt idx="903">
                    <c:v>Rolling Mean (30 Minute)</c:v>
                  </c:pt>
                  <c:pt idx="904">
                    <c:v>Rolling Mean (30 Minute)</c:v>
                  </c:pt>
                  <c:pt idx="905">
                    <c:v>Rolling Mean (30 Minute)</c:v>
                  </c:pt>
                  <c:pt idx="906">
                    <c:v>Rolling Mean (30 Minute)</c:v>
                  </c:pt>
                  <c:pt idx="907">
                    <c:v>Rolling Mean (30 Minute)</c:v>
                  </c:pt>
                  <c:pt idx="908">
                    <c:v>Rolling Mean (30 Minute)</c:v>
                  </c:pt>
                  <c:pt idx="909">
                    <c:v>Rolling Mean (30 Minute)</c:v>
                  </c:pt>
                  <c:pt idx="910">
                    <c:v>Rolling Mean (30 Minute)</c:v>
                  </c:pt>
                  <c:pt idx="911">
                    <c:v>Rolling Mean (30 Minute)</c:v>
                  </c:pt>
                  <c:pt idx="912">
                    <c:v>Rolling Mean (30 Minute)</c:v>
                  </c:pt>
                  <c:pt idx="913">
                    <c:v>Rolling Mean (30 Minute)</c:v>
                  </c:pt>
                  <c:pt idx="914">
                    <c:v>Rolling Mean (30 Minute)</c:v>
                  </c:pt>
                  <c:pt idx="915">
                    <c:v>Rolling Mean (30 Minute)</c:v>
                  </c:pt>
                  <c:pt idx="916">
                    <c:v>Rolling Mean (30 Minute)</c:v>
                  </c:pt>
                  <c:pt idx="917">
                    <c:v>Rolling Mean (30 Minute)</c:v>
                  </c:pt>
                  <c:pt idx="918">
                    <c:v>Rolling Mean (30 Minute)</c:v>
                  </c:pt>
                  <c:pt idx="919">
                    <c:v>Rolling Mean (30 Minute)</c:v>
                  </c:pt>
                  <c:pt idx="920">
                    <c:v>Rolling Mean (30 Minute)</c:v>
                  </c:pt>
                  <c:pt idx="921">
                    <c:v>Rolling Mean (30 Minute)</c:v>
                  </c:pt>
                  <c:pt idx="922">
                    <c:v>Rolling Mean (30 Minute)</c:v>
                  </c:pt>
                  <c:pt idx="923">
                    <c:v>Rolling Mean (30 Minute)</c:v>
                  </c:pt>
                  <c:pt idx="924">
                    <c:v>Rolling Mean (30 Minute)</c:v>
                  </c:pt>
                  <c:pt idx="925">
                    <c:v>Rolling Mean (30 Minute)</c:v>
                  </c:pt>
                  <c:pt idx="926">
                    <c:v>Rolling Mean (30 Minute)</c:v>
                  </c:pt>
                  <c:pt idx="927">
                    <c:v>Rolling Mean (30 Minute)</c:v>
                  </c:pt>
                  <c:pt idx="928">
                    <c:v>Rolling Mean (30 Minute)</c:v>
                  </c:pt>
                  <c:pt idx="929">
                    <c:v>Rolling Mean (30 Minute)</c:v>
                  </c:pt>
                  <c:pt idx="930">
                    <c:v>Rolling Mean (30 Minute)</c:v>
                  </c:pt>
                  <c:pt idx="931">
                    <c:v>Rolling Mean (30 Minute)</c:v>
                  </c:pt>
                  <c:pt idx="932">
                    <c:v>Rolling Mean (30 Minute)</c:v>
                  </c:pt>
                  <c:pt idx="933">
                    <c:v>Rolling Mean (30 Minute)</c:v>
                  </c:pt>
                  <c:pt idx="934">
                    <c:v>Rolling Mean (30 Minute)</c:v>
                  </c:pt>
                  <c:pt idx="935">
                    <c:v>Rolling Mean (30 Minute)</c:v>
                  </c:pt>
                  <c:pt idx="936">
                    <c:v>Rolling Mean (30 Minute)</c:v>
                  </c:pt>
                  <c:pt idx="937">
                    <c:v>Rolling Mean (30 Minute)</c:v>
                  </c:pt>
                  <c:pt idx="938">
                    <c:v>Rolling Mean (30 Minute)</c:v>
                  </c:pt>
                  <c:pt idx="939">
                    <c:v>Rolling Mean (30 Minute)</c:v>
                  </c:pt>
                  <c:pt idx="940">
                    <c:v>Rolling Mean (30 Minute)</c:v>
                  </c:pt>
                  <c:pt idx="941">
                    <c:v>Rolling Mean (30 Minute)</c:v>
                  </c:pt>
                  <c:pt idx="942">
                    <c:v>Rolling Mean (30 Minute)</c:v>
                  </c:pt>
                  <c:pt idx="943">
                    <c:v>Rolling Mean (30 Minute)</c:v>
                  </c:pt>
                  <c:pt idx="944">
                    <c:v>Rolling Mean (30 Minute)</c:v>
                  </c:pt>
                  <c:pt idx="945">
                    <c:v>Rolling Mean (30 Minute)</c:v>
                  </c:pt>
                  <c:pt idx="946">
                    <c:v>Rolling Mean (30 Minute)</c:v>
                  </c:pt>
                  <c:pt idx="947">
                    <c:v>Rolling Mean (30 Minute)</c:v>
                  </c:pt>
                  <c:pt idx="948">
                    <c:v>Rolling Mean (30 Minute)</c:v>
                  </c:pt>
                  <c:pt idx="949">
                    <c:v>Rolling Mean (30 Minute)</c:v>
                  </c:pt>
                  <c:pt idx="950">
                    <c:v>Rolling Mean (30 Minute)</c:v>
                  </c:pt>
                  <c:pt idx="951">
                    <c:v>Rolling Mean (30 Minute)</c:v>
                  </c:pt>
                  <c:pt idx="952">
                    <c:v>Rolling Mean (30 Minute)</c:v>
                  </c:pt>
                  <c:pt idx="953">
                    <c:v>Rolling Mean (30 Minute)</c:v>
                  </c:pt>
                  <c:pt idx="954">
                    <c:v>Rolling Mean (30 Minute)</c:v>
                  </c:pt>
                  <c:pt idx="955">
                    <c:v>Rolling Mean (30 Minute)</c:v>
                  </c:pt>
                  <c:pt idx="956">
                    <c:v>Rolling Mean (30 Minute)</c:v>
                  </c:pt>
                  <c:pt idx="957">
                    <c:v>Rolling Mean (30 Minute)</c:v>
                  </c:pt>
                  <c:pt idx="958">
                    <c:v>Rolling Mean (30 Minute)</c:v>
                  </c:pt>
                  <c:pt idx="959">
                    <c:v>Rolling Mean (30 Minute)</c:v>
                  </c:pt>
                  <c:pt idx="960">
                    <c:v>Rolling Mean (30 Minute)</c:v>
                  </c:pt>
                  <c:pt idx="961">
                    <c:v>Rolling Mean (30 Minute)</c:v>
                  </c:pt>
                  <c:pt idx="962">
                    <c:v>Rolling Mean (30 Minute)</c:v>
                  </c:pt>
                  <c:pt idx="963">
                    <c:v>Rolling Mean (30 Minute)</c:v>
                  </c:pt>
                  <c:pt idx="964">
                    <c:v>Rolling Mean (30 Minute)</c:v>
                  </c:pt>
                  <c:pt idx="965">
                    <c:v>Rolling Mean (30 Minute)</c:v>
                  </c:pt>
                  <c:pt idx="966">
                    <c:v>Rolling Mean (30 Minute)</c:v>
                  </c:pt>
                  <c:pt idx="967">
                    <c:v>Rolling Mean (30 Minute)</c:v>
                  </c:pt>
                  <c:pt idx="968">
                    <c:v>Rolling Mean (30 Minute)</c:v>
                  </c:pt>
                  <c:pt idx="969">
                    <c:v>Rolling Mean (30 Minute)</c:v>
                  </c:pt>
                  <c:pt idx="970">
                    <c:v>Rolling Mean (30 Minute)</c:v>
                  </c:pt>
                  <c:pt idx="971">
                    <c:v>Rolling Mean (30 Minute)</c:v>
                  </c:pt>
                  <c:pt idx="972">
                    <c:v>Rolling Mean (30 Minute)</c:v>
                  </c:pt>
                  <c:pt idx="973">
                    <c:v>Rolling Mean (30 Minute)</c:v>
                  </c:pt>
                  <c:pt idx="974">
                    <c:v>Rolling Mean (30 Minute)</c:v>
                  </c:pt>
                  <c:pt idx="975">
                    <c:v>Rolling Mean (30 Minute)</c:v>
                  </c:pt>
                  <c:pt idx="976">
                    <c:v>Rolling Mean (30 Minute)</c:v>
                  </c:pt>
                  <c:pt idx="977">
                    <c:v>Rolling Mean (30 Minute)</c:v>
                  </c:pt>
                  <c:pt idx="978">
                    <c:v>Rolling Mean (30 Minute)</c:v>
                  </c:pt>
                  <c:pt idx="979">
                    <c:v>Rolling Mean (30 Minute)</c:v>
                  </c:pt>
                  <c:pt idx="980">
                    <c:v>Rolling Mean (30 Minute)</c:v>
                  </c:pt>
                  <c:pt idx="981">
                    <c:v>Rolling Mean (30 Minute)</c:v>
                  </c:pt>
                  <c:pt idx="982">
                    <c:v>Rolling Mean (30 Minute)</c:v>
                  </c:pt>
                  <c:pt idx="983">
                    <c:v>Rolling Mean (30 Minute)</c:v>
                  </c:pt>
                  <c:pt idx="984">
                    <c:v>Rolling Mean (30 Minute)</c:v>
                  </c:pt>
                  <c:pt idx="985">
                    <c:v>Rolling Mean (30 Minute)</c:v>
                  </c:pt>
                  <c:pt idx="986">
                    <c:v>Rolling Mean (30 Minute)</c:v>
                  </c:pt>
                  <c:pt idx="987">
                    <c:v>Rolling Mean (30 Minute)</c:v>
                  </c:pt>
                  <c:pt idx="988">
                    <c:v>Rolling Mean (30 Minute)</c:v>
                  </c:pt>
                  <c:pt idx="989">
                    <c:v>Rolling Mean (30 Minute)</c:v>
                  </c:pt>
                  <c:pt idx="990">
                    <c:v>Rolling Mean (30 Minute)</c:v>
                  </c:pt>
                  <c:pt idx="991">
                    <c:v>Rolling Mean (30 Minute)</c:v>
                  </c:pt>
                  <c:pt idx="992">
                    <c:v>Rolling Mean (30 Minute)</c:v>
                  </c:pt>
                  <c:pt idx="993">
                    <c:v>Rolling Mean (30 Minute)</c:v>
                  </c:pt>
                  <c:pt idx="994">
                    <c:v>Rolling Mean (30 Minute)</c:v>
                  </c:pt>
                  <c:pt idx="995">
                    <c:v>Rolling Mean (30 Minute)</c:v>
                  </c:pt>
                  <c:pt idx="996">
                    <c:v>Rolling Mean (30 Minute)</c:v>
                  </c:pt>
                  <c:pt idx="997">
                    <c:v>Rolling Mean (30 Minute)</c:v>
                  </c:pt>
                  <c:pt idx="998">
                    <c:v>Rolling Mean (30 Minute)</c:v>
                  </c:pt>
                  <c:pt idx="999">
                    <c:v>Rolling Mean (30 Minute)</c:v>
                  </c:pt>
                  <c:pt idx="1000">
                    <c:v>Rolling Mean (30 Minute)</c:v>
                  </c:pt>
                  <c:pt idx="1001">
                    <c:v>Rolling Mean (30 Minute)</c:v>
                  </c:pt>
                  <c:pt idx="1002">
                    <c:v>Rolling Mean (30 Minute)</c:v>
                  </c:pt>
                  <c:pt idx="1003">
                    <c:v>Rolling Mean (30 Minute)</c:v>
                  </c:pt>
                  <c:pt idx="1004">
                    <c:v>Rolling Mean (30 Minute)</c:v>
                  </c:pt>
                  <c:pt idx="1005">
                    <c:v>Rolling Mean (30 Minute)</c:v>
                  </c:pt>
                  <c:pt idx="1006">
                    <c:v>Rolling Mean (30 Minute)</c:v>
                  </c:pt>
                  <c:pt idx="1007">
                    <c:v>Rolling Mean (30 Minute)</c:v>
                  </c:pt>
                  <c:pt idx="1008">
                    <c:v>Rolling Mean (30 Minute)</c:v>
                  </c:pt>
                  <c:pt idx="1009">
                    <c:v>Rolling Mean (30 Minute)</c:v>
                  </c:pt>
                  <c:pt idx="1010">
                    <c:v>Rolling Mean (30 Minute)</c:v>
                  </c:pt>
                  <c:pt idx="1011">
                    <c:v>Rolling Mean (30 Minute)</c:v>
                  </c:pt>
                  <c:pt idx="1012">
                    <c:v>Rolling Mean (30 Minute)</c:v>
                  </c:pt>
                  <c:pt idx="1013">
                    <c:v>Rolling Mean (30 Minute)</c:v>
                  </c:pt>
                  <c:pt idx="1014">
                    <c:v>Rolling Mean (30 Minute)</c:v>
                  </c:pt>
                  <c:pt idx="1015">
                    <c:v>Rolling Mean (30 Minute)</c:v>
                  </c:pt>
                  <c:pt idx="1016">
                    <c:v>Rolling Mean (30 Minute)</c:v>
                  </c:pt>
                  <c:pt idx="1017">
                    <c:v>Rolling Mean (30 Minute)</c:v>
                  </c:pt>
                  <c:pt idx="1018">
                    <c:v>Rolling Mean (30 Minute)</c:v>
                  </c:pt>
                  <c:pt idx="1019">
                    <c:v>Rolling Mean (30 Minute)</c:v>
                  </c:pt>
                  <c:pt idx="1020">
                    <c:v>Rolling Mean (30 Minute)</c:v>
                  </c:pt>
                  <c:pt idx="1021">
                    <c:v>Rolling Mean (30 Minute)</c:v>
                  </c:pt>
                  <c:pt idx="1022">
                    <c:v>Rolling Mean (30 Minute)</c:v>
                  </c:pt>
                  <c:pt idx="1023">
                    <c:v>Rolling Mean (30 Minute)</c:v>
                  </c:pt>
                  <c:pt idx="1024">
                    <c:v>Rolling Mean (30 Minute)</c:v>
                  </c:pt>
                  <c:pt idx="1025">
                    <c:v>Rolling Mean (30 Minute)</c:v>
                  </c:pt>
                  <c:pt idx="1026">
                    <c:v>Rolling Mean (30 Minute)</c:v>
                  </c:pt>
                  <c:pt idx="1027">
                    <c:v>Rolling Mean (30 Minute)</c:v>
                  </c:pt>
                  <c:pt idx="1028">
                    <c:v>Rolling Mean (30 Minute)</c:v>
                  </c:pt>
                  <c:pt idx="1029">
                    <c:v>Rolling Mean (30 Minute)</c:v>
                  </c:pt>
                  <c:pt idx="1030">
                    <c:v>Rolling Mean (30 Minute)</c:v>
                  </c:pt>
                  <c:pt idx="1031">
                    <c:v>Rolling Mean (30 Minute)</c:v>
                  </c:pt>
                  <c:pt idx="1032">
                    <c:v>Rolling Mean (30 Minute)</c:v>
                  </c:pt>
                  <c:pt idx="1033">
                    <c:v>Rolling Mean (30 Minute)</c:v>
                  </c:pt>
                  <c:pt idx="1034">
                    <c:v>Rolling Mean (30 Minute)</c:v>
                  </c:pt>
                  <c:pt idx="1035">
                    <c:v>Rolling Mean (30 Minute)</c:v>
                  </c:pt>
                  <c:pt idx="1036">
                    <c:v>Rolling Mean (30 Minute)</c:v>
                  </c:pt>
                  <c:pt idx="1037">
                    <c:v>Rolling Mean (30 Minute)</c:v>
                  </c:pt>
                  <c:pt idx="1038">
                    <c:v>Rolling Mean (30 Minute)</c:v>
                  </c:pt>
                  <c:pt idx="1039">
                    <c:v>Rolling Mean (30 Minute)</c:v>
                  </c:pt>
                  <c:pt idx="1040">
                    <c:v>Rolling Mean (30 Minute)</c:v>
                  </c:pt>
                  <c:pt idx="1041">
                    <c:v>Rolling Mean (30 Minute)</c:v>
                  </c:pt>
                  <c:pt idx="1042">
                    <c:v>Rolling Mean (30 Minute)</c:v>
                  </c:pt>
                  <c:pt idx="1043">
                    <c:v>Rolling Mean (30 Minute)</c:v>
                  </c:pt>
                  <c:pt idx="1044">
                    <c:v>Rolling Mean (30 Minute)</c:v>
                  </c:pt>
                  <c:pt idx="1045">
                    <c:v>Rolling Mean (30 Minute)</c:v>
                  </c:pt>
                  <c:pt idx="1046">
                    <c:v>Rolling Mean (30 Minute)</c:v>
                  </c:pt>
                  <c:pt idx="1047">
                    <c:v>Rolling Mean (30 Minute)</c:v>
                  </c:pt>
                  <c:pt idx="1048">
                    <c:v>Rolling Mean (30 Minute)</c:v>
                  </c:pt>
                  <c:pt idx="1049">
                    <c:v>Rolling Mean (30 Minute)</c:v>
                  </c:pt>
                  <c:pt idx="1050">
                    <c:v>Rolling Mean (30 Minute)</c:v>
                  </c:pt>
                  <c:pt idx="1051">
                    <c:v>Rolling Mean (30 Minute)</c:v>
                  </c:pt>
                  <c:pt idx="1052">
                    <c:v>Rolling Mean (30 Minute)</c:v>
                  </c:pt>
                  <c:pt idx="1053">
                    <c:v>Rolling Mean (30 Minute)</c:v>
                  </c:pt>
                  <c:pt idx="1054">
                    <c:v>Rolling Mean (30 Minute)</c:v>
                  </c:pt>
                  <c:pt idx="1055">
                    <c:v>Rolling Mean (30 Minute)</c:v>
                  </c:pt>
                  <c:pt idx="1056">
                    <c:v>Rolling Mean (30 Minute)</c:v>
                  </c:pt>
                  <c:pt idx="1057">
                    <c:v>Rolling Mean (30 Minute)</c:v>
                  </c:pt>
                  <c:pt idx="1058">
                    <c:v>Rolling Mean (30 Minute)</c:v>
                  </c:pt>
                  <c:pt idx="1059">
                    <c:v>Rolling Mean (30 Minute)</c:v>
                  </c:pt>
                  <c:pt idx="1060">
                    <c:v>Rolling Mean (30 Minute)</c:v>
                  </c:pt>
                  <c:pt idx="1061">
                    <c:v>Rolling Mean (30 Minute)</c:v>
                  </c:pt>
                  <c:pt idx="1062">
                    <c:v>Rolling Mean (30 Minute)</c:v>
                  </c:pt>
                  <c:pt idx="1063">
                    <c:v>Rolling Mean (30 Minute)</c:v>
                  </c:pt>
                  <c:pt idx="1064">
                    <c:v>Rolling Mean (30 Minute)</c:v>
                  </c:pt>
                  <c:pt idx="1065">
                    <c:v>Rolling Mean (30 Minute)</c:v>
                  </c:pt>
                  <c:pt idx="1066">
                    <c:v>Rolling Mean (30 Minute)</c:v>
                  </c:pt>
                  <c:pt idx="1067">
                    <c:v>Rolling Mean (30 Minute)</c:v>
                  </c:pt>
                  <c:pt idx="1068">
                    <c:v>Rolling Mean (30 Minute)</c:v>
                  </c:pt>
                  <c:pt idx="1069">
                    <c:v>Rolling Mean (30 Minute)</c:v>
                  </c:pt>
                  <c:pt idx="1070">
                    <c:v>Rolling Mean (30 Minute)</c:v>
                  </c:pt>
                  <c:pt idx="1071">
                    <c:v>Rolling Mean (30 Minute)</c:v>
                  </c:pt>
                  <c:pt idx="1072">
                    <c:v>Rolling Mean (30 Minute)</c:v>
                  </c:pt>
                  <c:pt idx="1073">
                    <c:v>Rolling Mean (30 Minute)</c:v>
                  </c:pt>
                  <c:pt idx="1074">
                    <c:v>Rolling Mean (30 Minute)</c:v>
                  </c:pt>
                  <c:pt idx="1075">
                    <c:v>Rolling Mean (30 Minute)</c:v>
                  </c:pt>
                  <c:pt idx="1076">
                    <c:v>Rolling Mean (30 Minute)</c:v>
                  </c:pt>
                  <c:pt idx="1077">
                    <c:v>Rolling Mean (30 Minute)</c:v>
                  </c:pt>
                  <c:pt idx="1078">
                    <c:v>Rolling Mean (30 Minute)</c:v>
                  </c:pt>
                  <c:pt idx="1079">
                    <c:v>Rolling Mean (30 Minute)</c:v>
                  </c:pt>
                  <c:pt idx="1080">
                    <c:v>Rolling Mean (30 Minute)</c:v>
                  </c:pt>
                  <c:pt idx="1081">
                    <c:v>Rolling Mean (30 Minute)</c:v>
                  </c:pt>
                  <c:pt idx="1082">
                    <c:v>Rolling Mean (30 Minute)</c:v>
                  </c:pt>
                  <c:pt idx="1083">
                    <c:v>Rolling Mean (30 Minute)</c:v>
                  </c:pt>
                  <c:pt idx="1084">
                    <c:v>Rolling Mean (30 Minute)</c:v>
                  </c:pt>
                  <c:pt idx="1085">
                    <c:v>Rolling Mean (30 Minute)</c:v>
                  </c:pt>
                  <c:pt idx="1086">
                    <c:v>Rolling Mean (30 Minute)</c:v>
                  </c:pt>
                  <c:pt idx="1087">
                    <c:v>Rolling Mean (30 Minute)</c:v>
                  </c:pt>
                  <c:pt idx="1088">
                    <c:v>Rolling Mean (30 Minute)</c:v>
                  </c:pt>
                  <c:pt idx="1089">
                    <c:v>Rolling Mean (30 Minute)</c:v>
                  </c:pt>
                  <c:pt idx="1090">
                    <c:v>Rolling Mean (30 Minute)</c:v>
                  </c:pt>
                  <c:pt idx="1091">
                    <c:v>Rolling Mean (30 Minute)</c:v>
                  </c:pt>
                  <c:pt idx="1092">
                    <c:v>Rolling Mean (30 Minute)</c:v>
                  </c:pt>
                  <c:pt idx="1093">
                    <c:v>Rolling Mean (30 Minute)</c:v>
                  </c:pt>
                  <c:pt idx="1094">
                    <c:v>Rolling Mean (30 Minute)</c:v>
                  </c:pt>
                  <c:pt idx="1095">
                    <c:v>Rolling Mean (30 Minute)</c:v>
                  </c:pt>
                  <c:pt idx="1096">
                    <c:v>Rolling Mean (30 Minute)</c:v>
                  </c:pt>
                  <c:pt idx="1097">
                    <c:v>Rolling Mean (30 Minute)</c:v>
                  </c:pt>
                  <c:pt idx="1098">
                    <c:v>Rolling Mean (30 Minute)</c:v>
                  </c:pt>
                  <c:pt idx="1099">
                    <c:v>Rolling Mean (30 Minute)</c:v>
                  </c:pt>
                  <c:pt idx="1100">
                    <c:v>Rolling Mean (30 Minute)</c:v>
                  </c:pt>
                  <c:pt idx="1101">
                    <c:v>Rolling Mean (30 Minute)</c:v>
                  </c:pt>
                  <c:pt idx="1102">
                    <c:v>Rolling Mean (30 Minute)</c:v>
                  </c:pt>
                  <c:pt idx="1103">
                    <c:v>Rolling Mean (30 Minute)</c:v>
                  </c:pt>
                  <c:pt idx="1104">
                    <c:v>Rolling Mean (30 Minute)</c:v>
                  </c:pt>
                  <c:pt idx="1105">
                    <c:v>Rolling Mean (30 Minute)</c:v>
                  </c:pt>
                  <c:pt idx="1106">
                    <c:v>Rolling Mean (30 Minute)</c:v>
                  </c:pt>
                  <c:pt idx="1107">
                    <c:v>Rolling Mean (30 Minute)</c:v>
                  </c:pt>
                  <c:pt idx="1108">
                    <c:v>Rolling Mean (30 Minute)</c:v>
                  </c:pt>
                  <c:pt idx="1109">
                    <c:v>Rolling Mean (30 Minute)</c:v>
                  </c:pt>
                  <c:pt idx="1110">
                    <c:v>Rolling Mean (30 Minute)</c:v>
                  </c:pt>
                  <c:pt idx="1111">
                    <c:v>Rolling Mean (30 Minute)</c:v>
                  </c:pt>
                  <c:pt idx="1112">
                    <c:v>Rolling Mean (30 Minute)</c:v>
                  </c:pt>
                  <c:pt idx="1113">
                    <c:v>Rolling Mean (30 Minute)</c:v>
                  </c:pt>
                  <c:pt idx="1114">
                    <c:v>Rolling Mean (30 Minute)</c:v>
                  </c:pt>
                  <c:pt idx="1115">
                    <c:v>Rolling Mean (30 Minute)</c:v>
                  </c:pt>
                  <c:pt idx="1116">
                    <c:v>Rolling Mean (30 Minute)</c:v>
                  </c:pt>
                  <c:pt idx="1117">
                    <c:v>Rolling Mean (30 Minute)</c:v>
                  </c:pt>
                  <c:pt idx="1118">
                    <c:v>Rolling Mean (30 Minute)</c:v>
                  </c:pt>
                  <c:pt idx="1119">
                    <c:v>Rolling Mean (30 Minute)</c:v>
                  </c:pt>
                  <c:pt idx="1120">
                    <c:v>Rolling Mean (30 Minute)</c:v>
                  </c:pt>
                  <c:pt idx="1121">
                    <c:v>Rolling Mean (30 Minute)</c:v>
                  </c:pt>
                  <c:pt idx="1122">
                    <c:v>Rolling Mean (30 Minute)</c:v>
                  </c:pt>
                  <c:pt idx="1123">
                    <c:v>Rolling Mean (30 Minute)</c:v>
                  </c:pt>
                  <c:pt idx="1124">
                    <c:v>Rolling Mean (30 Minute)</c:v>
                  </c:pt>
                  <c:pt idx="1125">
                    <c:v>Rolling Mean (30 Minute)</c:v>
                  </c:pt>
                  <c:pt idx="1126">
                    <c:v>Rolling Mean (30 Minute)</c:v>
                  </c:pt>
                  <c:pt idx="1127">
                    <c:v>Rolling Mean (30 Minute)</c:v>
                  </c:pt>
                  <c:pt idx="1128">
                    <c:v>Rolling Mean (30 Minute)</c:v>
                  </c:pt>
                  <c:pt idx="1129">
                    <c:v>Rolling Mean (30 Minute)</c:v>
                  </c:pt>
                  <c:pt idx="1130">
                    <c:v>Rolling Mean (30 Minute)</c:v>
                  </c:pt>
                  <c:pt idx="1131">
                    <c:v>Rolling Mean (30 Minute)</c:v>
                  </c:pt>
                  <c:pt idx="1132">
                    <c:v>Rolling Mean (30 Minute)</c:v>
                  </c:pt>
                  <c:pt idx="1133">
                    <c:v>Rolling Mean (30 Minute)</c:v>
                  </c:pt>
                  <c:pt idx="1134">
                    <c:v>Rolling Mean (30 Minute)</c:v>
                  </c:pt>
                  <c:pt idx="1135">
                    <c:v>Rolling Mean (30 Minute)</c:v>
                  </c:pt>
                  <c:pt idx="1136">
                    <c:v>Rolling Mean (30 Minute)</c:v>
                  </c:pt>
                  <c:pt idx="1137">
                    <c:v>Rolling Mean (30 Minute)</c:v>
                  </c:pt>
                  <c:pt idx="1138">
                    <c:v>Rolling Mean (30 Minute)</c:v>
                  </c:pt>
                  <c:pt idx="1139">
                    <c:v>Rolling Mean (30 Minute)</c:v>
                  </c:pt>
                  <c:pt idx="1140">
                    <c:v>Rolling Mean (30 Minute)</c:v>
                  </c:pt>
                  <c:pt idx="1141">
                    <c:v>Rolling Mean (30 Minute)</c:v>
                  </c:pt>
                  <c:pt idx="1142">
                    <c:v>Rolling Mean (30 Minute)</c:v>
                  </c:pt>
                  <c:pt idx="1143">
                    <c:v>Rolling Mean (30 Minute)</c:v>
                  </c:pt>
                  <c:pt idx="1144">
                    <c:v>Rolling Mean (30 Minute)</c:v>
                  </c:pt>
                  <c:pt idx="1145">
                    <c:v>Rolling Mean (30 Minute)</c:v>
                  </c:pt>
                  <c:pt idx="1146">
                    <c:v>Rolling Mean (30 Minute)</c:v>
                  </c:pt>
                  <c:pt idx="1147">
                    <c:v>Rolling Mean (30 Minute)</c:v>
                  </c:pt>
                  <c:pt idx="1148">
                    <c:v>Rolling Mean (30 Minute)</c:v>
                  </c:pt>
                  <c:pt idx="1149">
                    <c:v>Rolling Mean (30 Minute)</c:v>
                  </c:pt>
                  <c:pt idx="1150">
                    <c:v>Rolling Mean (30 Minute)</c:v>
                  </c:pt>
                  <c:pt idx="1151">
                    <c:v>Rolling Mean (30 Minute)</c:v>
                  </c:pt>
                  <c:pt idx="1152">
                    <c:v>Rolling Mean (30 Minute)</c:v>
                  </c:pt>
                  <c:pt idx="1153">
                    <c:v>Rolling Mean (30 Minute)</c:v>
                  </c:pt>
                  <c:pt idx="1154">
                    <c:v>Rolling Mean (30 Minute)</c:v>
                  </c:pt>
                  <c:pt idx="1155">
                    <c:v>Rolling Mean (30 Minute)</c:v>
                  </c:pt>
                  <c:pt idx="1156">
                    <c:v>Rolling Mean (30 Minute)</c:v>
                  </c:pt>
                  <c:pt idx="1157">
                    <c:v>Rolling Mean (30 Minute)</c:v>
                  </c:pt>
                  <c:pt idx="1158">
                    <c:v>Rolling Mean (30 Minute)</c:v>
                  </c:pt>
                  <c:pt idx="1159">
                    <c:v>Rolling Mean (30 Minute)</c:v>
                  </c:pt>
                  <c:pt idx="1160">
                    <c:v>Rolling Mean (30 Minute)</c:v>
                  </c:pt>
                  <c:pt idx="1161">
                    <c:v>Rolling Mean (30 Minute)</c:v>
                  </c:pt>
                  <c:pt idx="1162">
                    <c:v>Rolling Mean (30 Minute)</c:v>
                  </c:pt>
                  <c:pt idx="1163">
                    <c:v>Rolling Mean (30 Minute)</c:v>
                  </c:pt>
                  <c:pt idx="1164">
                    <c:v>Rolling Mean (30 Minute)</c:v>
                  </c:pt>
                  <c:pt idx="1165">
                    <c:v>Rolling Mean (30 Minute)</c:v>
                  </c:pt>
                  <c:pt idx="1166">
                    <c:v>Rolling Mean (30 Minute)</c:v>
                  </c:pt>
                  <c:pt idx="1167">
                    <c:v>Rolling Mean (30 Minute)</c:v>
                  </c:pt>
                  <c:pt idx="1168">
                    <c:v>Rolling Mean (30 Minute)</c:v>
                  </c:pt>
                  <c:pt idx="1169">
                    <c:v>Rolling Mean (30 Minute)</c:v>
                  </c:pt>
                  <c:pt idx="1170">
                    <c:v>Rolling Mean (30 Minute)</c:v>
                  </c:pt>
                  <c:pt idx="1171">
                    <c:v>Rolling Mean (30 Minute)</c:v>
                  </c:pt>
                  <c:pt idx="1172">
                    <c:v>Rolling Mean (30 Minute)</c:v>
                  </c:pt>
                  <c:pt idx="1173">
                    <c:v>Rolling Mean (30 Minute)</c:v>
                  </c:pt>
                  <c:pt idx="1174">
                    <c:v>Rolling Mean (30 Minute)</c:v>
                  </c:pt>
                  <c:pt idx="1175">
                    <c:v>Rolling Mean (30 Minute)</c:v>
                  </c:pt>
                  <c:pt idx="1176">
                    <c:v>Rolling Mean (30 Minute)</c:v>
                  </c:pt>
                  <c:pt idx="1177">
                    <c:v>Rolling Mean (30 Minute)</c:v>
                  </c:pt>
                  <c:pt idx="1178">
                    <c:v>Rolling Mean (30 Minute)</c:v>
                  </c:pt>
                  <c:pt idx="1179">
                    <c:v>Rolling Mean (30 Minute)</c:v>
                  </c:pt>
                  <c:pt idx="1180">
                    <c:v>Rolling Mean (30 Minute)</c:v>
                  </c:pt>
                  <c:pt idx="1181">
                    <c:v>Rolling Mean (30 Minute)</c:v>
                  </c:pt>
                  <c:pt idx="1182">
                    <c:v>Rolling Mean (30 Minute)</c:v>
                  </c:pt>
                  <c:pt idx="1183">
                    <c:v>Rolling Mean (30 Minute)</c:v>
                  </c:pt>
                  <c:pt idx="1184">
                    <c:v>Rolling Mean (30 Minute)</c:v>
                  </c:pt>
                  <c:pt idx="1185">
                    <c:v>Rolling Mean (30 Minute)</c:v>
                  </c:pt>
                  <c:pt idx="1186">
                    <c:v>Rolling Mean (30 Minute)</c:v>
                  </c:pt>
                  <c:pt idx="1187">
                    <c:v>Rolling Mean (30 Minute)</c:v>
                  </c:pt>
                  <c:pt idx="1188">
                    <c:v>Rolling Mean (30 Minute)</c:v>
                  </c:pt>
                  <c:pt idx="1189">
                    <c:v>Rolling Mean (30 Minute)</c:v>
                  </c:pt>
                  <c:pt idx="1190">
                    <c:v>Rolling Mean (30 Minute)</c:v>
                  </c:pt>
                  <c:pt idx="1191">
                    <c:v>Rolling Mean (30 Minute)</c:v>
                  </c:pt>
                  <c:pt idx="1192">
                    <c:v>Rolling Mean (30 Minute)</c:v>
                  </c:pt>
                  <c:pt idx="1193">
                    <c:v>Rolling Mean (30 Minute)</c:v>
                  </c:pt>
                  <c:pt idx="1194">
                    <c:v>Rolling Mean (30 Minute)</c:v>
                  </c:pt>
                  <c:pt idx="1195">
                    <c:v>Rolling Mean (30 Minute)</c:v>
                  </c:pt>
                  <c:pt idx="1196">
                    <c:v>Rolling Mean (30 Minute)</c:v>
                  </c:pt>
                  <c:pt idx="1197">
                    <c:v>Rolling Mean (30 Minute)</c:v>
                  </c:pt>
                  <c:pt idx="1198">
                    <c:v>Rolling Mean (30 Minute)</c:v>
                  </c:pt>
                  <c:pt idx="1199">
                    <c:v>Rolling Mean (30 Minute)</c:v>
                  </c:pt>
                  <c:pt idx="1200">
                    <c:v>Rolling Mean (30 Minute)</c:v>
                  </c:pt>
                  <c:pt idx="1201">
                    <c:v>Rolling Mean (30 Minute)</c:v>
                  </c:pt>
                  <c:pt idx="1202">
                    <c:v>Rolling Mean (30 Minute)</c:v>
                  </c:pt>
                  <c:pt idx="1203">
                    <c:v>Rolling Mean (30 Minute)</c:v>
                  </c:pt>
                  <c:pt idx="1204">
                    <c:v>Rolling Mean (30 Minute)</c:v>
                  </c:pt>
                  <c:pt idx="1205">
                    <c:v>Rolling Mean (30 Minute)</c:v>
                  </c:pt>
                  <c:pt idx="1206">
                    <c:v>Rolling Mean (30 Minute)</c:v>
                  </c:pt>
                  <c:pt idx="1207">
                    <c:v>Rolling Mean (30 Minute)</c:v>
                  </c:pt>
                  <c:pt idx="1208">
                    <c:v>Rolling Mean (30 Minute)</c:v>
                  </c:pt>
                  <c:pt idx="1209">
                    <c:v>Rolling Mean (30 Minute)</c:v>
                  </c:pt>
                  <c:pt idx="1210">
                    <c:v>Rolling Mean (30 Minute)</c:v>
                  </c:pt>
                  <c:pt idx="1211">
                    <c:v>Rolling Mean (30 Minute)</c:v>
                  </c:pt>
                  <c:pt idx="1212">
                    <c:v>Rolling Mean (30 Minute)</c:v>
                  </c:pt>
                  <c:pt idx="1213">
                    <c:v>Rolling Mean (30 Minute)</c:v>
                  </c:pt>
                  <c:pt idx="1214">
                    <c:v>Rolling Mean (30 Minute)</c:v>
                  </c:pt>
                  <c:pt idx="1215">
                    <c:v>Rolling Mean (30 Minute)</c:v>
                  </c:pt>
                  <c:pt idx="1216">
                    <c:v>Rolling Mean (30 Minute)</c:v>
                  </c:pt>
                  <c:pt idx="1217">
                    <c:v>Rolling Mean (30 Minute)</c:v>
                  </c:pt>
                  <c:pt idx="1218">
                    <c:v>Rolling Mean (30 Minute)</c:v>
                  </c:pt>
                  <c:pt idx="1219">
                    <c:v>Rolling Mean (30 Minute)</c:v>
                  </c:pt>
                  <c:pt idx="1220">
                    <c:v>Rolling Mean (30 Minute)</c:v>
                  </c:pt>
                  <c:pt idx="1221">
                    <c:v>Rolling Mean (30 Minute)</c:v>
                  </c:pt>
                  <c:pt idx="1222">
                    <c:v>Rolling Mean (30 Minute)</c:v>
                  </c:pt>
                  <c:pt idx="1223">
                    <c:v>Rolling Mean (30 Minute)</c:v>
                  </c:pt>
                  <c:pt idx="1224">
                    <c:v>Rolling Mean (30 Minute)</c:v>
                  </c:pt>
                  <c:pt idx="1225">
                    <c:v>Rolling Mean (30 Minute)</c:v>
                  </c:pt>
                  <c:pt idx="1226">
                    <c:v>Rolling Mean (30 Minute)</c:v>
                  </c:pt>
                  <c:pt idx="1227">
                    <c:v>Rolling Mean (30 Minute)</c:v>
                  </c:pt>
                  <c:pt idx="1228">
                    <c:v>Rolling Mean (30 Minute)</c:v>
                  </c:pt>
                  <c:pt idx="1229">
                    <c:v>Rolling Mean (30 Minute)</c:v>
                  </c:pt>
                  <c:pt idx="1230">
                    <c:v>Rolling Mean (30 Minute)</c:v>
                  </c:pt>
                  <c:pt idx="1231">
                    <c:v>Rolling Mean (30 Minute)</c:v>
                  </c:pt>
                  <c:pt idx="1232">
                    <c:v>Rolling Mean (30 Minute)</c:v>
                  </c:pt>
                  <c:pt idx="1233">
                    <c:v>Rolling Mean (30 Minute)</c:v>
                  </c:pt>
                  <c:pt idx="1234">
                    <c:v>Rolling Mean (30 Minute)</c:v>
                  </c:pt>
                  <c:pt idx="1235">
                    <c:v>Rolling Mean (30 Minute)</c:v>
                  </c:pt>
                  <c:pt idx="1236">
                    <c:v>Rolling Mean (30 Minute)</c:v>
                  </c:pt>
                  <c:pt idx="1237">
                    <c:v>Rolling Mean (30 Minute)</c:v>
                  </c:pt>
                  <c:pt idx="1238">
                    <c:v>Rolling Mean (30 Minute)</c:v>
                  </c:pt>
                  <c:pt idx="1239">
                    <c:v>Rolling Mean (30 Minute)</c:v>
                  </c:pt>
                  <c:pt idx="1240">
                    <c:v>Rolling Mean (30 Minute)</c:v>
                  </c:pt>
                  <c:pt idx="1241">
                    <c:v>Rolling Mean (30 Minute)</c:v>
                  </c:pt>
                  <c:pt idx="1242">
                    <c:v>Rolling Mean (30 Minute)</c:v>
                  </c:pt>
                  <c:pt idx="1243">
                    <c:v>Rolling Mean (30 Minute)</c:v>
                  </c:pt>
                  <c:pt idx="1244">
                    <c:v>Rolling Mean (30 Minute)</c:v>
                  </c:pt>
                  <c:pt idx="1245">
                    <c:v>Rolling Mean (30 Minute)</c:v>
                  </c:pt>
                  <c:pt idx="1246">
                    <c:v>Rolling Mean (30 Minute)</c:v>
                  </c:pt>
                  <c:pt idx="1247">
                    <c:v>Rolling Mean (30 Minute)</c:v>
                  </c:pt>
                  <c:pt idx="1248">
                    <c:v>Rolling Mean (30 Minute)</c:v>
                  </c:pt>
                  <c:pt idx="1249">
                    <c:v>Rolling Mean (30 Minute)</c:v>
                  </c:pt>
                  <c:pt idx="1250">
                    <c:v>Rolling Mean (30 Minute)</c:v>
                  </c:pt>
                  <c:pt idx="1251">
                    <c:v>Rolling Mean (30 Minute)</c:v>
                  </c:pt>
                  <c:pt idx="1252">
                    <c:v>Rolling Mean (30 Minute)</c:v>
                  </c:pt>
                  <c:pt idx="1253">
                    <c:v>Rolling Mean (30 Minute)</c:v>
                  </c:pt>
                  <c:pt idx="1254">
                    <c:v>Rolling Mean (30 Minute)</c:v>
                  </c:pt>
                  <c:pt idx="1255">
                    <c:v>Rolling Mean (30 Minute)</c:v>
                  </c:pt>
                  <c:pt idx="1256">
                    <c:v>Rolling Mean (30 Minute)</c:v>
                  </c:pt>
                  <c:pt idx="1257">
                    <c:v>Rolling Mean (30 Minute)</c:v>
                  </c:pt>
                  <c:pt idx="1258">
                    <c:v>Rolling Mean (30 Minute)</c:v>
                  </c:pt>
                  <c:pt idx="1259">
                    <c:v>Rolling Mean (30 Minute)</c:v>
                  </c:pt>
                  <c:pt idx="1260">
                    <c:v>Rolling Mean (30 Minute)</c:v>
                  </c:pt>
                  <c:pt idx="1261">
                    <c:v>Rolling Mean (30 Minute)</c:v>
                  </c:pt>
                  <c:pt idx="1262">
                    <c:v>Rolling Mean (30 Minute)</c:v>
                  </c:pt>
                  <c:pt idx="1263">
                    <c:v>Rolling Mean (30 Minute)</c:v>
                  </c:pt>
                  <c:pt idx="1264">
                    <c:v>Rolling Mean (30 Minute)</c:v>
                  </c:pt>
                  <c:pt idx="1265">
                    <c:v>Rolling Mean (30 Minute)</c:v>
                  </c:pt>
                  <c:pt idx="1266">
                    <c:v>Rolling Mean (30 Minute)</c:v>
                  </c:pt>
                  <c:pt idx="1267">
                    <c:v>Rolling Mean (30 Minute)</c:v>
                  </c:pt>
                  <c:pt idx="1268">
                    <c:v>Rolling Mean (30 Minute)</c:v>
                  </c:pt>
                  <c:pt idx="1269">
                    <c:v>Rolling Mean (30 Minute)</c:v>
                  </c:pt>
                  <c:pt idx="1270">
                    <c:v>Rolling Mean (30 Minute)</c:v>
                  </c:pt>
                  <c:pt idx="1271">
                    <c:v>Rolling Mean (30 Minute)</c:v>
                  </c:pt>
                  <c:pt idx="1272">
                    <c:v>Rolling Mean (30 Minute)</c:v>
                  </c:pt>
                  <c:pt idx="1273">
                    <c:v>Rolling Mean (30 Minute)</c:v>
                  </c:pt>
                  <c:pt idx="1274">
                    <c:v>Rolling Mean (30 Minute)</c:v>
                  </c:pt>
                  <c:pt idx="1275">
                    <c:v>Rolling Mean (30 Minute)</c:v>
                  </c:pt>
                  <c:pt idx="1276">
                    <c:v>Rolling Mean (30 Minute)</c:v>
                  </c:pt>
                  <c:pt idx="1277">
                    <c:v>Rolling Mean (30 Minute)</c:v>
                  </c:pt>
                  <c:pt idx="1278">
                    <c:v>Rolling Mean (30 Minute)</c:v>
                  </c:pt>
                  <c:pt idx="1279">
                    <c:v>Rolling Mean (30 Minute)</c:v>
                  </c:pt>
                  <c:pt idx="1280">
                    <c:v>Rolling Mean (30 Minute)</c:v>
                  </c:pt>
                  <c:pt idx="1281">
                    <c:v>Rolling Mean (30 Minute)</c:v>
                  </c:pt>
                  <c:pt idx="1282">
                    <c:v>Rolling Mean (30 Minute)</c:v>
                  </c:pt>
                  <c:pt idx="1283">
                    <c:v>Rolling Mean (30 Minute)</c:v>
                  </c:pt>
                  <c:pt idx="1284">
                    <c:v>Rolling Mean (30 Minute)</c:v>
                  </c:pt>
                  <c:pt idx="1285">
                    <c:v>Rolling Mean (30 Minute)</c:v>
                  </c:pt>
                  <c:pt idx="1286">
                    <c:v>Rolling Mean (30 Minute)</c:v>
                  </c:pt>
                  <c:pt idx="1287">
                    <c:v>Rolling Mean (30 Minute)</c:v>
                  </c:pt>
                  <c:pt idx="1288">
                    <c:v>Rolling Mean (30 Minute)</c:v>
                  </c:pt>
                  <c:pt idx="1289">
                    <c:v>Rolling Mean (30 Minute)</c:v>
                  </c:pt>
                  <c:pt idx="1290">
                    <c:v>Rolling Mean (30 Minute)</c:v>
                  </c:pt>
                  <c:pt idx="1291">
                    <c:v>Rolling Mean (30 Minute)</c:v>
                  </c:pt>
                  <c:pt idx="1292">
                    <c:v>Rolling Mean (30 Minute)</c:v>
                  </c:pt>
                  <c:pt idx="1293">
                    <c:v>Rolling Mean (30 Minute)</c:v>
                  </c:pt>
                  <c:pt idx="1294">
                    <c:v>Rolling Mean (30 Minute)</c:v>
                  </c:pt>
                  <c:pt idx="1295">
                    <c:v>Rolling Mean (30 Minute)</c:v>
                  </c:pt>
                  <c:pt idx="1296">
                    <c:v>Rolling Mean (30 Minute)</c:v>
                  </c:pt>
                  <c:pt idx="1297">
                    <c:v>Rolling Mean (30 Minute)</c:v>
                  </c:pt>
                  <c:pt idx="1298">
                    <c:v>Rolling Mean (30 Minute)</c:v>
                  </c:pt>
                  <c:pt idx="1299">
                    <c:v>Rolling Mean (30 Minute)</c:v>
                  </c:pt>
                  <c:pt idx="1300">
                    <c:v>Rolling Mean (30 Minute)</c:v>
                  </c:pt>
                  <c:pt idx="1301">
                    <c:v>Rolling Mean (30 Minute)</c:v>
                  </c:pt>
                  <c:pt idx="1302">
                    <c:v>Rolling Mean (30 Minute)</c:v>
                  </c:pt>
                  <c:pt idx="1303">
                    <c:v>Rolling Mean (30 Minute)</c:v>
                  </c:pt>
                  <c:pt idx="1304">
                    <c:v>Rolling Mean (30 Minute)</c:v>
                  </c:pt>
                  <c:pt idx="1305">
                    <c:v>Rolling Mean (30 Minute)</c:v>
                  </c:pt>
                  <c:pt idx="1306">
                    <c:v>Rolling Mean (30 Minute)</c:v>
                  </c:pt>
                  <c:pt idx="1307">
                    <c:v>Rolling Mean (30 Minute)</c:v>
                  </c:pt>
                  <c:pt idx="1308">
                    <c:v>Rolling Mean (30 Minute)</c:v>
                  </c:pt>
                  <c:pt idx="1309">
                    <c:v>Rolling Mean (30 Minute)</c:v>
                  </c:pt>
                  <c:pt idx="1310">
                    <c:v>Rolling Mean (30 Minute)</c:v>
                  </c:pt>
                  <c:pt idx="1311">
                    <c:v>Rolling Mean (30 Minute)</c:v>
                  </c:pt>
                  <c:pt idx="1312">
                    <c:v>Rolling Mean (30 Minute)</c:v>
                  </c:pt>
                  <c:pt idx="1313">
                    <c:v>Rolling Mean (30 Minute)</c:v>
                  </c:pt>
                  <c:pt idx="1314">
                    <c:v>Rolling Mean (30 Minute)</c:v>
                  </c:pt>
                  <c:pt idx="1315">
                    <c:v>Rolling Mean (30 Minute)</c:v>
                  </c:pt>
                  <c:pt idx="1316">
                    <c:v>Rolling Mean (30 Minute)</c:v>
                  </c:pt>
                  <c:pt idx="1317">
                    <c:v>Rolling Mean (30 Minute)</c:v>
                  </c:pt>
                  <c:pt idx="1318">
                    <c:v>Rolling Mean (30 Minute)</c:v>
                  </c:pt>
                  <c:pt idx="1319">
                    <c:v>Rolling Mean (30 Minute)</c:v>
                  </c:pt>
                  <c:pt idx="1320">
                    <c:v>Rolling Mean (30 Minute)</c:v>
                  </c:pt>
                  <c:pt idx="1321">
                    <c:v>Rolling Mean (30 Minute)</c:v>
                  </c:pt>
                  <c:pt idx="1322">
                    <c:v>Rolling Mean (30 Minute)</c:v>
                  </c:pt>
                  <c:pt idx="1323">
                    <c:v>Rolling Mean (30 Minute)</c:v>
                  </c:pt>
                  <c:pt idx="1324">
                    <c:v>Rolling Mean (30 Minute)</c:v>
                  </c:pt>
                  <c:pt idx="1325">
                    <c:v>Rolling Mean (30 Minute)</c:v>
                  </c:pt>
                  <c:pt idx="1326">
                    <c:v>Rolling Mean (30 Minute)</c:v>
                  </c:pt>
                  <c:pt idx="1327">
                    <c:v>Rolling Mean (30 Minute)</c:v>
                  </c:pt>
                  <c:pt idx="1328">
                    <c:v>Rolling Mean (30 Minute)</c:v>
                  </c:pt>
                  <c:pt idx="1329">
                    <c:v>Rolling Mean (30 Minute)</c:v>
                  </c:pt>
                  <c:pt idx="1330">
                    <c:v>Rolling Mean (30 Minute)</c:v>
                  </c:pt>
                  <c:pt idx="1331">
                    <c:v>Rolling Mean (30 Minute)</c:v>
                  </c:pt>
                  <c:pt idx="1332">
                    <c:v>Rolling Mean (30 Minute)</c:v>
                  </c:pt>
                  <c:pt idx="1333">
                    <c:v>Rolling Mean (30 Minute)</c:v>
                  </c:pt>
                  <c:pt idx="1334">
                    <c:v>Rolling Mean (30 Minute)</c:v>
                  </c:pt>
                  <c:pt idx="1335">
                    <c:v>Rolling Mean (30 Minute)</c:v>
                  </c:pt>
                  <c:pt idx="1336">
                    <c:v>Rolling Mean (30 Minute)</c:v>
                  </c:pt>
                  <c:pt idx="1337">
                    <c:v>Rolling Mean (30 Minute)</c:v>
                  </c:pt>
                  <c:pt idx="1338">
                    <c:v>Rolling Mean (30 Minute)</c:v>
                  </c:pt>
                  <c:pt idx="1339">
                    <c:v>Rolling Mean (30 Minute)</c:v>
                  </c:pt>
                  <c:pt idx="1340">
                    <c:v>Rolling Mean (30 Minute)</c:v>
                  </c:pt>
                  <c:pt idx="1341">
                    <c:v>Rolling Mean (30 Minute)</c:v>
                  </c:pt>
                  <c:pt idx="1342">
                    <c:v>Rolling Mean (30 Minute)</c:v>
                  </c:pt>
                  <c:pt idx="1343">
                    <c:v>Rolling Mean (30 Minute)</c:v>
                  </c:pt>
                  <c:pt idx="1344">
                    <c:v>Rolling Mean (30 Minute)</c:v>
                  </c:pt>
                  <c:pt idx="1345">
                    <c:v>Rolling Mean (30 Minute)</c:v>
                  </c:pt>
                  <c:pt idx="1346">
                    <c:v>Rolling Mean (30 Minute)</c:v>
                  </c:pt>
                  <c:pt idx="1347">
                    <c:v>Rolling Mean (30 Minute)</c:v>
                  </c:pt>
                  <c:pt idx="1348">
                    <c:v>Rolling Mean (30 Minute)</c:v>
                  </c:pt>
                  <c:pt idx="1349">
                    <c:v>Rolling Mean (30 Minute)</c:v>
                  </c:pt>
                  <c:pt idx="1350">
                    <c:v>Rolling Mean (30 Minute)</c:v>
                  </c:pt>
                  <c:pt idx="1351">
                    <c:v>Rolling Mean (30 Minute)</c:v>
                  </c:pt>
                  <c:pt idx="1352">
                    <c:v>Rolling Mean (30 Minute)</c:v>
                  </c:pt>
                  <c:pt idx="1353">
                    <c:v>Rolling Mean (30 Minute)</c:v>
                  </c:pt>
                  <c:pt idx="1354">
                    <c:v>Rolling Mean (30 Minute)</c:v>
                  </c:pt>
                  <c:pt idx="1355">
                    <c:v>Rolling Mean (30 Minute)</c:v>
                  </c:pt>
                  <c:pt idx="1356">
                    <c:v>Rolling Mean (30 Minute)</c:v>
                  </c:pt>
                  <c:pt idx="1357">
                    <c:v>Rolling Mean (30 Minute)</c:v>
                  </c:pt>
                  <c:pt idx="1358">
                    <c:v>Rolling Mean (30 Minute)</c:v>
                  </c:pt>
                  <c:pt idx="1359">
                    <c:v>Rolling Mean (30 Minute)</c:v>
                  </c:pt>
                  <c:pt idx="1360">
                    <c:v>Rolling Mean (30 Minute)</c:v>
                  </c:pt>
                  <c:pt idx="1361">
                    <c:v>Rolling Mean (30 Minute)</c:v>
                  </c:pt>
                  <c:pt idx="1362">
                    <c:v>Rolling Mean (30 Minute)</c:v>
                  </c:pt>
                  <c:pt idx="1363">
                    <c:v>Rolling Mean (30 Minute)</c:v>
                  </c:pt>
                  <c:pt idx="1364">
                    <c:v>Rolling Mean (30 Minute)</c:v>
                  </c:pt>
                  <c:pt idx="1365">
                    <c:v>Rolling Mean (30 Minute)</c:v>
                  </c:pt>
                  <c:pt idx="1366">
                    <c:v>Rolling Mean (30 Minute)</c:v>
                  </c:pt>
                  <c:pt idx="1367">
                    <c:v>Rolling Mean (30 Minute)</c:v>
                  </c:pt>
                  <c:pt idx="1368">
                    <c:v>Rolling Mean (30 Minute)</c:v>
                  </c:pt>
                  <c:pt idx="1369">
                    <c:v>Rolling Mean (30 Minute)</c:v>
                  </c:pt>
                  <c:pt idx="1370">
                    <c:v>Rolling Mean (30 Minute)</c:v>
                  </c:pt>
                  <c:pt idx="1371">
                    <c:v>Rolling Mean (30 Minute)</c:v>
                  </c:pt>
                  <c:pt idx="1372">
                    <c:v>Rolling Mean (30 Minute)</c:v>
                  </c:pt>
                  <c:pt idx="1373">
                    <c:v>Rolling Mean (30 Minute)</c:v>
                  </c:pt>
                  <c:pt idx="1374">
                    <c:v>Rolling Mean (30 Minute)</c:v>
                  </c:pt>
                  <c:pt idx="1375">
                    <c:v>Rolling Mean (30 Minute)</c:v>
                  </c:pt>
                  <c:pt idx="1376">
                    <c:v>Rolling Mean (30 Minute)</c:v>
                  </c:pt>
                  <c:pt idx="1377">
                    <c:v>Rolling Mean (30 Minute)</c:v>
                  </c:pt>
                  <c:pt idx="1378">
                    <c:v>Rolling Mean (30 Minute)</c:v>
                  </c:pt>
                  <c:pt idx="1379">
                    <c:v>Rolling Mean (30 Minute)</c:v>
                  </c:pt>
                  <c:pt idx="1380">
                    <c:v>Rolling Mean (30 Minute)</c:v>
                  </c:pt>
                  <c:pt idx="1381">
                    <c:v>Rolling Mean (30 Minute)</c:v>
                  </c:pt>
                  <c:pt idx="1382">
                    <c:v>Rolling Mean (30 Minute)</c:v>
                  </c:pt>
                  <c:pt idx="1383">
                    <c:v>Rolling Mean (30 Minute)</c:v>
                  </c:pt>
                  <c:pt idx="1384">
                    <c:v>Rolling Mean (30 Minute)</c:v>
                  </c:pt>
                  <c:pt idx="1385">
                    <c:v>Rolling Mean (30 Minute)</c:v>
                  </c:pt>
                  <c:pt idx="1386">
                    <c:v>Rolling Mean (30 Minute)</c:v>
                  </c:pt>
                  <c:pt idx="1387">
                    <c:v>Rolling Mean (30 Minute)</c:v>
                  </c:pt>
                  <c:pt idx="1388">
                    <c:v>Rolling Mean (30 Minute)</c:v>
                  </c:pt>
                  <c:pt idx="1389">
                    <c:v>Rolling Mean (30 Minute)</c:v>
                  </c:pt>
                  <c:pt idx="1390">
                    <c:v>Rolling Mean (30 Minute)</c:v>
                  </c:pt>
                  <c:pt idx="1391">
                    <c:v>Rolling Mean (30 Minute)</c:v>
                  </c:pt>
                  <c:pt idx="1392">
                    <c:v>Rolling Mean (30 Minute)</c:v>
                  </c:pt>
                  <c:pt idx="1393">
                    <c:v>Rolling Mean (30 Minute)</c:v>
                  </c:pt>
                  <c:pt idx="1394">
                    <c:v>Rolling Mean (30 Minute)</c:v>
                  </c:pt>
                  <c:pt idx="1395">
                    <c:v>Rolling Mean (30 Minute)</c:v>
                  </c:pt>
                  <c:pt idx="1396">
                    <c:v>Rolling Mean (30 Minute)</c:v>
                  </c:pt>
                  <c:pt idx="1397">
                    <c:v>Rolling Mean (30 Minute)</c:v>
                  </c:pt>
                  <c:pt idx="1398">
                    <c:v>Rolling Mean (30 Minute)</c:v>
                  </c:pt>
                  <c:pt idx="1399">
                    <c:v>Rolling Mean (30 Minute)</c:v>
                  </c:pt>
                  <c:pt idx="1400">
                    <c:v>Rolling Mean (30 Minute)</c:v>
                  </c:pt>
                  <c:pt idx="1401">
                    <c:v>Rolling Mean (30 Minute)</c:v>
                  </c:pt>
                  <c:pt idx="1402">
                    <c:v>Rolling Mean (30 Minute)</c:v>
                  </c:pt>
                  <c:pt idx="1403">
                    <c:v>Rolling Mean (30 Minute)</c:v>
                  </c:pt>
                  <c:pt idx="1404">
                    <c:v>Rolling Mean (30 Minute)</c:v>
                  </c:pt>
                  <c:pt idx="1405">
                    <c:v>Rolling Mean (30 Minute)</c:v>
                  </c:pt>
                  <c:pt idx="1406">
                    <c:v>Rolling Mean (30 Minute)</c:v>
                  </c:pt>
                  <c:pt idx="1407">
                    <c:v>Rolling Mean (30 Minute)</c:v>
                  </c:pt>
                  <c:pt idx="1408">
                    <c:v>Rolling Mean (30 Minute)</c:v>
                  </c:pt>
                  <c:pt idx="1409">
                    <c:v>Rolling Mean (30 Minute)</c:v>
                  </c:pt>
                  <c:pt idx="1410">
                    <c:v>Rolling Mean (30 Minute)</c:v>
                  </c:pt>
                  <c:pt idx="1411">
                    <c:v>Rolling Mean (30 Minute)</c:v>
                  </c:pt>
                  <c:pt idx="1412">
                    <c:v>Rolling Mean (30 Minute)</c:v>
                  </c:pt>
                  <c:pt idx="1413">
                    <c:v>Rolling Mean (30 Minute)</c:v>
                  </c:pt>
                  <c:pt idx="1414">
                    <c:v>Rolling Mean (30 Minute)</c:v>
                  </c:pt>
                  <c:pt idx="1415">
                    <c:v>Rolling Mean (30 Minute)</c:v>
                  </c:pt>
                  <c:pt idx="1416">
                    <c:v>Rolling Mean (30 Minute)</c:v>
                  </c:pt>
                  <c:pt idx="1417">
                    <c:v>Rolling Mean (30 Minute)</c:v>
                  </c:pt>
                  <c:pt idx="1418">
                    <c:v>Rolling Mean (30 Minute)</c:v>
                  </c:pt>
                  <c:pt idx="1419">
                    <c:v>Rolling Mean (30 Minute)</c:v>
                  </c:pt>
                  <c:pt idx="1420">
                    <c:v>Rolling Mean (30 Minute)</c:v>
                  </c:pt>
                  <c:pt idx="1421">
                    <c:v>Rolling Mean (30 Minute)</c:v>
                  </c:pt>
                  <c:pt idx="1422">
                    <c:v>Rolling Mean (30 Minute)</c:v>
                  </c:pt>
                  <c:pt idx="1423">
                    <c:v>Rolling Mean (30 Minute)</c:v>
                  </c:pt>
                  <c:pt idx="1424">
                    <c:v>Rolling Mean (30 Minute)</c:v>
                  </c:pt>
                  <c:pt idx="1425">
                    <c:v>Rolling Mean (30 Minute)</c:v>
                  </c:pt>
                  <c:pt idx="1426">
                    <c:v>Rolling Mean (30 Minute)</c:v>
                  </c:pt>
                  <c:pt idx="1427">
                    <c:v>Rolling Mean (30 Minute)</c:v>
                  </c:pt>
                  <c:pt idx="1428">
                    <c:v>Rolling Mean (30 Minute)</c:v>
                  </c:pt>
                  <c:pt idx="1429">
                    <c:v>Rolling Mean (30 Minute)</c:v>
                  </c:pt>
                  <c:pt idx="1430">
                    <c:v>Rolling Mean (30 Minute)</c:v>
                  </c:pt>
                  <c:pt idx="1431">
                    <c:v>Rolling Mean (30 Minute)</c:v>
                  </c:pt>
                  <c:pt idx="1432">
                    <c:v>Rolling Mean (30 Minute)</c:v>
                  </c:pt>
                  <c:pt idx="1433">
                    <c:v>Rolling Mean (30 Minute)</c:v>
                  </c:pt>
                  <c:pt idx="1434">
                    <c:v>Rolling Mean (30 Minute)</c:v>
                  </c:pt>
                  <c:pt idx="1435">
                    <c:v>Rolling Mean (30 Minute)</c:v>
                  </c:pt>
                  <c:pt idx="1436">
                    <c:v>Rolling Mean (30 Minute)</c:v>
                  </c:pt>
                  <c:pt idx="1437">
                    <c:v>Rolling Mean (30 Minute)</c:v>
                  </c:pt>
                  <c:pt idx="1438">
                    <c:v>Rolling Mean (30 Minute)</c:v>
                  </c:pt>
                  <c:pt idx="1439">
                    <c:v>Rolling Mean (30 Minute)</c:v>
                  </c:pt>
                  <c:pt idx="1440">
                    <c:v>Rolling Mean (30 Minute)</c:v>
                  </c:pt>
                  <c:pt idx="1441">
                    <c:v>Rolling Mean (30 Minute)</c:v>
                  </c:pt>
                  <c:pt idx="1442">
                    <c:v>Rolling Mean (30 Minute)</c:v>
                  </c:pt>
                  <c:pt idx="1443">
                    <c:v>Rolling Mean (30 Minute)</c:v>
                  </c:pt>
                  <c:pt idx="1444">
                    <c:v>Rolling Mean (30 Minute)</c:v>
                  </c:pt>
                  <c:pt idx="1445">
                    <c:v>Rolling Mean (30 Minute)</c:v>
                  </c:pt>
                  <c:pt idx="1446">
                    <c:v>Rolling Mean (30 Minute)</c:v>
                  </c:pt>
                  <c:pt idx="1447">
                    <c:v>Rolling Mean (30 Minute)</c:v>
                  </c:pt>
                  <c:pt idx="1448">
                    <c:v>Rolling Mean (30 Minute)</c:v>
                  </c:pt>
                  <c:pt idx="1449">
                    <c:v>Rolling Mean (30 Minute)</c:v>
                  </c:pt>
                  <c:pt idx="1450">
                    <c:v>Rolling Mean (30 Minute)</c:v>
                  </c:pt>
                  <c:pt idx="1451">
                    <c:v>Rolling Mean (30 Minute)</c:v>
                  </c:pt>
                  <c:pt idx="1452">
                    <c:v>Rolling Mean (30 Minute)</c:v>
                  </c:pt>
                  <c:pt idx="1453">
                    <c:v>Rolling Mean (30 Minute)</c:v>
                  </c:pt>
                  <c:pt idx="1454">
                    <c:v>Rolling Mean (30 Minute)</c:v>
                  </c:pt>
                  <c:pt idx="1455">
                    <c:v>Rolling Mean (30 Minute)</c:v>
                  </c:pt>
                  <c:pt idx="1456">
                    <c:v>Rolling Mean (30 Minute)</c:v>
                  </c:pt>
                  <c:pt idx="1457">
                    <c:v>Rolling Mean (30 Minute)</c:v>
                  </c:pt>
                  <c:pt idx="1458">
                    <c:v>Rolling Mean (30 Minute)</c:v>
                  </c:pt>
                  <c:pt idx="1459">
                    <c:v>Rolling Mean (30 Minute)</c:v>
                  </c:pt>
                  <c:pt idx="1460">
                    <c:v>Rolling Mean (30 Minute)</c:v>
                  </c:pt>
                  <c:pt idx="1461">
                    <c:v>Rolling Mean (30 Minute)</c:v>
                  </c:pt>
                  <c:pt idx="1462">
                    <c:v>Rolling Mean (30 Minute)</c:v>
                  </c:pt>
                  <c:pt idx="1463">
                    <c:v>Rolling Mean (30 Minute)</c:v>
                  </c:pt>
                  <c:pt idx="1464">
                    <c:v>Rolling Mean (30 Minute)</c:v>
                  </c:pt>
                  <c:pt idx="1465">
                    <c:v>Rolling Mean (30 Minute)</c:v>
                  </c:pt>
                  <c:pt idx="1466">
                    <c:v>Rolling Mean (30 Minute)</c:v>
                  </c:pt>
                  <c:pt idx="1467">
                    <c:v>Rolling Mean (30 Minute)</c:v>
                  </c:pt>
                  <c:pt idx="1468">
                    <c:v>Rolling Mean (30 Minute)</c:v>
                  </c:pt>
                  <c:pt idx="1469">
                    <c:v>Rolling Mean (30 Minute)</c:v>
                  </c:pt>
                  <c:pt idx="1470">
                    <c:v>Rolling Mean (30 Minute)</c:v>
                  </c:pt>
                  <c:pt idx="1471">
                    <c:v>Rolling Mean (30 Minute)</c:v>
                  </c:pt>
                  <c:pt idx="1472">
                    <c:v>Rolling Mean (30 Minute)</c:v>
                  </c:pt>
                  <c:pt idx="1473">
                    <c:v>Rolling Mean (30 Minute)</c:v>
                  </c:pt>
                  <c:pt idx="1474">
                    <c:v>Rolling Mean (30 Minute)</c:v>
                  </c:pt>
                  <c:pt idx="1475">
                    <c:v>Rolling Mean (30 Minute)</c:v>
                  </c:pt>
                  <c:pt idx="1476">
                    <c:v>Rolling Mean (30 Minute)</c:v>
                  </c:pt>
                  <c:pt idx="1477">
                    <c:v>Rolling Mean (30 Minute)</c:v>
                  </c:pt>
                  <c:pt idx="1478">
                    <c:v>Rolling Mean (30 Minute)</c:v>
                  </c:pt>
                  <c:pt idx="1479">
                    <c:v>Rolling Mean (30 Minute)</c:v>
                  </c:pt>
                  <c:pt idx="1480">
                    <c:v>Rolling Mean (30 Minute)</c:v>
                  </c:pt>
                  <c:pt idx="1481">
                    <c:v>Rolling Mean (30 Minute)</c:v>
                  </c:pt>
                  <c:pt idx="1482">
                    <c:v>Rolling Mean (30 Minute)</c:v>
                  </c:pt>
                  <c:pt idx="1483">
                    <c:v>Rolling Mean (30 Minute)</c:v>
                  </c:pt>
                  <c:pt idx="1484">
                    <c:v>Rolling Mean (30 Minute)</c:v>
                  </c:pt>
                  <c:pt idx="1485">
                    <c:v>Rolling Mean (30 Minute)</c:v>
                  </c:pt>
                  <c:pt idx="1486">
                    <c:v>Rolling Mean (30 Minute)</c:v>
                  </c:pt>
                  <c:pt idx="1487">
                    <c:v>Rolling Mean (30 Minute)</c:v>
                  </c:pt>
                  <c:pt idx="1488">
                    <c:v>Rolling Mean (30 Minute)</c:v>
                  </c:pt>
                  <c:pt idx="1489">
                    <c:v>Rolling Mean (30 Minute)</c:v>
                  </c:pt>
                  <c:pt idx="1490">
                    <c:v>Rolling Mean (30 Minute)</c:v>
                  </c:pt>
                  <c:pt idx="1491">
                    <c:v>Rolling Mean (30 Minute)</c:v>
                  </c:pt>
                  <c:pt idx="1492">
                    <c:v>Rolling Mean (30 Minute)</c:v>
                  </c:pt>
                  <c:pt idx="1493">
                    <c:v>Rolling Mean (30 Minute)</c:v>
                  </c:pt>
                  <c:pt idx="1494">
                    <c:v>Rolling Mean (30 Minute)</c:v>
                  </c:pt>
                  <c:pt idx="1495">
                    <c:v>Rolling Mean (30 Minute)</c:v>
                  </c:pt>
                  <c:pt idx="1496">
                    <c:v>Rolling Mean (30 Minute)</c:v>
                  </c:pt>
                  <c:pt idx="1497">
                    <c:v>Rolling Mean (30 Minute)</c:v>
                  </c:pt>
                  <c:pt idx="1498">
                    <c:v>Rolling Mean (30 Minute)</c:v>
                  </c:pt>
                  <c:pt idx="1499">
                    <c:v>Rolling Mean (30 Minute)</c:v>
                  </c:pt>
                  <c:pt idx="1500">
                    <c:v>Rolling Mean (30 Minute)</c:v>
                  </c:pt>
                  <c:pt idx="1501">
                    <c:v>Rolling Mean (30 Minute)</c:v>
                  </c:pt>
                  <c:pt idx="1502">
                    <c:v>Rolling Mean (30 Minute)</c:v>
                  </c:pt>
                  <c:pt idx="1503">
                    <c:v>Rolling Mean (30 Minute)</c:v>
                  </c:pt>
                  <c:pt idx="1504">
                    <c:v>Rolling Mean (30 Minute)</c:v>
                  </c:pt>
                  <c:pt idx="1505">
                    <c:v>Rolling Mean (30 Minute)</c:v>
                  </c:pt>
                  <c:pt idx="1506">
                    <c:v>Rolling Mean (30 Minute)</c:v>
                  </c:pt>
                  <c:pt idx="1507">
                    <c:v>Rolling Mean (30 Minute)</c:v>
                  </c:pt>
                  <c:pt idx="1508">
                    <c:v>Rolling Mean (30 Minute)</c:v>
                  </c:pt>
                  <c:pt idx="1509">
                    <c:v>Rolling Mean (30 Minute)</c:v>
                  </c:pt>
                  <c:pt idx="1510">
                    <c:v>Rolling Mean (30 Minute)</c:v>
                  </c:pt>
                  <c:pt idx="1511">
                    <c:v>Rolling Mean (30 Minute)</c:v>
                  </c:pt>
                  <c:pt idx="1512">
                    <c:v>Rolling Mean (30 Minute)</c:v>
                  </c:pt>
                  <c:pt idx="1513">
                    <c:v>Rolling Mean (30 Minute)</c:v>
                  </c:pt>
                  <c:pt idx="1514">
                    <c:v>Rolling Mean (30 Minute)</c:v>
                  </c:pt>
                  <c:pt idx="1515">
                    <c:v>Rolling Mean (30 Minute)</c:v>
                  </c:pt>
                  <c:pt idx="1516">
                    <c:v>Rolling Mean (30 Minute)</c:v>
                  </c:pt>
                  <c:pt idx="1517">
                    <c:v>Rolling Mean (30 Minute)</c:v>
                  </c:pt>
                  <c:pt idx="1518">
                    <c:v>Rolling Mean (30 Minute)</c:v>
                  </c:pt>
                  <c:pt idx="1519">
                    <c:v>Rolling Mean (30 Minute)</c:v>
                  </c:pt>
                  <c:pt idx="1520">
                    <c:v>Rolling Mean (30 Minute)</c:v>
                  </c:pt>
                  <c:pt idx="1521">
                    <c:v>Rolling Mean (30 Minute)</c:v>
                  </c:pt>
                  <c:pt idx="1522">
                    <c:v>Rolling Mean (30 Minute)</c:v>
                  </c:pt>
                  <c:pt idx="1523">
                    <c:v>Rolling Mean (30 Minute)</c:v>
                  </c:pt>
                  <c:pt idx="1524">
                    <c:v>Rolling Mean (30 Minute)</c:v>
                  </c:pt>
                  <c:pt idx="1525">
                    <c:v>Rolling Mean (30 Minute)</c:v>
                  </c:pt>
                  <c:pt idx="1526">
                    <c:v>Rolling Mean (30 Minute)</c:v>
                  </c:pt>
                  <c:pt idx="1527">
                    <c:v>Rolling Mean (30 Minute)</c:v>
                  </c:pt>
                  <c:pt idx="1528">
                    <c:v>Rolling Mean (30 Minute)</c:v>
                  </c:pt>
                  <c:pt idx="1529">
                    <c:v>Rolling Mean (30 Minute)</c:v>
                  </c:pt>
                  <c:pt idx="1530">
                    <c:v>Rolling Mean (30 Minute)</c:v>
                  </c:pt>
                  <c:pt idx="1531">
                    <c:v>Rolling Mean (30 Minute)</c:v>
                  </c:pt>
                  <c:pt idx="1532">
                    <c:v>Rolling Mean (30 Minute)</c:v>
                  </c:pt>
                  <c:pt idx="1533">
                    <c:v>Rolling Mean (30 Minute)</c:v>
                  </c:pt>
                  <c:pt idx="1534">
                    <c:v>Rolling Mean (30 Minute)</c:v>
                  </c:pt>
                  <c:pt idx="1535">
                    <c:v>Rolling Mean (30 Minute)</c:v>
                  </c:pt>
                  <c:pt idx="1536">
                    <c:v>Rolling Mean (30 Minute)</c:v>
                  </c:pt>
                  <c:pt idx="1537">
                    <c:v>Rolling Mean (30 Minute)</c:v>
                  </c:pt>
                  <c:pt idx="1538">
                    <c:v>Rolling Mean (30 Minute)</c:v>
                  </c:pt>
                  <c:pt idx="1539">
                    <c:v>Rolling Mean (30 Minute)</c:v>
                  </c:pt>
                  <c:pt idx="1540">
                    <c:v>Rolling Mean (30 Minute)</c:v>
                  </c:pt>
                  <c:pt idx="1541">
                    <c:v>Rolling Mean (30 Minute)</c:v>
                  </c:pt>
                  <c:pt idx="1542">
                    <c:v>Rolling Mean (30 Minute)</c:v>
                  </c:pt>
                  <c:pt idx="1543">
                    <c:v>Rolling Mean (30 Minute)</c:v>
                  </c:pt>
                  <c:pt idx="1544">
                    <c:v>Rolling Mean (30 Minute)</c:v>
                  </c:pt>
                  <c:pt idx="1545">
                    <c:v>Rolling Mean (30 Minute)</c:v>
                  </c:pt>
                  <c:pt idx="1546">
                    <c:v>Rolling Mean (30 Minute)</c:v>
                  </c:pt>
                  <c:pt idx="1547">
                    <c:v>Rolling Mean (30 Minute)</c:v>
                  </c:pt>
                  <c:pt idx="1548">
                    <c:v>Rolling Mean (30 Minute)</c:v>
                  </c:pt>
                  <c:pt idx="1549">
                    <c:v>Rolling Mean (30 Minute)</c:v>
                  </c:pt>
                  <c:pt idx="1550">
                    <c:v>Rolling Mean (30 Minute)</c:v>
                  </c:pt>
                  <c:pt idx="1551">
                    <c:v>Rolling Mean (30 Minute)</c:v>
                  </c:pt>
                  <c:pt idx="1552">
                    <c:v>Rolling Mean (30 Minute)</c:v>
                  </c:pt>
                  <c:pt idx="1553">
                    <c:v>Rolling Mean (30 Minute)</c:v>
                  </c:pt>
                  <c:pt idx="1554">
                    <c:v>Rolling Mean (30 Minute)</c:v>
                  </c:pt>
                  <c:pt idx="1555">
                    <c:v>Rolling Mean (30 Minute)</c:v>
                  </c:pt>
                  <c:pt idx="1556">
                    <c:v>Rolling Mean (30 Minute)</c:v>
                  </c:pt>
                  <c:pt idx="1557">
                    <c:v>Rolling Mean (30 Minute)</c:v>
                  </c:pt>
                  <c:pt idx="1558">
                    <c:v>Rolling Mean (30 Minute)</c:v>
                  </c:pt>
                  <c:pt idx="1559">
                    <c:v>Rolling Mean (30 Minute)</c:v>
                  </c:pt>
                  <c:pt idx="1560">
                    <c:v>Rolling Mean (30 Minute)</c:v>
                  </c:pt>
                  <c:pt idx="1561">
                    <c:v>Rolling Mean (30 Minute)</c:v>
                  </c:pt>
                  <c:pt idx="1562">
                    <c:v>Rolling Mean (30 Minute)</c:v>
                  </c:pt>
                  <c:pt idx="1563">
                    <c:v>Rolling Mean (30 Minute)</c:v>
                  </c:pt>
                  <c:pt idx="1564">
                    <c:v>Rolling Mean (30 Minute)</c:v>
                  </c:pt>
                  <c:pt idx="1565">
                    <c:v>Rolling Mean (30 Minute)</c:v>
                  </c:pt>
                  <c:pt idx="1566">
                    <c:v>Rolling Mean (30 Minute)</c:v>
                  </c:pt>
                  <c:pt idx="1567">
                    <c:v>Rolling Mean (30 Minute)</c:v>
                  </c:pt>
                  <c:pt idx="1568">
                    <c:v>Rolling Mean (30 Minute)</c:v>
                  </c:pt>
                  <c:pt idx="1569">
                    <c:v>Rolling Mean (30 Minute)</c:v>
                  </c:pt>
                  <c:pt idx="1570">
                    <c:v>Rolling Mean (30 Minute)</c:v>
                  </c:pt>
                  <c:pt idx="1571">
                    <c:v>Rolling Mean (30 Minute)</c:v>
                  </c:pt>
                  <c:pt idx="1572">
                    <c:v>Rolling Mean (30 Minute)</c:v>
                  </c:pt>
                  <c:pt idx="1573">
                    <c:v>Rolling Mean (30 Minute)</c:v>
                  </c:pt>
                  <c:pt idx="1574">
                    <c:v>Rolling Mean (30 Minute)</c:v>
                  </c:pt>
                  <c:pt idx="1575">
                    <c:v>Rolling Mean (30 Minute)</c:v>
                  </c:pt>
                  <c:pt idx="1576">
                    <c:v>Rolling Mean (30 Minute)</c:v>
                  </c:pt>
                  <c:pt idx="1577">
                    <c:v>Rolling Mean (30 Minute)</c:v>
                  </c:pt>
                  <c:pt idx="1578">
                    <c:v>Rolling Mean (30 Minute)</c:v>
                  </c:pt>
                  <c:pt idx="1579">
                    <c:v>Rolling Mean (30 Minute)</c:v>
                  </c:pt>
                  <c:pt idx="1580">
                    <c:v>Rolling Mean (30 Minute)</c:v>
                  </c:pt>
                  <c:pt idx="1581">
                    <c:v>Rolling Mean (30 Minute)</c:v>
                  </c:pt>
                  <c:pt idx="1582">
                    <c:v>Rolling Mean (30 Minute)</c:v>
                  </c:pt>
                  <c:pt idx="1583">
                    <c:v>Rolling Mean (30 Minute)</c:v>
                  </c:pt>
                  <c:pt idx="1584">
                    <c:v>Rolling Mean (30 Minute)</c:v>
                  </c:pt>
                  <c:pt idx="1585">
                    <c:v>Rolling Mean (30 Minute)</c:v>
                  </c:pt>
                  <c:pt idx="1586">
                    <c:v>Rolling Mean (30 Minute)</c:v>
                  </c:pt>
                  <c:pt idx="1587">
                    <c:v>Rolling Mean (30 Minute)</c:v>
                  </c:pt>
                  <c:pt idx="1588">
                    <c:v>Rolling Mean (30 Minute)</c:v>
                  </c:pt>
                  <c:pt idx="1589">
                    <c:v>Rolling Mean (30 Minute)</c:v>
                  </c:pt>
                  <c:pt idx="1590">
                    <c:v>Rolling Mean (30 Minute)</c:v>
                  </c:pt>
                  <c:pt idx="1591">
                    <c:v>Rolling Mean (30 Minute)</c:v>
                  </c:pt>
                  <c:pt idx="1592">
                    <c:v>Rolling Mean (30 Minute)</c:v>
                  </c:pt>
                  <c:pt idx="1593">
                    <c:v>Rolling Mean (30 Minute)</c:v>
                  </c:pt>
                  <c:pt idx="1594">
                    <c:v>Rolling Mean (30 Minute)</c:v>
                  </c:pt>
                  <c:pt idx="1595">
                    <c:v>Rolling Mean (30 Minute)</c:v>
                  </c:pt>
                  <c:pt idx="1596">
                    <c:v>Rolling Mean (30 Minute)</c:v>
                  </c:pt>
                  <c:pt idx="1597">
                    <c:v>Rolling Mean (30 Minute)</c:v>
                  </c:pt>
                  <c:pt idx="1598">
                    <c:v>Rolling Mean (30 Minute)</c:v>
                  </c:pt>
                  <c:pt idx="1599">
                    <c:v>Rolling Mean (30 Minute)</c:v>
                  </c:pt>
                  <c:pt idx="1600">
                    <c:v>Rolling Mean (30 Minute)</c:v>
                  </c:pt>
                  <c:pt idx="1601">
                    <c:v>Rolling Mean (30 Minute)</c:v>
                  </c:pt>
                  <c:pt idx="1602">
                    <c:v>Rolling Mean (30 Minute)</c:v>
                  </c:pt>
                  <c:pt idx="1603">
                    <c:v>Rolling Mean (30 Minute)</c:v>
                  </c:pt>
                  <c:pt idx="1604">
                    <c:v>Rolling Mean (30 Minute)</c:v>
                  </c:pt>
                  <c:pt idx="1605">
                    <c:v>Rolling Mean (30 Minute)</c:v>
                  </c:pt>
                  <c:pt idx="1606">
                    <c:v>Rolling Mean (30 Minute)</c:v>
                  </c:pt>
                  <c:pt idx="1607">
                    <c:v>Rolling Mean (30 Minute)</c:v>
                  </c:pt>
                  <c:pt idx="1608">
                    <c:v>Rolling Mean (30 Minute)</c:v>
                  </c:pt>
                  <c:pt idx="1609">
                    <c:v>Rolling Mean (30 Minute)</c:v>
                  </c:pt>
                  <c:pt idx="1610">
                    <c:v>Rolling Mean (30 Minute)</c:v>
                  </c:pt>
                  <c:pt idx="1611">
                    <c:v>Rolling Mean (30 Minute)</c:v>
                  </c:pt>
                  <c:pt idx="1612">
                    <c:v>Rolling Mean (30 Minute)</c:v>
                  </c:pt>
                  <c:pt idx="1613">
                    <c:v>Rolling Mean (30 Minute)</c:v>
                  </c:pt>
                  <c:pt idx="1614">
                    <c:v>Rolling Mean (30 Minute)</c:v>
                  </c:pt>
                  <c:pt idx="1615">
                    <c:v>Rolling Mean (30 Minute)</c:v>
                  </c:pt>
                  <c:pt idx="1616">
                    <c:v>Rolling Mean (30 Minute)</c:v>
                  </c:pt>
                  <c:pt idx="1617">
                    <c:v>Rolling Mean (30 Minute)</c:v>
                  </c:pt>
                  <c:pt idx="1618">
                    <c:v>Rolling Mean (30 Minute)</c:v>
                  </c:pt>
                  <c:pt idx="1619">
                    <c:v>Rolling Mean (30 Minute)</c:v>
                  </c:pt>
                  <c:pt idx="1620">
                    <c:v>Rolling Mean (30 Minute)</c:v>
                  </c:pt>
                  <c:pt idx="1621">
                    <c:v>Rolling Mean (30 Minute)</c:v>
                  </c:pt>
                  <c:pt idx="1622">
                    <c:v>Rolling Mean (30 Minute)</c:v>
                  </c:pt>
                  <c:pt idx="1623">
                    <c:v>Rolling Mean (30 Minute)</c:v>
                  </c:pt>
                  <c:pt idx="1624">
                    <c:v>Rolling Mean (30 Minute)</c:v>
                  </c:pt>
                  <c:pt idx="1625">
                    <c:v>Rolling Mean (30 Minute)</c:v>
                  </c:pt>
                  <c:pt idx="1626">
                    <c:v>Rolling Mean (30 Minute)</c:v>
                  </c:pt>
                  <c:pt idx="1627">
                    <c:v>Rolling Mean (30 Minute)</c:v>
                  </c:pt>
                  <c:pt idx="1628">
                    <c:v>Rolling Mean (30 Minute)</c:v>
                  </c:pt>
                  <c:pt idx="1629">
                    <c:v>Rolling Mean (30 Minute)</c:v>
                  </c:pt>
                  <c:pt idx="1630">
                    <c:v>Rolling Mean (30 Minute)</c:v>
                  </c:pt>
                  <c:pt idx="1631">
                    <c:v>Rolling Mean (30 Minute)</c:v>
                  </c:pt>
                  <c:pt idx="1632">
                    <c:v>Rolling Mean (30 Minute)</c:v>
                  </c:pt>
                  <c:pt idx="1633">
                    <c:v>Rolling Mean (30 Minute)</c:v>
                  </c:pt>
                  <c:pt idx="1634">
                    <c:v>Rolling Mean (30 Minute)</c:v>
                  </c:pt>
                  <c:pt idx="1635">
                    <c:v>Rolling Mean (30 Minute)</c:v>
                  </c:pt>
                  <c:pt idx="1636">
                    <c:v>Rolling Mean (30 Minute)</c:v>
                  </c:pt>
                  <c:pt idx="1637">
                    <c:v>Rolling Mean (30 Minute)</c:v>
                  </c:pt>
                  <c:pt idx="1638">
                    <c:v>Rolling Mean (30 Minute)</c:v>
                  </c:pt>
                  <c:pt idx="1639">
                    <c:v>Rolling Mean (30 Minute)</c:v>
                  </c:pt>
                  <c:pt idx="1640">
                    <c:v>Rolling Mean (30 Minute)</c:v>
                  </c:pt>
                  <c:pt idx="1641">
                    <c:v>Rolling Mean (30 Minute)</c:v>
                  </c:pt>
                  <c:pt idx="1642">
                    <c:v>Rolling Mean (30 Minute)</c:v>
                  </c:pt>
                  <c:pt idx="1643">
                    <c:v>Rolling Mean (30 Minute)</c:v>
                  </c:pt>
                  <c:pt idx="1644">
                    <c:v>Rolling Mean (30 Minute)</c:v>
                  </c:pt>
                  <c:pt idx="1645">
                    <c:v>Rolling Mean (30 Minute)</c:v>
                  </c:pt>
                  <c:pt idx="1646">
                    <c:v>Rolling Mean (30 Minute)</c:v>
                  </c:pt>
                  <c:pt idx="1647">
                    <c:v>Rolling Mean (30 Minute)</c:v>
                  </c:pt>
                  <c:pt idx="1648">
                    <c:v>Rolling Mean (30 Minute)</c:v>
                  </c:pt>
                  <c:pt idx="1649">
                    <c:v>Rolling Mean (30 Minute)</c:v>
                  </c:pt>
                  <c:pt idx="1650">
                    <c:v>Rolling Mean (30 Minute)</c:v>
                  </c:pt>
                  <c:pt idx="1651">
                    <c:v>Rolling Mean (30 Minute)</c:v>
                  </c:pt>
                  <c:pt idx="1652">
                    <c:v>Rolling Mean (30 Minute)</c:v>
                  </c:pt>
                  <c:pt idx="1653">
                    <c:v>Rolling Mean (30 Minute)</c:v>
                  </c:pt>
                  <c:pt idx="1654">
                    <c:v>Rolling Mean (30 Minute)</c:v>
                  </c:pt>
                  <c:pt idx="1655">
                    <c:v>Rolling Mean (30 Minute)</c:v>
                  </c:pt>
                  <c:pt idx="1656">
                    <c:v>Rolling Mean (30 Minute)</c:v>
                  </c:pt>
                  <c:pt idx="1657">
                    <c:v>Rolling Mean (30 Minute)</c:v>
                  </c:pt>
                  <c:pt idx="1658">
                    <c:v>Rolling Mean (30 Minute)</c:v>
                  </c:pt>
                  <c:pt idx="1659">
                    <c:v>Rolling Mean (30 Minute)</c:v>
                  </c:pt>
                  <c:pt idx="1660">
                    <c:v>Rolling Mean (30 Minute)</c:v>
                  </c:pt>
                  <c:pt idx="1661">
                    <c:v>Rolling Mean (30 Minute)</c:v>
                  </c:pt>
                  <c:pt idx="1662">
                    <c:v>Rolling Mean (30 Minute)</c:v>
                  </c:pt>
                  <c:pt idx="1663">
                    <c:v>Rolling Mean (30 Minute)</c:v>
                  </c:pt>
                  <c:pt idx="1664">
                    <c:v>Rolling Mean (30 Minute)</c:v>
                  </c:pt>
                  <c:pt idx="1665">
                    <c:v>Rolling Mean (30 Minute)</c:v>
                  </c:pt>
                  <c:pt idx="1666">
                    <c:v>Rolling Mean (30 Minute)</c:v>
                  </c:pt>
                  <c:pt idx="1667">
                    <c:v>Rolling Mean (30 Minute)</c:v>
                  </c:pt>
                  <c:pt idx="1668">
                    <c:v>Rolling Mean (30 Minute)</c:v>
                  </c:pt>
                  <c:pt idx="1669">
                    <c:v>Rolling Mean (30 Minute)</c:v>
                  </c:pt>
                  <c:pt idx="1670">
                    <c:v>Rolling Mean (30 Minute)</c:v>
                  </c:pt>
                  <c:pt idx="1671">
                    <c:v>Rolling Mean (30 Minute)</c:v>
                  </c:pt>
                  <c:pt idx="1672">
                    <c:v>Rolling Mean (30 Minute)</c:v>
                  </c:pt>
                  <c:pt idx="1673">
                    <c:v>Rolling Mean (30 Minute)</c:v>
                  </c:pt>
                  <c:pt idx="1674">
                    <c:v>Rolling Mean (30 Minute)</c:v>
                  </c:pt>
                  <c:pt idx="1675">
                    <c:v>Rolling Mean (30 Minute)</c:v>
                  </c:pt>
                  <c:pt idx="1676">
                    <c:v>Rolling Mean (30 Minute)</c:v>
                  </c:pt>
                  <c:pt idx="1677">
                    <c:v>Rolling Mean (30 Minute)</c:v>
                  </c:pt>
                  <c:pt idx="1678">
                    <c:v>Rolling Mean (30 Minute)</c:v>
                  </c:pt>
                  <c:pt idx="1679">
                    <c:v>Rolling Mean (30 Minute)</c:v>
                  </c:pt>
                  <c:pt idx="1680">
                    <c:v>Rolling Mean (30 Minute)</c:v>
                  </c:pt>
                  <c:pt idx="1681">
                    <c:v>Rolling Mean (30 Minute)</c:v>
                  </c:pt>
                  <c:pt idx="1682">
                    <c:v>Rolling Mean (30 Minute)</c:v>
                  </c:pt>
                  <c:pt idx="1683">
                    <c:v>Rolling Mean (30 Minute)</c:v>
                  </c:pt>
                  <c:pt idx="1684">
                    <c:v>Rolling Mean (30 Minute)</c:v>
                  </c:pt>
                  <c:pt idx="1685">
                    <c:v>Rolling Mean (30 Minute)</c:v>
                  </c:pt>
                  <c:pt idx="1686">
                    <c:v>Rolling Mean (30 Minute)</c:v>
                  </c:pt>
                  <c:pt idx="1687">
                    <c:v>Rolling Mean (30 Minute)</c:v>
                  </c:pt>
                  <c:pt idx="1688">
                    <c:v>Rolling Mean (30 Minute)</c:v>
                  </c:pt>
                  <c:pt idx="1689">
                    <c:v>Rolling Mean (30 Minute)</c:v>
                  </c:pt>
                  <c:pt idx="1690">
                    <c:v>Rolling Mean (30 Minute)</c:v>
                  </c:pt>
                  <c:pt idx="1691">
                    <c:v>Rolling Mean (30 Minute)</c:v>
                  </c:pt>
                  <c:pt idx="1692">
                    <c:v>Rolling Mean (30 Minute)</c:v>
                  </c:pt>
                  <c:pt idx="1693">
                    <c:v>Rolling Mean (30 Minute)</c:v>
                  </c:pt>
                  <c:pt idx="1694">
                    <c:v>Rolling Mean (30 Minute)</c:v>
                  </c:pt>
                  <c:pt idx="1695">
                    <c:v>Rolling Mean (30 Minute)</c:v>
                  </c:pt>
                  <c:pt idx="1696">
                    <c:v>Rolling Mean (30 Minute)</c:v>
                  </c:pt>
                  <c:pt idx="1697">
                    <c:v>Rolling Mean (30 Minute)</c:v>
                  </c:pt>
                  <c:pt idx="1698">
                    <c:v>Rolling Mean (30 Minute)</c:v>
                  </c:pt>
                  <c:pt idx="1699">
                    <c:v>Rolling Mean (30 Minute)</c:v>
                  </c:pt>
                  <c:pt idx="1700">
                    <c:v>Rolling Mean (30 Minute)</c:v>
                  </c:pt>
                  <c:pt idx="1701">
                    <c:v>Rolling Mean (30 Minute)</c:v>
                  </c:pt>
                  <c:pt idx="1702">
                    <c:v>Rolling Mean (30 Minute)</c:v>
                  </c:pt>
                  <c:pt idx="1703">
                    <c:v>Rolling Mean (30 Minute)</c:v>
                  </c:pt>
                  <c:pt idx="1704">
                    <c:v>Rolling Mean (30 Minute)</c:v>
                  </c:pt>
                  <c:pt idx="1705">
                    <c:v>Rolling Mean (30 Minute)</c:v>
                  </c:pt>
                  <c:pt idx="1706">
                    <c:v>Rolling Mean (30 Minute)</c:v>
                  </c:pt>
                  <c:pt idx="1707">
                    <c:v>Rolling Mean (30 Minute)</c:v>
                  </c:pt>
                  <c:pt idx="1708">
                    <c:v>Rolling Mean (30 Minute)</c:v>
                  </c:pt>
                  <c:pt idx="1709">
                    <c:v>Rolling Mean (30 Minute)</c:v>
                  </c:pt>
                  <c:pt idx="1710">
                    <c:v>Rolling Mean (30 Minute)</c:v>
                  </c:pt>
                  <c:pt idx="1711">
                    <c:v>Rolling Mean (30 Minute)</c:v>
                  </c:pt>
                  <c:pt idx="1712">
                    <c:v>Rolling Mean (30 Minute)</c:v>
                  </c:pt>
                  <c:pt idx="1713">
                    <c:v>Rolling Mean (30 Minute)</c:v>
                  </c:pt>
                  <c:pt idx="1714">
                    <c:v>Rolling Mean (30 Minute)</c:v>
                  </c:pt>
                  <c:pt idx="1715">
                    <c:v>Rolling Mean (30 Minute)</c:v>
                  </c:pt>
                  <c:pt idx="1716">
                    <c:v>Rolling Mean (30 Minute)</c:v>
                  </c:pt>
                  <c:pt idx="1717">
                    <c:v>Rolling Mean (30 Minute)</c:v>
                  </c:pt>
                  <c:pt idx="1718">
                    <c:v>Rolling Mean (30 Minute)</c:v>
                  </c:pt>
                  <c:pt idx="1719">
                    <c:v>Rolling Mean (30 Minute)</c:v>
                  </c:pt>
                  <c:pt idx="1720">
                    <c:v>Rolling Mean (30 Minute)</c:v>
                  </c:pt>
                  <c:pt idx="1721">
                    <c:v>Rolling Mean (30 Minute)</c:v>
                  </c:pt>
                  <c:pt idx="1722">
                    <c:v>Rolling Mean (30 Minute)</c:v>
                  </c:pt>
                  <c:pt idx="1723">
                    <c:v>Rolling Mean (30 Minute)</c:v>
                  </c:pt>
                  <c:pt idx="1724">
                    <c:v>Rolling Mean (30 Minute)</c:v>
                  </c:pt>
                  <c:pt idx="1725">
                    <c:v>Rolling Mean (30 Minute)</c:v>
                  </c:pt>
                  <c:pt idx="1726">
                    <c:v>Rolling Mean (30 Minute)</c:v>
                  </c:pt>
                  <c:pt idx="1727">
                    <c:v>Rolling Mean (30 Minute)</c:v>
                  </c:pt>
                  <c:pt idx="1728">
                    <c:v>Rolling Mean (30 Minute)</c:v>
                  </c:pt>
                  <c:pt idx="1729">
                    <c:v>Rolling Mean (30 Minute)</c:v>
                  </c:pt>
                  <c:pt idx="1730">
                    <c:v>Rolling Mean (30 Minute)</c:v>
                  </c:pt>
                  <c:pt idx="1731">
                    <c:v>Rolling Mean (30 Minute)</c:v>
                  </c:pt>
                  <c:pt idx="1732">
                    <c:v>Rolling Mean (30 Minute)</c:v>
                  </c:pt>
                  <c:pt idx="1733">
                    <c:v>Rolling Mean (30 Minute)</c:v>
                  </c:pt>
                  <c:pt idx="1734">
                    <c:v>Rolling Mean (30 Minute)</c:v>
                  </c:pt>
                  <c:pt idx="1735">
                    <c:v>Rolling Mean (30 Minute)</c:v>
                  </c:pt>
                  <c:pt idx="1736">
                    <c:v>Rolling Mean (30 Minute)</c:v>
                  </c:pt>
                  <c:pt idx="1737">
                    <c:v>Rolling Mean (30 Minute)</c:v>
                  </c:pt>
                  <c:pt idx="1738">
                    <c:v>Rolling Mean (30 Minute)</c:v>
                  </c:pt>
                  <c:pt idx="1739">
                    <c:v>Rolling Mean (30 Minute)</c:v>
                  </c:pt>
                  <c:pt idx="1740">
                    <c:v>Rolling Mean (30 Minute)</c:v>
                  </c:pt>
                  <c:pt idx="1741">
                    <c:v>Rolling Mean (30 Minute)</c:v>
                  </c:pt>
                  <c:pt idx="1742">
                    <c:v>Rolling Mean (30 Minute)</c:v>
                  </c:pt>
                  <c:pt idx="1743">
                    <c:v>Rolling Mean (30 Minute)</c:v>
                  </c:pt>
                  <c:pt idx="1744">
                    <c:v>Rolling Mean (30 Minute)</c:v>
                  </c:pt>
                  <c:pt idx="1745">
                    <c:v>Rolling Mean (30 Minute)</c:v>
                  </c:pt>
                  <c:pt idx="1746">
                    <c:v>Rolling Mean (30 Minute)</c:v>
                  </c:pt>
                  <c:pt idx="1747">
                    <c:v>Rolling Mean (30 Minute)</c:v>
                  </c:pt>
                  <c:pt idx="1748">
                    <c:v>Rolling Mean (30 Minute)</c:v>
                  </c:pt>
                  <c:pt idx="1749">
                    <c:v>Rolling Mean (30 Minute)</c:v>
                  </c:pt>
                  <c:pt idx="1750">
                    <c:v>Rolling Mean (30 Minute)</c:v>
                  </c:pt>
                  <c:pt idx="1751">
                    <c:v>Rolling Mean (30 Minute)</c:v>
                  </c:pt>
                  <c:pt idx="1752">
                    <c:v>Rolling Mean (30 Minute)</c:v>
                  </c:pt>
                  <c:pt idx="1753">
                    <c:v>Rolling Mean (30 Minute)</c:v>
                  </c:pt>
                  <c:pt idx="1754">
                    <c:v>Rolling Mean (30 Minute)</c:v>
                  </c:pt>
                  <c:pt idx="1755">
                    <c:v>Rolling Mean (30 Minute)</c:v>
                  </c:pt>
                  <c:pt idx="1756">
                    <c:v>Rolling Mean (30 Minute)</c:v>
                  </c:pt>
                  <c:pt idx="1757">
                    <c:v>Rolling Mean (30 Minute)</c:v>
                  </c:pt>
                  <c:pt idx="1758">
                    <c:v>Rolling Mean (30 Minute)</c:v>
                  </c:pt>
                  <c:pt idx="1759">
                    <c:v>Rolling Mean (30 Minute)</c:v>
                  </c:pt>
                  <c:pt idx="1760">
                    <c:v>Rolling Mean (30 Minute)</c:v>
                  </c:pt>
                  <c:pt idx="1761">
                    <c:v>Rolling Mean (30 Minute)</c:v>
                  </c:pt>
                  <c:pt idx="1762">
                    <c:v>Rolling Mean (30 Minute)</c:v>
                  </c:pt>
                  <c:pt idx="1763">
                    <c:v>Rolling Mean (30 Minute)</c:v>
                  </c:pt>
                  <c:pt idx="1764">
                    <c:v>Rolling Mean (30 Minute)</c:v>
                  </c:pt>
                  <c:pt idx="1765">
                    <c:v>Rolling Mean (30 Minute)</c:v>
                  </c:pt>
                  <c:pt idx="1766">
                    <c:v>Rolling Mean (30 Minute)</c:v>
                  </c:pt>
                  <c:pt idx="1767">
                    <c:v>Rolling Mean (30 Minute)</c:v>
                  </c:pt>
                  <c:pt idx="1768">
                    <c:v>Rolling Mean (30 Minute)</c:v>
                  </c:pt>
                  <c:pt idx="1769">
                    <c:v>Rolling Mean (30 Minute)</c:v>
                  </c:pt>
                  <c:pt idx="1770">
                    <c:v>Rolling Mean (30 Minute)</c:v>
                  </c:pt>
                  <c:pt idx="1771">
                    <c:v>Rolling Mean (30 Minute)</c:v>
                  </c:pt>
                  <c:pt idx="1772">
                    <c:v>Rolling Mean (30 Minute)</c:v>
                  </c:pt>
                  <c:pt idx="1773">
                    <c:v>Rolling Mean (30 Minute)</c:v>
                  </c:pt>
                  <c:pt idx="1774">
                    <c:v>Rolling Mean (30 Minute)</c:v>
                  </c:pt>
                  <c:pt idx="1775">
                    <c:v>Rolling Mean (30 Minute)</c:v>
                  </c:pt>
                  <c:pt idx="1776">
                    <c:v>Rolling Mean (30 Minute)</c:v>
                  </c:pt>
                  <c:pt idx="1777">
                    <c:v>Rolling Mean (30 Minute)</c:v>
                  </c:pt>
                  <c:pt idx="1778">
                    <c:v>Rolling Mean (30 Minute)</c:v>
                  </c:pt>
                  <c:pt idx="1779">
                    <c:v>Rolling Mean (30 Minute)</c:v>
                  </c:pt>
                  <c:pt idx="1780">
                    <c:v>Rolling Mean (30 Minute)</c:v>
                  </c:pt>
                  <c:pt idx="1781">
                    <c:v>Rolling Mean (30 Minute)</c:v>
                  </c:pt>
                  <c:pt idx="1782">
                    <c:v>Rolling Mean (30 Minute)</c:v>
                  </c:pt>
                  <c:pt idx="1783">
                    <c:v>Rolling Mean (30 Minute)</c:v>
                  </c:pt>
                  <c:pt idx="1784">
                    <c:v>Rolling Mean (30 Minute)</c:v>
                  </c:pt>
                  <c:pt idx="1785">
                    <c:v>Rolling Mean (30 Minute)</c:v>
                  </c:pt>
                  <c:pt idx="1786">
                    <c:v>Rolling Mean (30 Minute)</c:v>
                  </c:pt>
                  <c:pt idx="1787">
                    <c:v>Rolling Mean (30 Minute)</c:v>
                  </c:pt>
                  <c:pt idx="1788">
                    <c:v>Rolling Mean (30 Minute)</c:v>
                  </c:pt>
                  <c:pt idx="1789">
                    <c:v>Rolling Mean (30 Minute)</c:v>
                  </c:pt>
                  <c:pt idx="1790">
                    <c:v>Rolling Mean (30 Minute)</c:v>
                  </c:pt>
                  <c:pt idx="1791">
                    <c:v>Rolling Mean (30 Minute)</c:v>
                  </c:pt>
                  <c:pt idx="1792">
                    <c:v>Rolling Mean (30 Minute)</c:v>
                  </c:pt>
                  <c:pt idx="1793">
                    <c:v>Rolling Mean (30 Minute)</c:v>
                  </c:pt>
                  <c:pt idx="1794">
                    <c:v>Rolling Mean (30 Minute)</c:v>
                  </c:pt>
                  <c:pt idx="1795">
                    <c:v>Rolling Mean (30 Minute)</c:v>
                  </c:pt>
                  <c:pt idx="1796">
                    <c:v>Rolling Mean (30 Minute)</c:v>
                  </c:pt>
                  <c:pt idx="1797">
                    <c:v>Rolling Mean (30 Minute)</c:v>
                  </c:pt>
                  <c:pt idx="1798">
                    <c:v>Rolling Mean (30 Minute)</c:v>
                  </c:pt>
                  <c:pt idx="1799">
                    <c:v>Rolling Mean (30 Minute)</c:v>
                  </c:pt>
                  <c:pt idx="1800">
                    <c:v>Rolling Mean (30 Minute)</c:v>
                  </c:pt>
                  <c:pt idx="1801">
                    <c:v>Rolling Mean (30 Minute)</c:v>
                  </c:pt>
                  <c:pt idx="1802">
                    <c:v>Rolling Mean (30 Minute)</c:v>
                  </c:pt>
                  <c:pt idx="1803">
                    <c:v>Rolling Mean (30 Minute)</c:v>
                  </c:pt>
                  <c:pt idx="1804">
                    <c:v>Rolling Mean (30 Minute)</c:v>
                  </c:pt>
                  <c:pt idx="1805">
                    <c:v>Rolling Mean (30 Minute)</c:v>
                  </c:pt>
                  <c:pt idx="1806">
                    <c:v>Rolling Mean (30 Minute)</c:v>
                  </c:pt>
                  <c:pt idx="1807">
                    <c:v>Rolling Mean (30 Minute)</c:v>
                  </c:pt>
                  <c:pt idx="1808">
                    <c:v>Rolling Mean (30 Minute)</c:v>
                  </c:pt>
                  <c:pt idx="1809">
                    <c:v>Rolling Mean (30 Minute)</c:v>
                  </c:pt>
                  <c:pt idx="1810">
                    <c:v>Rolling Mean (30 Minute)</c:v>
                  </c:pt>
                  <c:pt idx="1811">
                    <c:v>Rolling Mean (30 Minute)</c:v>
                  </c:pt>
                  <c:pt idx="1812">
                    <c:v>Rolling Mean (30 Minute)</c:v>
                  </c:pt>
                  <c:pt idx="1813">
                    <c:v>Rolling Mean (30 Minute)</c:v>
                  </c:pt>
                  <c:pt idx="1814">
                    <c:v>Rolling Mean (30 Minute)</c:v>
                  </c:pt>
                  <c:pt idx="1815">
                    <c:v>Rolling Mean (30 Minute)</c:v>
                  </c:pt>
                  <c:pt idx="1816">
                    <c:v>Rolling Mean (30 Minute)</c:v>
                  </c:pt>
                  <c:pt idx="1817">
                    <c:v>Rolling Mean (30 Minute)</c:v>
                  </c:pt>
                  <c:pt idx="1818">
                    <c:v>Rolling Mean (30 Minute)</c:v>
                  </c:pt>
                  <c:pt idx="1819">
                    <c:v>Rolling Mean (30 Minute)</c:v>
                  </c:pt>
                  <c:pt idx="1820">
                    <c:v>Rolling Mean (30 Minute)</c:v>
                  </c:pt>
                  <c:pt idx="1821">
                    <c:v>Rolling Mean (30 Minute)</c:v>
                  </c:pt>
                  <c:pt idx="1822">
                    <c:v>Rolling Mean (30 Minute)</c:v>
                  </c:pt>
                  <c:pt idx="1823">
                    <c:v>Rolling Mean (30 Minute)</c:v>
                  </c:pt>
                  <c:pt idx="1824">
                    <c:v>Rolling Mean (30 Minute)</c:v>
                  </c:pt>
                  <c:pt idx="1825">
                    <c:v>Rolling Mean (30 Minute)</c:v>
                  </c:pt>
                  <c:pt idx="1826">
                    <c:v>Rolling Mean (30 Minute)</c:v>
                  </c:pt>
                  <c:pt idx="1827">
                    <c:v>Rolling Mean (30 Minute)</c:v>
                  </c:pt>
                  <c:pt idx="1828">
                    <c:v>Rolling Mean (30 Minute)</c:v>
                  </c:pt>
                  <c:pt idx="1829">
                    <c:v>Rolling Mean (30 Minute)</c:v>
                  </c:pt>
                  <c:pt idx="1830">
                    <c:v>Rolling Mean (30 Minute)</c:v>
                  </c:pt>
                  <c:pt idx="1831">
                    <c:v>Rolling Mean (30 Minute)</c:v>
                  </c:pt>
                  <c:pt idx="1832">
                    <c:v>Rolling Mean (30 Minute)</c:v>
                  </c:pt>
                  <c:pt idx="1833">
                    <c:v>Rolling Mean (30 Minute)</c:v>
                  </c:pt>
                  <c:pt idx="1834">
                    <c:v>Rolling Mean (30 Minute)</c:v>
                  </c:pt>
                  <c:pt idx="1835">
                    <c:v>Rolling Mean (30 Minute)</c:v>
                  </c:pt>
                  <c:pt idx="1836">
                    <c:v>Rolling Mean (30 Minute)</c:v>
                  </c:pt>
                  <c:pt idx="1837">
                    <c:v>Rolling Mean (30 Minute)</c:v>
                  </c:pt>
                  <c:pt idx="1838">
                    <c:v>Rolling Mean (30 Minute)</c:v>
                  </c:pt>
                  <c:pt idx="1839">
                    <c:v>Rolling Mean (30 Minute)</c:v>
                  </c:pt>
                  <c:pt idx="1840">
                    <c:v>Rolling Mean (30 Minute)</c:v>
                  </c:pt>
                  <c:pt idx="1841">
                    <c:v>Rolling Mean (30 Minute)</c:v>
                  </c:pt>
                  <c:pt idx="1842">
                    <c:v>Rolling Mean (30 Minute)</c:v>
                  </c:pt>
                  <c:pt idx="1843">
                    <c:v>Rolling Mean (30 Minute)</c:v>
                  </c:pt>
                  <c:pt idx="1844">
                    <c:v>Rolling Mean (30 Minute)</c:v>
                  </c:pt>
                  <c:pt idx="1845">
                    <c:v>Rolling Mean (30 Minute)</c:v>
                  </c:pt>
                  <c:pt idx="1846">
                    <c:v>Rolling Mean (30 Minute)</c:v>
                  </c:pt>
                  <c:pt idx="1847">
                    <c:v>Rolling Mean (30 Minute)</c:v>
                  </c:pt>
                  <c:pt idx="1848">
                    <c:v>Rolling Mean (30 Minute)</c:v>
                  </c:pt>
                  <c:pt idx="1849">
                    <c:v>Rolling Mean (30 Minute)</c:v>
                  </c:pt>
                  <c:pt idx="1850">
                    <c:v>Rolling Mean (30 Minute)</c:v>
                  </c:pt>
                  <c:pt idx="1851">
                    <c:v>Rolling Mean (30 Minute)</c:v>
                  </c:pt>
                  <c:pt idx="1852">
                    <c:v>Rolling Mean (30 Minute)</c:v>
                  </c:pt>
                  <c:pt idx="1853">
                    <c:v>Rolling Mean (30 Minute)</c:v>
                  </c:pt>
                  <c:pt idx="1854">
                    <c:v>Rolling Mean (30 Minute)</c:v>
                  </c:pt>
                  <c:pt idx="1855">
                    <c:v>Rolling Mean (30 Minute)</c:v>
                  </c:pt>
                  <c:pt idx="1856">
                    <c:v>Rolling Mean (30 Minute)</c:v>
                  </c:pt>
                  <c:pt idx="1857">
                    <c:v>Rolling Mean (30 Minute)</c:v>
                  </c:pt>
                  <c:pt idx="1858">
                    <c:v>Rolling Mean (30 Minute)</c:v>
                  </c:pt>
                  <c:pt idx="1859">
                    <c:v>Rolling Mean (30 Minute)</c:v>
                  </c:pt>
                  <c:pt idx="1860">
                    <c:v>Rolling Mean (30 Minute)</c:v>
                  </c:pt>
                  <c:pt idx="1861">
                    <c:v>Rolling Mean (30 Minute)</c:v>
                  </c:pt>
                  <c:pt idx="1862">
                    <c:v>Rolling Mean (30 Minute)</c:v>
                  </c:pt>
                  <c:pt idx="1863">
                    <c:v>Rolling Mean (30 Minute)</c:v>
                  </c:pt>
                  <c:pt idx="1864">
                    <c:v>Rolling Mean (30 Minute)</c:v>
                  </c:pt>
                  <c:pt idx="1865">
                    <c:v>Rolling Mean (30 Minute)</c:v>
                  </c:pt>
                  <c:pt idx="1866">
                    <c:v>Rolling Mean (30 Minute)</c:v>
                  </c:pt>
                  <c:pt idx="1867">
                    <c:v>Rolling Mean (30 Minute)</c:v>
                  </c:pt>
                  <c:pt idx="1868">
                    <c:v>Rolling Mean (30 Minute)</c:v>
                  </c:pt>
                  <c:pt idx="1869">
                    <c:v>Rolling Mean (30 Minute)</c:v>
                  </c:pt>
                  <c:pt idx="1870">
                    <c:v>Rolling Mean (30 Minute)</c:v>
                  </c:pt>
                  <c:pt idx="1871">
                    <c:v>Rolling Mean (30 Minute)</c:v>
                  </c:pt>
                  <c:pt idx="1872">
                    <c:v>Rolling Mean (30 Minute)</c:v>
                  </c:pt>
                  <c:pt idx="1873">
                    <c:v>Rolling Mean (30 Minute)</c:v>
                  </c:pt>
                  <c:pt idx="1874">
                    <c:v>Rolling Mean (30 Minute)</c:v>
                  </c:pt>
                  <c:pt idx="1875">
                    <c:v>Rolling Mean (30 Minute)</c:v>
                  </c:pt>
                  <c:pt idx="1876">
                    <c:v>Rolling Mean (30 Minute)</c:v>
                  </c:pt>
                  <c:pt idx="1877">
                    <c:v>Rolling Mean (30 Minute)</c:v>
                  </c:pt>
                  <c:pt idx="1878">
                    <c:v>Rolling Mean (30 Minute)</c:v>
                  </c:pt>
                  <c:pt idx="1879">
                    <c:v>Rolling Mean (30 Minute)</c:v>
                  </c:pt>
                  <c:pt idx="1880">
                    <c:v>Rolling Mean (30 Minute)</c:v>
                  </c:pt>
                  <c:pt idx="1881">
                    <c:v>Rolling Mean (30 Minute)</c:v>
                  </c:pt>
                  <c:pt idx="1882">
                    <c:v>Rolling Mean (30 Minute)</c:v>
                  </c:pt>
                  <c:pt idx="1883">
                    <c:v>Rolling Mean (30 Minute)</c:v>
                  </c:pt>
                  <c:pt idx="1884">
                    <c:v>Rolling Mean (30 Minute)</c:v>
                  </c:pt>
                  <c:pt idx="1885">
                    <c:v>Rolling Mean (30 Minute)</c:v>
                  </c:pt>
                  <c:pt idx="1886">
                    <c:v>Rolling Mean (30 Minute)</c:v>
                  </c:pt>
                  <c:pt idx="1887">
                    <c:v>Rolling Mean (30 Minute)</c:v>
                  </c:pt>
                  <c:pt idx="1888">
                    <c:v>Rolling Mean (30 Minute)</c:v>
                  </c:pt>
                  <c:pt idx="1889">
                    <c:v>Rolling Mean (30 Minute)</c:v>
                  </c:pt>
                  <c:pt idx="1890">
                    <c:v>Rolling Mean (30 Minute)</c:v>
                  </c:pt>
                  <c:pt idx="1891">
                    <c:v>Rolling Mean (30 Minute)</c:v>
                  </c:pt>
                  <c:pt idx="1892">
                    <c:v>Rolling Mean (30 Minute)</c:v>
                  </c:pt>
                  <c:pt idx="1893">
                    <c:v>Rolling Mean (30 Minute)</c:v>
                  </c:pt>
                  <c:pt idx="1894">
                    <c:v>Rolling Mean (30 Minute)</c:v>
                  </c:pt>
                  <c:pt idx="1895">
                    <c:v>Rolling Mean (30 Minute)</c:v>
                  </c:pt>
                  <c:pt idx="1896">
                    <c:v>Rolling Mean (30 Minute)</c:v>
                  </c:pt>
                  <c:pt idx="1897">
                    <c:v>Rolling Mean (30 Minute)</c:v>
                  </c:pt>
                  <c:pt idx="1898">
                    <c:v>Rolling Mean (30 Minute)</c:v>
                  </c:pt>
                  <c:pt idx="1899">
                    <c:v>Rolling Mean (30 Minute)</c:v>
                  </c:pt>
                  <c:pt idx="1900">
                    <c:v>Rolling Mean (30 Minute)</c:v>
                  </c:pt>
                  <c:pt idx="1901">
                    <c:v>Rolling Mean (30 Minute)</c:v>
                  </c:pt>
                  <c:pt idx="1902">
                    <c:v>Rolling Mean (30 Minute)</c:v>
                  </c:pt>
                  <c:pt idx="1903">
                    <c:v>Rolling Mean (30 Minute)</c:v>
                  </c:pt>
                  <c:pt idx="1904">
                    <c:v>Rolling Mean (30 Minute)</c:v>
                  </c:pt>
                  <c:pt idx="1905">
                    <c:v>Rolling Mean (30 Minute)</c:v>
                  </c:pt>
                  <c:pt idx="1906">
                    <c:v>Rolling Mean (30 Minute)</c:v>
                  </c:pt>
                  <c:pt idx="1907">
                    <c:v>Rolling Mean (30 Minute)</c:v>
                  </c:pt>
                  <c:pt idx="1908">
                    <c:v>Rolling Mean (30 Minute)</c:v>
                  </c:pt>
                  <c:pt idx="1909">
                    <c:v>Rolling Mean (30 Minute)</c:v>
                  </c:pt>
                  <c:pt idx="1910">
                    <c:v>Rolling Mean (30 Minute)</c:v>
                  </c:pt>
                  <c:pt idx="1911">
                    <c:v>Rolling Mean (30 Minute)</c:v>
                  </c:pt>
                  <c:pt idx="1912">
                    <c:v>Rolling Mean (30 Minute)</c:v>
                  </c:pt>
                  <c:pt idx="1913">
                    <c:v>Rolling Mean (30 Minute)</c:v>
                  </c:pt>
                  <c:pt idx="1914">
                    <c:v>Rolling Mean (30 Minute)</c:v>
                  </c:pt>
                  <c:pt idx="1915">
                    <c:v>Rolling Mean (30 Minute)</c:v>
                  </c:pt>
                  <c:pt idx="1916">
                    <c:v>Rolling Mean (30 Minute)</c:v>
                  </c:pt>
                  <c:pt idx="1917">
                    <c:v>Rolling Mean (30 Minute)</c:v>
                  </c:pt>
                  <c:pt idx="1918">
                    <c:v>Rolling Mean (30 Minute)</c:v>
                  </c:pt>
                  <c:pt idx="1919">
                    <c:v>Rolling Mean (30 Minute)</c:v>
                  </c:pt>
                  <c:pt idx="1920">
                    <c:v>Rolling Mean (30 Minute)</c:v>
                  </c:pt>
                  <c:pt idx="1921">
                    <c:v>Rolling Mean (30 Minute)</c:v>
                  </c:pt>
                  <c:pt idx="1922">
                    <c:v>Rolling Mean (30 Minute)</c:v>
                  </c:pt>
                  <c:pt idx="1923">
                    <c:v>Rolling Mean (30 Minute)</c:v>
                  </c:pt>
                  <c:pt idx="1924">
                    <c:v>Rolling Mean (30 Minute)</c:v>
                  </c:pt>
                  <c:pt idx="1925">
                    <c:v>Rolling Mean (30 Minute)</c:v>
                  </c:pt>
                  <c:pt idx="1926">
                    <c:v>Rolling Mean (30 Minute)</c:v>
                  </c:pt>
                  <c:pt idx="1927">
                    <c:v>Rolling Mean (30 Minute)</c:v>
                  </c:pt>
                  <c:pt idx="1928">
                    <c:v>Rolling Mean (30 Minute)</c:v>
                  </c:pt>
                  <c:pt idx="1929">
                    <c:v>Rolling Mean (30 Minute)</c:v>
                  </c:pt>
                  <c:pt idx="1930">
                    <c:v>Rolling Mean (30 Minute)</c:v>
                  </c:pt>
                  <c:pt idx="1931">
                    <c:v>Rolling Mean (30 Minute)</c:v>
                  </c:pt>
                  <c:pt idx="1932">
                    <c:v>Rolling Mean (30 Minute)</c:v>
                  </c:pt>
                  <c:pt idx="1933">
                    <c:v>Rolling Mean (30 Minute)</c:v>
                  </c:pt>
                  <c:pt idx="1934">
                    <c:v>Rolling Mean (30 Minute)</c:v>
                  </c:pt>
                  <c:pt idx="1935">
                    <c:v>Rolling Mean (30 Minute)</c:v>
                  </c:pt>
                  <c:pt idx="1936">
                    <c:v>Rolling Mean (30 Minute)</c:v>
                  </c:pt>
                  <c:pt idx="1937">
                    <c:v>Rolling Mean (30 Minute)</c:v>
                  </c:pt>
                  <c:pt idx="1938">
                    <c:v>Rolling Mean (30 Minute)</c:v>
                  </c:pt>
                  <c:pt idx="1939">
                    <c:v>Rolling Mean (30 Minute)</c:v>
                  </c:pt>
                  <c:pt idx="1940">
                    <c:v>Rolling Mean (30 Minute)</c:v>
                  </c:pt>
                  <c:pt idx="1941">
                    <c:v>Rolling Mean (30 Minute)</c:v>
                  </c:pt>
                  <c:pt idx="1942">
                    <c:v>Rolling Mean (30 Minute)</c:v>
                  </c:pt>
                  <c:pt idx="1943">
                    <c:v>Rolling Mean (30 Minute)</c:v>
                  </c:pt>
                  <c:pt idx="1944">
                    <c:v>Rolling Mean (30 Minute)</c:v>
                  </c:pt>
                  <c:pt idx="1945">
                    <c:v>Rolling Mean (30 Minute)</c:v>
                  </c:pt>
                  <c:pt idx="1946">
                    <c:v>Rolling Mean (30 Minute)</c:v>
                  </c:pt>
                  <c:pt idx="1947">
                    <c:v>Rolling Mean (30 Minute)</c:v>
                  </c:pt>
                  <c:pt idx="1948">
                    <c:v>Rolling Mean (30 Minute)</c:v>
                  </c:pt>
                  <c:pt idx="1949">
                    <c:v>Rolling Mean (30 Minute)</c:v>
                  </c:pt>
                  <c:pt idx="1950">
                    <c:v>Rolling Mean (30 Minute)</c:v>
                  </c:pt>
                  <c:pt idx="1951">
                    <c:v>Rolling Mean (30 Minute)</c:v>
                  </c:pt>
                  <c:pt idx="1952">
                    <c:v>Rolling Mean (30 Minute)</c:v>
                  </c:pt>
                  <c:pt idx="1953">
                    <c:v>Rolling Mean (30 Minute)</c:v>
                  </c:pt>
                  <c:pt idx="1954">
                    <c:v>Rolling Mean (30 Minute)</c:v>
                  </c:pt>
                  <c:pt idx="1955">
                    <c:v>Rolling Mean (30 Minute)</c:v>
                  </c:pt>
                  <c:pt idx="1956">
                    <c:v>Rolling Mean (30 Minute)</c:v>
                  </c:pt>
                  <c:pt idx="1957">
                    <c:v>Rolling Mean (30 Minute)</c:v>
                  </c:pt>
                  <c:pt idx="1958">
                    <c:v>Rolling Mean (30 Minute)</c:v>
                  </c:pt>
                  <c:pt idx="1959">
                    <c:v>Rolling Mean (30 Minute)</c:v>
                  </c:pt>
                  <c:pt idx="1960">
                    <c:v>Rolling Mean (30 Minute)</c:v>
                  </c:pt>
                  <c:pt idx="1961">
                    <c:v>Rolling Mean (30 Minute)</c:v>
                  </c:pt>
                  <c:pt idx="1962">
                    <c:v>Rolling Mean (30 Minute)</c:v>
                  </c:pt>
                  <c:pt idx="1963">
                    <c:v>Rolling Mean (30 Minute)</c:v>
                  </c:pt>
                  <c:pt idx="1964">
                    <c:v>Rolling Mean (30 Minute)</c:v>
                  </c:pt>
                  <c:pt idx="1965">
                    <c:v>Rolling Mean (30 Minute)</c:v>
                  </c:pt>
                  <c:pt idx="1966">
                    <c:v>Rolling Mean (30 Minute)</c:v>
                  </c:pt>
                  <c:pt idx="1967">
                    <c:v>Rolling Mean (30 Minute)</c:v>
                  </c:pt>
                  <c:pt idx="1968">
                    <c:v>Rolling Mean (30 Minute)</c:v>
                  </c:pt>
                  <c:pt idx="1969">
                    <c:v>Rolling Mean (30 Minute)</c:v>
                  </c:pt>
                  <c:pt idx="1970">
                    <c:v>Rolling Mean (30 Minute)</c:v>
                  </c:pt>
                  <c:pt idx="1971">
                    <c:v>Rolling Mean (30 Minute)</c:v>
                  </c:pt>
                  <c:pt idx="1972">
                    <c:v>Rolling Mean (30 Minute)</c:v>
                  </c:pt>
                  <c:pt idx="1973">
                    <c:v>Rolling Mean (30 Minute)</c:v>
                  </c:pt>
                  <c:pt idx="1974">
                    <c:v>Rolling Mean (30 Minute)</c:v>
                  </c:pt>
                  <c:pt idx="1975">
                    <c:v>Rolling Mean (30 Minute)</c:v>
                  </c:pt>
                  <c:pt idx="1976">
                    <c:v>Rolling Mean (30 Minute)</c:v>
                  </c:pt>
                  <c:pt idx="1977">
                    <c:v>Rolling Mean (30 Minute)</c:v>
                  </c:pt>
                  <c:pt idx="1978">
                    <c:v>Rolling Mean (30 Minute)</c:v>
                  </c:pt>
                  <c:pt idx="1979">
                    <c:v>Rolling Mean (30 Minute)</c:v>
                  </c:pt>
                  <c:pt idx="1980">
                    <c:v>Rolling Mean (30 Minute)</c:v>
                  </c:pt>
                  <c:pt idx="1981">
                    <c:v>Rolling Mean (30 Minute)</c:v>
                  </c:pt>
                  <c:pt idx="1982">
                    <c:v>Rolling Mean (30 Minute)</c:v>
                  </c:pt>
                  <c:pt idx="1983">
                    <c:v>Rolling Mean (30 Minute)</c:v>
                  </c:pt>
                  <c:pt idx="1984">
                    <c:v>Rolling Mean (30 Minute)</c:v>
                  </c:pt>
                  <c:pt idx="1985">
                    <c:v>Rolling Mean (30 Minute)</c:v>
                  </c:pt>
                  <c:pt idx="1986">
                    <c:v>Rolling Mean (30 Minute)</c:v>
                  </c:pt>
                  <c:pt idx="1987">
                    <c:v>Rolling Mean (30 Minute)</c:v>
                  </c:pt>
                  <c:pt idx="1988">
                    <c:v>Rolling Mean (30 Minute)</c:v>
                  </c:pt>
                  <c:pt idx="1989">
                    <c:v>Rolling Mean (30 Minute)</c:v>
                  </c:pt>
                  <c:pt idx="1990">
                    <c:v>Rolling Mean (30 Minute)</c:v>
                  </c:pt>
                  <c:pt idx="1991">
                    <c:v>Rolling Mean (30 Minute)</c:v>
                  </c:pt>
                  <c:pt idx="1992">
                    <c:v>Rolling Mean (30 Minute)</c:v>
                  </c:pt>
                  <c:pt idx="1993">
                    <c:v>Rolling Mean (30 Minute)</c:v>
                  </c:pt>
                  <c:pt idx="1994">
                    <c:v>Rolling Mean (30 Minute)</c:v>
                  </c:pt>
                  <c:pt idx="1995">
                    <c:v>Rolling Mean (30 Minute)</c:v>
                  </c:pt>
                  <c:pt idx="1996">
                    <c:v>Rolling Mean (30 Minute)</c:v>
                  </c:pt>
                  <c:pt idx="1997">
                    <c:v>Rolling Mean (30 Minute)</c:v>
                  </c:pt>
                  <c:pt idx="1998">
                    <c:v>Rolling Mean (30 Minute)</c:v>
                  </c:pt>
                  <c:pt idx="1999">
                    <c:v>Rolling Mean (30 Minute)</c:v>
                  </c:pt>
                  <c:pt idx="2000">
                    <c:v>Rolling Mean (30 Minute)</c:v>
                  </c:pt>
                  <c:pt idx="2001">
                    <c:v>Rolling Mean (30 Minute)</c:v>
                  </c:pt>
                  <c:pt idx="2002">
                    <c:v>Rolling Mean (30 Minute)</c:v>
                  </c:pt>
                  <c:pt idx="2003">
                    <c:v>Rolling Mean (30 Minute)</c:v>
                  </c:pt>
                  <c:pt idx="2004">
                    <c:v>Rolling Mean (30 Minute)</c:v>
                  </c:pt>
                  <c:pt idx="2005">
                    <c:v>Rolling Mean (30 Minute)</c:v>
                  </c:pt>
                  <c:pt idx="2006">
                    <c:v>Rolling Mean (30 Minute)</c:v>
                  </c:pt>
                  <c:pt idx="2007">
                    <c:v>Rolling Mean (30 Minute)</c:v>
                  </c:pt>
                  <c:pt idx="2008">
                    <c:v>Rolling Mean (30 Minute)</c:v>
                  </c:pt>
                  <c:pt idx="2009">
                    <c:v>Rolling Mean (30 Minute)</c:v>
                  </c:pt>
                  <c:pt idx="2010">
                    <c:v>Rolling Mean (30 Minute)</c:v>
                  </c:pt>
                  <c:pt idx="2011">
                    <c:v>Rolling Mean (30 Minute)</c:v>
                  </c:pt>
                  <c:pt idx="2012">
                    <c:v>Rolling Mean (30 Minute)</c:v>
                  </c:pt>
                  <c:pt idx="2013">
                    <c:v>Rolling Mean (30 Minute)</c:v>
                  </c:pt>
                  <c:pt idx="2014">
                    <c:v>Rolling Mean (30 Minute)</c:v>
                  </c:pt>
                  <c:pt idx="2015">
                    <c:v>Rolling Mean (30 Minute)</c:v>
                  </c:pt>
                  <c:pt idx="2016">
                    <c:v>Rolling Mean (30 Minute)</c:v>
                  </c:pt>
                  <c:pt idx="2017">
                    <c:v>Rolling Mean (30 Minute)</c:v>
                  </c:pt>
                  <c:pt idx="2018">
                    <c:v>Rolling Mean (30 Minute)</c:v>
                  </c:pt>
                  <c:pt idx="2019">
                    <c:v>Rolling Mean (30 Minute)</c:v>
                  </c:pt>
                  <c:pt idx="2020">
                    <c:v>Rolling Mean (30 Minute)</c:v>
                  </c:pt>
                  <c:pt idx="2021">
                    <c:v>Rolling Mean (30 Minute)</c:v>
                  </c:pt>
                  <c:pt idx="2022">
                    <c:v>Rolling Mean (30 Minute)</c:v>
                  </c:pt>
                  <c:pt idx="2023">
                    <c:v>Rolling Mean (30 Minute)</c:v>
                  </c:pt>
                  <c:pt idx="2024">
                    <c:v>Rolling Mean (30 Minute)</c:v>
                  </c:pt>
                  <c:pt idx="2025">
                    <c:v>Rolling Mean (30 Minute)</c:v>
                  </c:pt>
                  <c:pt idx="2026">
                    <c:v>Rolling Mean (30 Minute)</c:v>
                  </c:pt>
                  <c:pt idx="2027">
                    <c:v>Rolling Mean (30 Minute)</c:v>
                  </c:pt>
                  <c:pt idx="2028">
                    <c:v>Rolling Mean (30 Minute)</c:v>
                  </c:pt>
                  <c:pt idx="2029">
                    <c:v>Rolling Mean (30 Minute)</c:v>
                  </c:pt>
                  <c:pt idx="2030">
                    <c:v>Rolling Mean (30 Minute)</c:v>
                  </c:pt>
                  <c:pt idx="2031">
                    <c:v>Rolling Mean (30 Minute)</c:v>
                  </c:pt>
                  <c:pt idx="2032">
                    <c:v>Rolling Mean (30 Minute)</c:v>
                  </c:pt>
                  <c:pt idx="2033">
                    <c:v>Rolling Mean (30 Minute)</c:v>
                  </c:pt>
                  <c:pt idx="2034">
                    <c:v>Rolling Mean (30 Minute)</c:v>
                  </c:pt>
                  <c:pt idx="2035">
                    <c:v>Rolling Mean (30 Minute)</c:v>
                  </c:pt>
                  <c:pt idx="2036">
                    <c:v>Rolling Mean (30 Minute)</c:v>
                  </c:pt>
                  <c:pt idx="2037">
                    <c:v>Rolling Mean (30 Minute)</c:v>
                  </c:pt>
                  <c:pt idx="2038">
                    <c:v>Rolling Mean (30 Minute)</c:v>
                  </c:pt>
                  <c:pt idx="2039">
                    <c:v>Rolling Mean (30 Minute)</c:v>
                  </c:pt>
                  <c:pt idx="2040">
                    <c:v>Rolling Mean (30 Minute)</c:v>
                  </c:pt>
                  <c:pt idx="2041">
                    <c:v>Rolling Mean (30 Minute)</c:v>
                  </c:pt>
                  <c:pt idx="2042">
                    <c:v>Rolling Mean (30 Minute)</c:v>
                  </c:pt>
                  <c:pt idx="2043">
                    <c:v>Rolling Mean (30 Minute)</c:v>
                  </c:pt>
                  <c:pt idx="2044">
                    <c:v>Rolling Mean (30 Minute)</c:v>
                  </c:pt>
                  <c:pt idx="2045">
                    <c:v>Rolling Mean (30 Minute)</c:v>
                  </c:pt>
                  <c:pt idx="2046">
                    <c:v>Rolling Mean (30 Minute)</c:v>
                  </c:pt>
                  <c:pt idx="2047">
                    <c:v>Rolling Mean (30 Minute)</c:v>
                  </c:pt>
                  <c:pt idx="2048">
                    <c:v>Rolling Mean (30 Minute)</c:v>
                  </c:pt>
                  <c:pt idx="2049">
                    <c:v>Rolling Mean (30 Minute)</c:v>
                  </c:pt>
                  <c:pt idx="2050">
                    <c:v>Rolling Mean (30 Minute)</c:v>
                  </c:pt>
                  <c:pt idx="2051">
                    <c:v>Rolling Mean (30 Minute)</c:v>
                  </c:pt>
                  <c:pt idx="2052">
                    <c:v>Rolling Mean (30 Minute)</c:v>
                  </c:pt>
                  <c:pt idx="2053">
                    <c:v>Rolling Mean (30 Minute)</c:v>
                  </c:pt>
                  <c:pt idx="2054">
                    <c:v>Rolling Mean (30 Minute)</c:v>
                  </c:pt>
                  <c:pt idx="2055">
                    <c:v>Rolling Mean (30 Minute)</c:v>
                  </c:pt>
                  <c:pt idx="2056">
                    <c:v>Rolling Mean (30 Minute)</c:v>
                  </c:pt>
                  <c:pt idx="2057">
                    <c:v>Rolling Mean (30 Minute)</c:v>
                  </c:pt>
                  <c:pt idx="2058">
                    <c:v>Rolling Mean (30 Minute)</c:v>
                  </c:pt>
                  <c:pt idx="2059">
                    <c:v>Rolling Mean (30 Minute)</c:v>
                  </c:pt>
                  <c:pt idx="2060">
                    <c:v>Rolling Mean (30 Minute)</c:v>
                  </c:pt>
                  <c:pt idx="2061">
                    <c:v>Rolling Mean (30 Minute)</c:v>
                  </c:pt>
                  <c:pt idx="2062">
                    <c:v>Rolling Mean (30 Minute)</c:v>
                  </c:pt>
                  <c:pt idx="2063">
                    <c:v>Rolling Mean (30 Minute)</c:v>
                  </c:pt>
                  <c:pt idx="2064">
                    <c:v>Rolling Mean (30 Minute)</c:v>
                  </c:pt>
                  <c:pt idx="2065">
                    <c:v>Rolling Mean (30 Minute)</c:v>
                  </c:pt>
                  <c:pt idx="2066">
                    <c:v>Rolling Mean (30 Minute)</c:v>
                  </c:pt>
                  <c:pt idx="2067">
                    <c:v>Rolling Mean (30 Minute)</c:v>
                  </c:pt>
                  <c:pt idx="2068">
                    <c:v>Rolling Mean (30 Minute)</c:v>
                  </c:pt>
                  <c:pt idx="2069">
                    <c:v>Rolling Mean (30 Minute)</c:v>
                  </c:pt>
                  <c:pt idx="2070">
                    <c:v>Rolling Mean (30 Minute)</c:v>
                  </c:pt>
                  <c:pt idx="2071">
                    <c:v>Rolling Mean (30 Minute)</c:v>
                  </c:pt>
                  <c:pt idx="2072">
                    <c:v>Rolling Mean (30 Minute)</c:v>
                  </c:pt>
                  <c:pt idx="2073">
                    <c:v>Rolling Mean (30 Minute)</c:v>
                  </c:pt>
                  <c:pt idx="2074">
                    <c:v>Rolling Mean (30 Minute)</c:v>
                  </c:pt>
                  <c:pt idx="2075">
                    <c:v>Rolling Mean (30 Minute)</c:v>
                  </c:pt>
                  <c:pt idx="2076">
                    <c:v>Rolling Mean (30 Minute)</c:v>
                  </c:pt>
                  <c:pt idx="2077">
                    <c:v>Rolling Mean (30 Minute)</c:v>
                  </c:pt>
                  <c:pt idx="2078">
                    <c:v>Rolling Mean (30 Minute)</c:v>
                  </c:pt>
                  <c:pt idx="2079">
                    <c:v>Rolling Mean (30 Minute)</c:v>
                  </c:pt>
                  <c:pt idx="2080">
                    <c:v>Rolling Mean (30 Minute)</c:v>
                  </c:pt>
                  <c:pt idx="2081">
                    <c:v>Rolling Mean (30 Minute)</c:v>
                  </c:pt>
                  <c:pt idx="2082">
                    <c:v>Rolling Mean (30 Minute)</c:v>
                  </c:pt>
                  <c:pt idx="2083">
                    <c:v>Rolling Mean (30 Minute)</c:v>
                  </c:pt>
                  <c:pt idx="2084">
                    <c:v>Rolling Mean (30 Minute)</c:v>
                  </c:pt>
                  <c:pt idx="2085">
                    <c:v>Rolling Mean (30 Minute)</c:v>
                  </c:pt>
                  <c:pt idx="2086">
                    <c:v>Rolling Mean (30 Minute)</c:v>
                  </c:pt>
                  <c:pt idx="2087">
                    <c:v>Rolling Mean (30 Minute)</c:v>
                  </c:pt>
                  <c:pt idx="2088">
                    <c:v>Rolling Mean (30 Minute)</c:v>
                  </c:pt>
                  <c:pt idx="2089">
                    <c:v>Rolling Mean (30 Minute)</c:v>
                  </c:pt>
                  <c:pt idx="2090">
                    <c:v>Rolling Mean (30 Minute)</c:v>
                  </c:pt>
                  <c:pt idx="2091">
                    <c:v>Rolling Mean (30 Minute)</c:v>
                  </c:pt>
                  <c:pt idx="2092">
                    <c:v>Rolling Mean (30 Minute)</c:v>
                  </c:pt>
                  <c:pt idx="2093">
                    <c:v>Rolling Mean (30 Minute)</c:v>
                  </c:pt>
                  <c:pt idx="2094">
                    <c:v>Rolling Mean (30 Minute)</c:v>
                  </c:pt>
                  <c:pt idx="2095">
                    <c:v>Rolling Mean (30 Minute)</c:v>
                  </c:pt>
                  <c:pt idx="2096">
                    <c:v>Rolling Mean (30 Minute)</c:v>
                  </c:pt>
                  <c:pt idx="2097">
                    <c:v>Rolling Mean (30 Minute)</c:v>
                  </c:pt>
                  <c:pt idx="2098">
                    <c:v>Rolling Mean (30 Minute)</c:v>
                  </c:pt>
                  <c:pt idx="2099">
                    <c:v>Rolling Mean (30 Minute)</c:v>
                  </c:pt>
                  <c:pt idx="2100">
                    <c:v>Rolling Mean (30 Minute)</c:v>
                  </c:pt>
                  <c:pt idx="2101">
                    <c:v>Rolling Mean (30 Minute)</c:v>
                  </c:pt>
                  <c:pt idx="2102">
                    <c:v>Rolling Mean (30 Minute)</c:v>
                  </c:pt>
                  <c:pt idx="2103">
                    <c:v>Rolling Mean (30 Minute)</c:v>
                  </c:pt>
                  <c:pt idx="2104">
                    <c:v>Rolling Mean (30 Minute)</c:v>
                  </c:pt>
                  <c:pt idx="2105">
                    <c:v>Rolling Mean (30 Minute)</c:v>
                  </c:pt>
                  <c:pt idx="2106">
                    <c:v>Rolling Mean (30 Minute)</c:v>
                  </c:pt>
                  <c:pt idx="2107">
                    <c:v>Rolling Mean (30 Minute)</c:v>
                  </c:pt>
                  <c:pt idx="2108">
                    <c:v>Rolling Mean (30 Minute)</c:v>
                  </c:pt>
                  <c:pt idx="2109">
                    <c:v>Rolling Mean (30 Minute)</c:v>
                  </c:pt>
                  <c:pt idx="2110">
                    <c:v>Rolling Mean (30 Minute)</c:v>
                  </c:pt>
                  <c:pt idx="2111">
                    <c:v>Rolling Mean (30 Minute)</c:v>
                  </c:pt>
                  <c:pt idx="2112">
                    <c:v>Rolling Mean (30 Minute)</c:v>
                  </c:pt>
                  <c:pt idx="2113">
                    <c:v>Rolling Mean (30 Minute)</c:v>
                  </c:pt>
                  <c:pt idx="2114">
                    <c:v>Rolling Mean (30 Minute)</c:v>
                  </c:pt>
                  <c:pt idx="2115">
                    <c:v>Rolling Mean (30 Minute)</c:v>
                  </c:pt>
                  <c:pt idx="2116">
                    <c:v>Rolling Mean (30 Minute)</c:v>
                  </c:pt>
                  <c:pt idx="2117">
                    <c:v>Rolling Mean (30 Minute)</c:v>
                  </c:pt>
                  <c:pt idx="2118">
                    <c:v>Rolling Mean (30 Minute)</c:v>
                  </c:pt>
                  <c:pt idx="2119">
                    <c:v>Rolling Mean (30 Minute)</c:v>
                  </c:pt>
                  <c:pt idx="2120">
                    <c:v>Rolling Mean (30 Minute)</c:v>
                  </c:pt>
                  <c:pt idx="2121">
                    <c:v>Rolling Mean (30 Minute)</c:v>
                  </c:pt>
                  <c:pt idx="2122">
                    <c:v>Rolling Mean (30 Minute)</c:v>
                  </c:pt>
                  <c:pt idx="2123">
                    <c:v>Rolling Mean (30 Minute)</c:v>
                  </c:pt>
                  <c:pt idx="2124">
                    <c:v>Rolling Mean (30 Minute)</c:v>
                  </c:pt>
                  <c:pt idx="2125">
                    <c:v>Rolling Mean (30 Minute)</c:v>
                  </c:pt>
                  <c:pt idx="2126">
                    <c:v>Rolling Mean (30 Minute)</c:v>
                  </c:pt>
                  <c:pt idx="2127">
                    <c:v>Rolling Mean (30 Minute)</c:v>
                  </c:pt>
                  <c:pt idx="2128">
                    <c:v>Rolling Mean (30 Minute)</c:v>
                  </c:pt>
                  <c:pt idx="2129">
                    <c:v>Rolling Mean (30 Minute)</c:v>
                  </c:pt>
                  <c:pt idx="2130">
                    <c:v>Rolling Mean (30 Minute)</c:v>
                  </c:pt>
                  <c:pt idx="2131">
                    <c:v>Rolling Mean (30 Minute)</c:v>
                  </c:pt>
                  <c:pt idx="2132">
                    <c:v>Rolling Mean (30 Minute)</c:v>
                  </c:pt>
                  <c:pt idx="2133">
                    <c:v>Rolling Mean (30 Minute)</c:v>
                  </c:pt>
                  <c:pt idx="2134">
                    <c:v>Rolling Mean (30 Minute)</c:v>
                  </c:pt>
                  <c:pt idx="2135">
                    <c:v>Rolling Mean (30 Minute)</c:v>
                  </c:pt>
                  <c:pt idx="2136">
                    <c:v>Rolling Mean (30 Minute)</c:v>
                  </c:pt>
                  <c:pt idx="2137">
                    <c:v>Rolling Mean (30 Minute)</c:v>
                  </c:pt>
                  <c:pt idx="2138">
                    <c:v>Rolling Mean (30 Minute)</c:v>
                  </c:pt>
                  <c:pt idx="2139">
                    <c:v>Rolling Mean (30 Minute)</c:v>
                  </c:pt>
                  <c:pt idx="2140">
                    <c:v>Rolling Mean (30 Minute)</c:v>
                  </c:pt>
                  <c:pt idx="2141">
                    <c:v>Rolling Mean (30 Minute)</c:v>
                  </c:pt>
                  <c:pt idx="2142">
                    <c:v>Rolling Mean (30 Minute)</c:v>
                  </c:pt>
                  <c:pt idx="2143">
                    <c:v>Rolling Mean (30 Minute)</c:v>
                  </c:pt>
                  <c:pt idx="2144">
                    <c:v>Rolling Mean (30 Minute)</c:v>
                  </c:pt>
                  <c:pt idx="2145">
                    <c:v>Rolling Mean (30 Minute)</c:v>
                  </c:pt>
                  <c:pt idx="2146">
                    <c:v>Rolling Mean (30 Minute)</c:v>
                  </c:pt>
                  <c:pt idx="2147">
                    <c:v>Rolling Mean (30 Minute)</c:v>
                  </c:pt>
                  <c:pt idx="2148">
                    <c:v>Rolling Mean (30 Minute)</c:v>
                  </c:pt>
                  <c:pt idx="2149">
                    <c:v>Rolling Mean (30 Minute)</c:v>
                  </c:pt>
                  <c:pt idx="2150">
                    <c:v>Rolling Mean (30 Minute)</c:v>
                  </c:pt>
                  <c:pt idx="2151">
                    <c:v>Rolling Mean (30 Minute)</c:v>
                  </c:pt>
                  <c:pt idx="2152">
                    <c:v>Rolling Mean (30 Minute)</c:v>
                  </c:pt>
                  <c:pt idx="2153">
                    <c:v>Rolling Mean (30 Minute)</c:v>
                  </c:pt>
                  <c:pt idx="2154">
                    <c:v>Rolling Mean (30 Minute)</c:v>
                  </c:pt>
                  <c:pt idx="2155">
                    <c:v>Rolling Mean (30 Minute)</c:v>
                  </c:pt>
                  <c:pt idx="2156">
                    <c:v>Rolling Mean (30 Minute)</c:v>
                  </c:pt>
                  <c:pt idx="2157">
                    <c:v>Rolling Mean (30 Minute)</c:v>
                  </c:pt>
                  <c:pt idx="2158">
                    <c:v>Rolling Mean (30 Minute)</c:v>
                  </c:pt>
                  <c:pt idx="2159">
                    <c:v>Rolling Mean (30 Minute)</c:v>
                  </c:pt>
                  <c:pt idx="2160">
                    <c:v>Rolling Mean (30 Minute)</c:v>
                  </c:pt>
                  <c:pt idx="2161">
                    <c:v>Rolling Mean (30 Minute)</c:v>
                  </c:pt>
                  <c:pt idx="2162">
                    <c:v>Rolling Mean (30 Minute)</c:v>
                  </c:pt>
                  <c:pt idx="2163">
                    <c:v>Rolling Mean (30 Minute)</c:v>
                  </c:pt>
                  <c:pt idx="2164">
                    <c:v>Rolling Mean (30 Minute)</c:v>
                  </c:pt>
                  <c:pt idx="2165">
                    <c:v>Rolling Mean (30 Minute)</c:v>
                  </c:pt>
                  <c:pt idx="2166">
                    <c:v>Rolling Mean (30 Minute)</c:v>
                  </c:pt>
                  <c:pt idx="2167">
                    <c:v>Rolling Mean (30 Minute)</c:v>
                  </c:pt>
                  <c:pt idx="2168">
                    <c:v>Rolling Mean (30 Minute)</c:v>
                  </c:pt>
                  <c:pt idx="2169">
                    <c:v>Rolling Mean (30 Minute)</c:v>
                  </c:pt>
                  <c:pt idx="2170">
                    <c:v>Rolling Mean (30 Minute)</c:v>
                  </c:pt>
                  <c:pt idx="2171">
                    <c:v>Rolling Mean (30 Minute)</c:v>
                  </c:pt>
                  <c:pt idx="2172">
                    <c:v>Rolling Mean (30 Minute)</c:v>
                  </c:pt>
                  <c:pt idx="2173">
                    <c:v>Rolling Mean (30 Minute)</c:v>
                  </c:pt>
                  <c:pt idx="2174">
                    <c:v>Rolling Mean (30 Minute)</c:v>
                  </c:pt>
                  <c:pt idx="2175">
                    <c:v>Rolling Mean (30 Minute)</c:v>
                  </c:pt>
                  <c:pt idx="2176">
                    <c:v>Rolling Mean (30 Minute)</c:v>
                  </c:pt>
                  <c:pt idx="2177">
                    <c:v>Rolling Mean (30 Minute)</c:v>
                  </c:pt>
                  <c:pt idx="2178">
                    <c:v>Rolling Mean (30 Minute)</c:v>
                  </c:pt>
                  <c:pt idx="2179">
                    <c:v>Rolling Mean (30 Minute)</c:v>
                  </c:pt>
                  <c:pt idx="2180">
                    <c:v>Rolling Mean (30 Minute)</c:v>
                  </c:pt>
                  <c:pt idx="2181">
                    <c:v>Rolling Mean (30 Minute)</c:v>
                  </c:pt>
                  <c:pt idx="2182">
                    <c:v>Rolling Mean (30 Minute)</c:v>
                  </c:pt>
                  <c:pt idx="2183">
                    <c:v>Rolling Mean (30 Minute)</c:v>
                  </c:pt>
                  <c:pt idx="2184">
                    <c:v>Rolling Mean (30 Minute)</c:v>
                  </c:pt>
                  <c:pt idx="2185">
                    <c:v>Rolling Mean (30 Minute)</c:v>
                  </c:pt>
                  <c:pt idx="2186">
                    <c:v>Rolling Mean (30 Minute)</c:v>
                  </c:pt>
                  <c:pt idx="2187">
                    <c:v>Rolling Mean (30 Minute)</c:v>
                  </c:pt>
                  <c:pt idx="2188">
                    <c:v>Rolling Mean (30 Minute)</c:v>
                  </c:pt>
                  <c:pt idx="2189">
                    <c:v>Rolling Mean (30 Minute)</c:v>
                  </c:pt>
                  <c:pt idx="2190">
                    <c:v>Rolling Mean (30 Minute)</c:v>
                  </c:pt>
                  <c:pt idx="2191">
                    <c:v>Rolling Mean (30 Minute)</c:v>
                  </c:pt>
                  <c:pt idx="2192">
                    <c:v>Rolling Mean (30 Minute)</c:v>
                  </c:pt>
                  <c:pt idx="2193">
                    <c:v>Rolling Mean (30 Minute)</c:v>
                  </c:pt>
                  <c:pt idx="2194">
                    <c:v>Rolling Mean (30 Minute)</c:v>
                  </c:pt>
                  <c:pt idx="2195">
                    <c:v>Rolling Mean (30 Minute)</c:v>
                  </c:pt>
                  <c:pt idx="2196">
                    <c:v>Rolling Mean (30 Minute)</c:v>
                  </c:pt>
                  <c:pt idx="2197">
                    <c:v>Rolling Mean (30 Minute)</c:v>
                  </c:pt>
                  <c:pt idx="2198">
                    <c:v>Rolling Mean (30 Minute)</c:v>
                  </c:pt>
                  <c:pt idx="2199">
                    <c:v>Rolling Mean (30 Minute)</c:v>
                  </c:pt>
                  <c:pt idx="2200">
                    <c:v>Rolling Mean (30 Minute)</c:v>
                  </c:pt>
                  <c:pt idx="2201">
                    <c:v>Rolling Mean (30 Minute)</c:v>
                  </c:pt>
                  <c:pt idx="2202">
                    <c:v>Rolling Mean (30 Minute)</c:v>
                  </c:pt>
                  <c:pt idx="2203">
                    <c:v>Rolling Mean (30 Minute)</c:v>
                  </c:pt>
                  <c:pt idx="2204">
                    <c:v>Rolling Mean (30 Minute)</c:v>
                  </c:pt>
                  <c:pt idx="2205">
                    <c:v>Rolling Mean (30 Minute)</c:v>
                  </c:pt>
                  <c:pt idx="2206">
                    <c:v>Rolling Mean (30 Minute)</c:v>
                  </c:pt>
                  <c:pt idx="2207">
                    <c:v>Rolling Mean (30 Minute)</c:v>
                  </c:pt>
                  <c:pt idx="2208">
                    <c:v>Rolling Mean (30 Minute)</c:v>
                  </c:pt>
                  <c:pt idx="2209">
                    <c:v>Rolling Mean (30 Minute)</c:v>
                  </c:pt>
                  <c:pt idx="2210">
                    <c:v>Rolling Mean (30 Minute)</c:v>
                  </c:pt>
                  <c:pt idx="2211">
                    <c:v>Rolling Mean (30 Minute)</c:v>
                  </c:pt>
                  <c:pt idx="2212">
                    <c:v>Rolling Mean (30 Minute)</c:v>
                  </c:pt>
                  <c:pt idx="2213">
                    <c:v>Rolling Mean (30 Minute)</c:v>
                  </c:pt>
                  <c:pt idx="2214">
                    <c:v>Rolling Mean (30 Minute)</c:v>
                  </c:pt>
                  <c:pt idx="2215">
                    <c:v>Rolling Mean (30 Minute)</c:v>
                  </c:pt>
                  <c:pt idx="2216">
                    <c:v>Rolling Mean (30 Minute)</c:v>
                  </c:pt>
                  <c:pt idx="2217">
                    <c:v>Rolling Mean (30 Minute)</c:v>
                  </c:pt>
                  <c:pt idx="2218">
                    <c:v>Rolling Mean (30 Minute)</c:v>
                  </c:pt>
                  <c:pt idx="2219">
                    <c:v>Rolling Mean (30 Minute)</c:v>
                  </c:pt>
                  <c:pt idx="2220">
                    <c:v>Rolling Mean (30 Minute)</c:v>
                  </c:pt>
                  <c:pt idx="2221">
                    <c:v>Rolling Mean (30 Minute)</c:v>
                  </c:pt>
                  <c:pt idx="2222">
                    <c:v>Rolling Mean (30 Minute)</c:v>
                  </c:pt>
                  <c:pt idx="2223">
                    <c:v>Rolling Mean (30 Minute)</c:v>
                  </c:pt>
                  <c:pt idx="2224">
                    <c:v>Rolling Mean (30 Minute)</c:v>
                  </c:pt>
                  <c:pt idx="2225">
                    <c:v>Rolling Mean (30 Minute)</c:v>
                  </c:pt>
                  <c:pt idx="2226">
                    <c:v>Rolling Mean (30 Minute)</c:v>
                  </c:pt>
                  <c:pt idx="2227">
                    <c:v>Rolling Mean (30 Minute)</c:v>
                  </c:pt>
                  <c:pt idx="2228">
                    <c:v>Rolling Mean (30 Minute)</c:v>
                  </c:pt>
                  <c:pt idx="2229">
                    <c:v>Rolling Mean (30 Minute)</c:v>
                  </c:pt>
                  <c:pt idx="2230">
                    <c:v>Rolling Mean (30 Minute)</c:v>
                  </c:pt>
                  <c:pt idx="2231">
                    <c:v>Rolling Mean (30 Minute)</c:v>
                  </c:pt>
                  <c:pt idx="2232">
                    <c:v>Rolling Mean (30 Minute)</c:v>
                  </c:pt>
                  <c:pt idx="2233">
                    <c:v>Rolling Mean (30 Minute)</c:v>
                  </c:pt>
                  <c:pt idx="2234">
                    <c:v>Rolling Mean (30 Minute)</c:v>
                  </c:pt>
                  <c:pt idx="2235">
                    <c:v>Rolling Mean (30 Minute)</c:v>
                  </c:pt>
                  <c:pt idx="2236">
                    <c:v>Rolling Mean (30 Minute)</c:v>
                  </c:pt>
                  <c:pt idx="2237">
                    <c:v>Rolling Mean (30 Minute)</c:v>
                  </c:pt>
                  <c:pt idx="2238">
                    <c:v>Rolling Mean (30 Minute)</c:v>
                  </c:pt>
                  <c:pt idx="2239">
                    <c:v>Rolling Mean (30 Minute)</c:v>
                  </c:pt>
                  <c:pt idx="2240">
                    <c:v>Rolling Mean (30 Minute)</c:v>
                  </c:pt>
                  <c:pt idx="2241">
                    <c:v>Rolling Mean (30 Minute)</c:v>
                  </c:pt>
                  <c:pt idx="2242">
                    <c:v>Rolling Mean (30 Minute)</c:v>
                  </c:pt>
                  <c:pt idx="2243">
                    <c:v>Rolling Mean (30 Minute)</c:v>
                  </c:pt>
                  <c:pt idx="2244">
                    <c:v>Rolling Mean (30 Minute)</c:v>
                  </c:pt>
                  <c:pt idx="2245">
                    <c:v>Rolling Mean (30 Minute)</c:v>
                  </c:pt>
                  <c:pt idx="2246">
                    <c:v>Rolling Mean (30 Minute)</c:v>
                  </c:pt>
                  <c:pt idx="2247">
                    <c:v>Rolling Mean (30 Minute)</c:v>
                  </c:pt>
                  <c:pt idx="2248">
                    <c:v>Rolling Mean (30 Minute)</c:v>
                  </c:pt>
                  <c:pt idx="2249">
                    <c:v>Rolling Mean (30 Minute)</c:v>
                  </c:pt>
                  <c:pt idx="2250">
                    <c:v>Rolling Mean (30 Minute)</c:v>
                  </c:pt>
                  <c:pt idx="2251">
                    <c:v>Rolling Mean (30 Minute)</c:v>
                  </c:pt>
                  <c:pt idx="2252">
                    <c:v>Rolling Mean (30 Minute)</c:v>
                  </c:pt>
                  <c:pt idx="2253">
                    <c:v>Rolling Mean (30 Minute)</c:v>
                  </c:pt>
                  <c:pt idx="2254">
                    <c:v>Rolling Mean (30 Minute)</c:v>
                  </c:pt>
                  <c:pt idx="2255">
                    <c:v>Rolling Mean (30 Minute)</c:v>
                  </c:pt>
                  <c:pt idx="2256">
                    <c:v>Rolling Mean (30 Minute)</c:v>
                  </c:pt>
                  <c:pt idx="2257">
                    <c:v>Rolling Mean (30 Minute)</c:v>
                  </c:pt>
                  <c:pt idx="2258">
                    <c:v>Rolling Mean (30 Minute)</c:v>
                  </c:pt>
                  <c:pt idx="2259">
                    <c:v>Rolling Mean (30 Minute)</c:v>
                  </c:pt>
                  <c:pt idx="2260">
                    <c:v>Rolling Mean (30 Minute)</c:v>
                  </c:pt>
                  <c:pt idx="2261">
                    <c:v>Rolling Mean (30 Minute)</c:v>
                  </c:pt>
                  <c:pt idx="2262">
                    <c:v>Rolling Mean (30 Minute)</c:v>
                  </c:pt>
                  <c:pt idx="2263">
                    <c:v>Rolling Mean (30 Minute)</c:v>
                  </c:pt>
                  <c:pt idx="2264">
                    <c:v>Rolling Mean (30 Minute)</c:v>
                  </c:pt>
                  <c:pt idx="2265">
                    <c:v>Rolling Mean (30 Minute)</c:v>
                  </c:pt>
                  <c:pt idx="2266">
                    <c:v>Rolling Mean (30 Minute)</c:v>
                  </c:pt>
                  <c:pt idx="2267">
                    <c:v>Rolling Mean (30 Minute)</c:v>
                  </c:pt>
                  <c:pt idx="2268">
                    <c:v>Rolling Mean (30 Minute)</c:v>
                  </c:pt>
                  <c:pt idx="2269">
                    <c:v>Rolling Mean (30 Minute)</c:v>
                  </c:pt>
                  <c:pt idx="2270">
                    <c:v>Rolling Mean (30 Minute)</c:v>
                  </c:pt>
                  <c:pt idx="2271">
                    <c:v>Rolling Mean (30 Minute)</c:v>
                  </c:pt>
                  <c:pt idx="2272">
                    <c:v>Rolling Mean (30 Minute)</c:v>
                  </c:pt>
                  <c:pt idx="2273">
                    <c:v>Rolling Mean (30 Minute)</c:v>
                  </c:pt>
                  <c:pt idx="2274">
                    <c:v>Rolling Mean (30 Minute)</c:v>
                  </c:pt>
                  <c:pt idx="2275">
                    <c:v>Rolling Mean (30 Minute)</c:v>
                  </c:pt>
                  <c:pt idx="2276">
                    <c:v>Rolling Mean (30 Minute)</c:v>
                  </c:pt>
                  <c:pt idx="2277">
                    <c:v>Rolling Mean (30 Minute)</c:v>
                  </c:pt>
                  <c:pt idx="2278">
                    <c:v>Rolling Mean (30 Minute)</c:v>
                  </c:pt>
                  <c:pt idx="2279">
                    <c:v>Rolling Mean (30 Minute)</c:v>
                  </c:pt>
                  <c:pt idx="2280">
                    <c:v>Rolling Mean (30 Minute)</c:v>
                  </c:pt>
                  <c:pt idx="2281">
                    <c:v>Rolling Mean (30 Minute)</c:v>
                  </c:pt>
                  <c:pt idx="2282">
                    <c:v>Rolling Mean (30 Minute)</c:v>
                  </c:pt>
                  <c:pt idx="2283">
                    <c:v>Rolling Mean (30 Minute)</c:v>
                  </c:pt>
                  <c:pt idx="2284">
                    <c:v>Rolling Mean (30 Minute)</c:v>
                  </c:pt>
                  <c:pt idx="2285">
                    <c:v>Rolling Mean (30 Minute)</c:v>
                  </c:pt>
                  <c:pt idx="2286">
                    <c:v>Rolling Mean (30 Minute)</c:v>
                  </c:pt>
                  <c:pt idx="2287">
                    <c:v>Rolling Mean (30 Minute)</c:v>
                  </c:pt>
                  <c:pt idx="2288">
                    <c:v>Rolling Mean (30 Minute)</c:v>
                  </c:pt>
                  <c:pt idx="2289">
                    <c:v>Rolling Mean (30 Minute)</c:v>
                  </c:pt>
                  <c:pt idx="2290">
                    <c:v>Rolling Mean (30 Minute)</c:v>
                  </c:pt>
                  <c:pt idx="2291">
                    <c:v>Rolling Mean (30 Minute)</c:v>
                  </c:pt>
                  <c:pt idx="2292">
                    <c:v>Rolling Mean (30 Minute)</c:v>
                  </c:pt>
                  <c:pt idx="2293">
                    <c:v>Rolling Mean (30 Minute)</c:v>
                  </c:pt>
                  <c:pt idx="2294">
                    <c:v>Rolling Mean (30 Minute)</c:v>
                  </c:pt>
                  <c:pt idx="2295">
                    <c:v>Rolling Mean (30 Minute)</c:v>
                  </c:pt>
                  <c:pt idx="2296">
                    <c:v>Rolling Mean (30 Minute)</c:v>
                  </c:pt>
                  <c:pt idx="2297">
                    <c:v>Rolling Mean (30 Minute)</c:v>
                  </c:pt>
                  <c:pt idx="2298">
                    <c:v>Rolling Mean (30 Minute)</c:v>
                  </c:pt>
                  <c:pt idx="2299">
                    <c:v>Rolling Mean (30 Minute)</c:v>
                  </c:pt>
                  <c:pt idx="2300">
                    <c:v>Rolling Mean (30 Minute)</c:v>
                  </c:pt>
                  <c:pt idx="2301">
                    <c:v>Rolling Mean (30 Minute)</c:v>
                  </c:pt>
                  <c:pt idx="2302">
                    <c:v>Rolling Mean (30 Minute)</c:v>
                  </c:pt>
                  <c:pt idx="2303">
                    <c:v>Rolling Mean (30 Minute)</c:v>
                  </c:pt>
                  <c:pt idx="2304">
                    <c:v>Rolling Mean (30 Minute)</c:v>
                  </c:pt>
                  <c:pt idx="2305">
                    <c:v>Rolling Mean (30 Minute)</c:v>
                  </c:pt>
                  <c:pt idx="2306">
                    <c:v>Rolling Mean (30 Minute)</c:v>
                  </c:pt>
                  <c:pt idx="2307">
                    <c:v>Rolling Mean (30 Minute)</c:v>
                  </c:pt>
                  <c:pt idx="2308">
                    <c:v>Rolling Mean (30 Minute)</c:v>
                  </c:pt>
                  <c:pt idx="2309">
                    <c:v>Rolling Mean (30 Minute)</c:v>
                  </c:pt>
                  <c:pt idx="2310">
                    <c:v>Rolling Mean (30 Minute)</c:v>
                  </c:pt>
                  <c:pt idx="2311">
                    <c:v>Rolling Mean (30 Minute)</c:v>
                  </c:pt>
                  <c:pt idx="2312">
                    <c:v>Rolling Mean (30 Minute)</c:v>
                  </c:pt>
                  <c:pt idx="2313">
                    <c:v>Rolling Mean (30 Minute)</c:v>
                  </c:pt>
                  <c:pt idx="2314">
                    <c:v>Rolling Mean (30 Minute)</c:v>
                  </c:pt>
                  <c:pt idx="2315">
                    <c:v>Rolling Mean (30 Minute)</c:v>
                  </c:pt>
                  <c:pt idx="2316">
                    <c:v>Rolling Mean (30 Minute)</c:v>
                  </c:pt>
                  <c:pt idx="2317">
                    <c:v>Rolling Mean (30 Minute)</c:v>
                  </c:pt>
                  <c:pt idx="2318">
                    <c:v>Rolling Mean (30 Minute)</c:v>
                  </c:pt>
                  <c:pt idx="2319">
                    <c:v>Rolling Mean (30 Minute)</c:v>
                  </c:pt>
                  <c:pt idx="2320">
                    <c:v>Rolling Mean (30 Minute)</c:v>
                  </c:pt>
                  <c:pt idx="2321">
                    <c:v>Rolling Mean (30 Minute)</c:v>
                  </c:pt>
                  <c:pt idx="2322">
                    <c:v>Rolling Mean (30 Minute)</c:v>
                  </c:pt>
                  <c:pt idx="2323">
                    <c:v>Rolling Mean (30 Minute)</c:v>
                  </c:pt>
                  <c:pt idx="2324">
                    <c:v>Rolling Mean (30 Minute)</c:v>
                  </c:pt>
                  <c:pt idx="2325">
                    <c:v>Rolling Mean (30 Minute)</c:v>
                  </c:pt>
                  <c:pt idx="2326">
                    <c:v>Rolling Mean (30 Minute)</c:v>
                  </c:pt>
                  <c:pt idx="2327">
                    <c:v>Rolling Mean (30 Minute)</c:v>
                  </c:pt>
                  <c:pt idx="2328">
                    <c:v>Rolling Mean (30 Minute)</c:v>
                  </c:pt>
                  <c:pt idx="2329">
                    <c:v>Rolling Mean (30 Minute)</c:v>
                  </c:pt>
                  <c:pt idx="2330">
                    <c:v>Rolling Mean (30 Minute)</c:v>
                  </c:pt>
                  <c:pt idx="2331">
                    <c:v>Rolling Mean (30 Minute)</c:v>
                  </c:pt>
                  <c:pt idx="2332">
                    <c:v>Rolling Mean (30 Minute)</c:v>
                  </c:pt>
                  <c:pt idx="2333">
                    <c:v>Rolling Mean (30 Minute)</c:v>
                  </c:pt>
                  <c:pt idx="2334">
                    <c:v>Rolling Mean (30 Minute)</c:v>
                  </c:pt>
                  <c:pt idx="2335">
                    <c:v>Rolling Mean (30 Minute)</c:v>
                  </c:pt>
                  <c:pt idx="2336">
                    <c:v>Rolling Mean (30 Minute)</c:v>
                  </c:pt>
                  <c:pt idx="2337">
                    <c:v>Rolling Mean (30 Minute)</c:v>
                  </c:pt>
                  <c:pt idx="2338">
                    <c:v>Rolling Mean (30 Minute)</c:v>
                  </c:pt>
                  <c:pt idx="2339">
                    <c:v>Rolling Mean (30 Minute)</c:v>
                  </c:pt>
                  <c:pt idx="2340">
                    <c:v>Rolling Mean (30 Minute)</c:v>
                  </c:pt>
                  <c:pt idx="2341">
                    <c:v>Rolling Mean (30 Minute)</c:v>
                  </c:pt>
                  <c:pt idx="2342">
                    <c:v>Rolling Mean (30 Minute)</c:v>
                  </c:pt>
                  <c:pt idx="2343">
                    <c:v>Rolling Mean (30 Minute)</c:v>
                  </c:pt>
                  <c:pt idx="2344">
                    <c:v>Rolling Mean (30 Minute)</c:v>
                  </c:pt>
                  <c:pt idx="2345">
                    <c:v>Rolling Mean (30 Minute)</c:v>
                  </c:pt>
                  <c:pt idx="2346">
                    <c:v>Rolling Mean (30 Minute)</c:v>
                  </c:pt>
                  <c:pt idx="2347">
                    <c:v>Rolling Mean (30 Minute)</c:v>
                  </c:pt>
                  <c:pt idx="2348">
                    <c:v>Rolling Mean (30 Minute)</c:v>
                  </c:pt>
                  <c:pt idx="2349">
                    <c:v>Rolling Mean (30 Minute)</c:v>
                  </c:pt>
                  <c:pt idx="2350">
                    <c:v>Rolling Mean (30 Minute)</c:v>
                  </c:pt>
                  <c:pt idx="2351">
                    <c:v>Rolling Mean (30 Minute)</c:v>
                  </c:pt>
                  <c:pt idx="2352">
                    <c:v>Rolling Mean (30 Minute)</c:v>
                  </c:pt>
                  <c:pt idx="2353">
                    <c:v>Rolling Mean (30 Minute)</c:v>
                  </c:pt>
                  <c:pt idx="2354">
                    <c:v>Rolling Mean (30 Minute)</c:v>
                  </c:pt>
                  <c:pt idx="2355">
                    <c:v>Rolling Mean (30 Minute)</c:v>
                  </c:pt>
                  <c:pt idx="2356">
                    <c:v>Rolling Mean (30 Minute)</c:v>
                  </c:pt>
                  <c:pt idx="2357">
                    <c:v>Rolling Mean (30 Minute)</c:v>
                  </c:pt>
                  <c:pt idx="2358">
                    <c:v>Rolling Mean (30 Minute)</c:v>
                  </c:pt>
                  <c:pt idx="2359">
                    <c:v>Rolling Mean (30 Minute)</c:v>
                  </c:pt>
                  <c:pt idx="2360">
                    <c:v>Rolling Mean (30 Minute)</c:v>
                  </c:pt>
                  <c:pt idx="2361">
                    <c:v>Rolling Mean (30 Minute)</c:v>
                  </c:pt>
                  <c:pt idx="2362">
                    <c:v>Rolling Mean (30 Minute)</c:v>
                  </c:pt>
                  <c:pt idx="2363">
                    <c:v>Rolling Mean (30 Minute)</c:v>
                  </c:pt>
                  <c:pt idx="2364">
                    <c:v>Rolling Mean (30 Minute)</c:v>
                  </c:pt>
                  <c:pt idx="2365">
                    <c:v>Rolling Mean (30 Minute)</c:v>
                  </c:pt>
                  <c:pt idx="2366">
                    <c:v>Rolling Mean (30 Minute)</c:v>
                  </c:pt>
                  <c:pt idx="2367">
                    <c:v>Rolling Mean (30 Minute)</c:v>
                  </c:pt>
                  <c:pt idx="2368">
                    <c:v>Rolling Mean (30 Minute)</c:v>
                  </c:pt>
                  <c:pt idx="2369">
                    <c:v>Rolling Mean (30 Minute)</c:v>
                  </c:pt>
                  <c:pt idx="2370">
                    <c:v>Rolling Mean (30 Minute)</c:v>
                  </c:pt>
                  <c:pt idx="2371">
                    <c:v>Rolling Mean (30 Minute)</c:v>
                  </c:pt>
                  <c:pt idx="2372">
                    <c:v>Rolling Mean (30 Minute)</c:v>
                  </c:pt>
                  <c:pt idx="2373">
                    <c:v>Rolling Mean (30 Minute)</c:v>
                  </c:pt>
                  <c:pt idx="2374">
                    <c:v>Rolling Mean (30 Minute)</c:v>
                  </c:pt>
                  <c:pt idx="2375">
                    <c:v>Rolling Mean (30 Minute)</c:v>
                  </c:pt>
                  <c:pt idx="2376">
                    <c:v>Rolling Mean (30 Minute)</c:v>
                  </c:pt>
                  <c:pt idx="2377">
                    <c:v>Rolling Mean (30 Minute)</c:v>
                  </c:pt>
                  <c:pt idx="2378">
                    <c:v>Rolling Mean (30 Minute)</c:v>
                  </c:pt>
                  <c:pt idx="2379">
                    <c:v>Rolling Mean (30 Minute)</c:v>
                  </c:pt>
                  <c:pt idx="2380">
                    <c:v>Rolling Mean (30 Minute)</c:v>
                  </c:pt>
                  <c:pt idx="2381">
                    <c:v>Rolling Mean (30 Minute)</c:v>
                  </c:pt>
                  <c:pt idx="2382">
                    <c:v>Rolling Mean (30 Minute)</c:v>
                  </c:pt>
                  <c:pt idx="2383">
                    <c:v>Rolling Mean (30 Minute)</c:v>
                  </c:pt>
                  <c:pt idx="2384">
                    <c:v>Rolling Mean (30 Minute)</c:v>
                  </c:pt>
                  <c:pt idx="2385">
                    <c:v>Rolling Mean (30 Minute)</c:v>
                  </c:pt>
                  <c:pt idx="2386">
                    <c:v>Rolling Mean (30 Minute)</c:v>
                  </c:pt>
                  <c:pt idx="2387">
                    <c:v>Rolling Mean (30 Minute)</c:v>
                  </c:pt>
                  <c:pt idx="2388">
                    <c:v>Rolling Mean (30 Minute)</c:v>
                  </c:pt>
                  <c:pt idx="2389">
                    <c:v>Rolling Mean (30 Minute)</c:v>
                  </c:pt>
                  <c:pt idx="2390">
                    <c:v>Rolling Mean (30 Minute)</c:v>
                  </c:pt>
                  <c:pt idx="2391">
                    <c:v>Rolling Mean (30 Minute)</c:v>
                  </c:pt>
                  <c:pt idx="2392">
                    <c:v>Rolling Mean (30 Minute)</c:v>
                  </c:pt>
                  <c:pt idx="2393">
                    <c:v>Rolling Mean (30 Minute)</c:v>
                  </c:pt>
                  <c:pt idx="2394">
                    <c:v>Rolling Mean (30 Minute)</c:v>
                  </c:pt>
                  <c:pt idx="2395">
                    <c:v>Rolling Mean (30 Minute)</c:v>
                  </c:pt>
                  <c:pt idx="2396">
                    <c:v>Rolling Mean (30 Minute)</c:v>
                  </c:pt>
                  <c:pt idx="2397">
                    <c:v>Rolling Mean (30 Minute)</c:v>
                  </c:pt>
                  <c:pt idx="2398">
                    <c:v>Rolling Mean (30 Minute)</c:v>
                  </c:pt>
                  <c:pt idx="2399">
                    <c:v>Rolling Mean (30 Minute)</c:v>
                  </c:pt>
                  <c:pt idx="2400">
                    <c:v>Rolling Mean (30 Minute)</c:v>
                  </c:pt>
                  <c:pt idx="2401">
                    <c:v>Rolling Mean (30 Minute)</c:v>
                  </c:pt>
                  <c:pt idx="2402">
                    <c:v>Rolling Mean (30 Minute)</c:v>
                  </c:pt>
                  <c:pt idx="2403">
                    <c:v>Rolling Mean (30 Minute)</c:v>
                  </c:pt>
                  <c:pt idx="2404">
                    <c:v>Rolling Mean (30 Minute)</c:v>
                  </c:pt>
                  <c:pt idx="2405">
                    <c:v>Rolling Mean (30 Minute)</c:v>
                  </c:pt>
                  <c:pt idx="2406">
                    <c:v>Rolling Mean (30 Minute)</c:v>
                  </c:pt>
                  <c:pt idx="2407">
                    <c:v>Rolling Mean (30 Minute)</c:v>
                  </c:pt>
                  <c:pt idx="2408">
                    <c:v>Rolling Mean (30 Minute)</c:v>
                  </c:pt>
                  <c:pt idx="2409">
                    <c:v>Rolling Mean (30 Minute)</c:v>
                  </c:pt>
                  <c:pt idx="2410">
                    <c:v>Rolling Mean (30 Minute)</c:v>
                  </c:pt>
                  <c:pt idx="2411">
                    <c:v>Rolling Mean (30 Minute)</c:v>
                  </c:pt>
                  <c:pt idx="2412">
                    <c:v>Rolling Mean (30 Minute)</c:v>
                  </c:pt>
                  <c:pt idx="2413">
                    <c:v>Rolling Mean (30 Minute)</c:v>
                  </c:pt>
                  <c:pt idx="2414">
                    <c:v>Rolling Mean (30 Minute)</c:v>
                  </c:pt>
                  <c:pt idx="2415">
                    <c:v>Rolling Mean (30 Minute)</c:v>
                  </c:pt>
                  <c:pt idx="2416">
                    <c:v>Rolling Mean (30 Minute)</c:v>
                  </c:pt>
                  <c:pt idx="2417">
                    <c:v>Rolling Mean (30 Minute)</c:v>
                  </c:pt>
                  <c:pt idx="2418">
                    <c:v>Rolling Mean (30 Minute)</c:v>
                  </c:pt>
                  <c:pt idx="2419">
                    <c:v>Rolling Mean (30 Minute)</c:v>
                  </c:pt>
                  <c:pt idx="2420">
                    <c:v>Rolling Mean (30 Minute)</c:v>
                  </c:pt>
                  <c:pt idx="2421">
                    <c:v>Rolling Mean (30 Minute)</c:v>
                  </c:pt>
                  <c:pt idx="2422">
                    <c:v>Rolling Mean (30 Minute)</c:v>
                  </c:pt>
                  <c:pt idx="2423">
                    <c:v>Rolling Mean (30 Minute)</c:v>
                  </c:pt>
                  <c:pt idx="2424">
                    <c:v>Rolling Mean (30 Minute)</c:v>
                  </c:pt>
                  <c:pt idx="2425">
                    <c:v>Rolling Mean (30 Minute)</c:v>
                  </c:pt>
                  <c:pt idx="2426">
                    <c:v>Rolling Mean (30 Minute)</c:v>
                  </c:pt>
                  <c:pt idx="2427">
                    <c:v>Rolling Mean (30 Minute)</c:v>
                  </c:pt>
                  <c:pt idx="2428">
                    <c:v>Rolling Mean (30 Minute)</c:v>
                  </c:pt>
                  <c:pt idx="2429">
                    <c:v>Rolling Mean (30 Minute)</c:v>
                  </c:pt>
                  <c:pt idx="2430">
                    <c:v>Rolling Mean (30 Minute)</c:v>
                  </c:pt>
                  <c:pt idx="2431">
                    <c:v>Rolling Mean (30 Minute)</c:v>
                  </c:pt>
                  <c:pt idx="2432">
                    <c:v>Rolling Mean (30 Minute)</c:v>
                  </c:pt>
                  <c:pt idx="2433">
                    <c:v>Rolling Mean (30 Minute)</c:v>
                  </c:pt>
                  <c:pt idx="2434">
                    <c:v>Rolling Mean (30 Minute)</c:v>
                  </c:pt>
                  <c:pt idx="2435">
                    <c:v>Rolling Mean (30 Minute)</c:v>
                  </c:pt>
                  <c:pt idx="2436">
                    <c:v>Rolling Mean (30 Minute)</c:v>
                  </c:pt>
                  <c:pt idx="2437">
                    <c:v>Rolling Mean (30 Minute)</c:v>
                  </c:pt>
                  <c:pt idx="2438">
                    <c:v>Rolling Mean (30 Minute)</c:v>
                  </c:pt>
                  <c:pt idx="2439">
                    <c:v>Rolling Mean (30 Minute)</c:v>
                  </c:pt>
                  <c:pt idx="2440">
                    <c:v>Rolling Mean (30 Minute)</c:v>
                  </c:pt>
                  <c:pt idx="2441">
                    <c:v>Rolling Mean (30 Minute)</c:v>
                  </c:pt>
                  <c:pt idx="2442">
                    <c:v>Rolling Mean (30 Minute)</c:v>
                  </c:pt>
                  <c:pt idx="2443">
                    <c:v>Rolling Mean (30 Minute)</c:v>
                  </c:pt>
                  <c:pt idx="2444">
                    <c:v>Rolling Mean (30 Minute)</c:v>
                  </c:pt>
                  <c:pt idx="2445">
                    <c:v>Rolling Mean (30 Minute)</c:v>
                  </c:pt>
                  <c:pt idx="2446">
                    <c:v>Rolling Mean (30 Minute)</c:v>
                  </c:pt>
                  <c:pt idx="2447">
                    <c:v>Rolling Mean (30 Minute)</c:v>
                  </c:pt>
                  <c:pt idx="2448">
                    <c:v>Rolling Mean (30 Minute)</c:v>
                  </c:pt>
                  <c:pt idx="2449">
                    <c:v>Rolling Mean (30 Minute)</c:v>
                  </c:pt>
                  <c:pt idx="2450">
                    <c:v>Rolling Mean (30 Minute)</c:v>
                  </c:pt>
                  <c:pt idx="2451">
                    <c:v>Rolling Mean (30 Minute)</c:v>
                  </c:pt>
                </c:lvl>
              </c:multiLvlStrCache>
            </c:multiLvlStrRef>
          </c:cat>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EEAA-4648-9585-8881DB12715D}"/>
            </c:ext>
          </c:extLst>
        </c:ser>
        <c:dLbls>
          <c:showLegendKey val="0"/>
          <c:showVal val="0"/>
          <c:showCatName val="0"/>
          <c:showSerName val="0"/>
          <c:showPercent val="0"/>
          <c:showBubbleSize val="0"/>
        </c:dLbls>
        <c:marker val="1"/>
        <c:smooth val="0"/>
        <c:axId val="933290063"/>
        <c:axId val="836305999"/>
      </c:lineChart>
      <c:catAx>
        <c:axId val="933312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117823"/>
        <c:crosses val="autoZero"/>
        <c:auto val="1"/>
        <c:lblAlgn val="ctr"/>
        <c:lblOffset val="100"/>
        <c:noMultiLvlLbl val="1"/>
      </c:catAx>
      <c:valAx>
        <c:axId val="207117823"/>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3312623"/>
        <c:crosses val="autoZero"/>
        <c:crossBetween val="between"/>
      </c:valAx>
      <c:valAx>
        <c:axId val="836305999"/>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3290063"/>
        <c:crosses val="max"/>
        <c:crossBetween val="between"/>
      </c:valAx>
      <c:catAx>
        <c:axId val="933290063"/>
        <c:scaling>
          <c:orientation val="minMax"/>
        </c:scaling>
        <c:delete val="1"/>
        <c:axPos val="b"/>
        <c:numFmt formatCode="General" sourceLinked="1"/>
        <c:majorTickMark val="out"/>
        <c:minorTickMark val="none"/>
        <c:tickLblPos val="nextTo"/>
        <c:crossAx val="83630599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coefficient pump failure (Raw)</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B$36:$B$37</c:f>
              <c:strCache>
                <c:ptCount val="2"/>
                <c:pt idx="0">
                  <c:v>PUMP FAILURE (1 or 0)</c:v>
                </c:pt>
                <c:pt idx="1">
                  <c:v>Correlation Coeffici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8:$B$44</c:f>
              <c:numCache>
                <c:formatCode>0.00</c:formatCode>
                <c:ptCount val="7"/>
                <c:pt idx="0">
                  <c:v>0.42</c:v>
                </c:pt>
                <c:pt idx="1">
                  <c:v>0.26</c:v>
                </c:pt>
                <c:pt idx="2">
                  <c:v>0.23</c:v>
                </c:pt>
                <c:pt idx="3">
                  <c:v>0.21</c:v>
                </c:pt>
                <c:pt idx="4">
                  <c:v>-0.1</c:v>
                </c:pt>
                <c:pt idx="5">
                  <c:v>-0.1</c:v>
                </c:pt>
                <c:pt idx="6">
                  <c:v>-0.11</c:v>
                </c:pt>
              </c:numCache>
            </c:numRef>
          </c:val>
          <c:extLst>
            <c:ext xmlns:c16="http://schemas.microsoft.com/office/drawing/2014/chart" uri="{C3380CC4-5D6E-409C-BE32-E72D297353CC}">
              <c16:uniqueId val="{00000000-E0F5-4307-83F4-9D9C19F6EF49}"/>
            </c:ext>
          </c:extLst>
        </c:ser>
        <c:dLbls>
          <c:dLblPos val="outEnd"/>
          <c:showLegendKey val="0"/>
          <c:showVal val="1"/>
          <c:showCatName val="0"/>
          <c:showSerName val="0"/>
          <c:showPercent val="0"/>
          <c:showBubbleSize val="0"/>
        </c:dLbls>
        <c:gapWidth val="219"/>
        <c:overlap val="-27"/>
        <c:axId val="1081579807"/>
        <c:axId val="558870927"/>
      </c:barChart>
      <c:catAx>
        <c:axId val="108157980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8870927"/>
        <c:crosses val="autoZero"/>
        <c:auto val="1"/>
        <c:lblAlgn val="ctr"/>
        <c:lblOffset val="100"/>
        <c:noMultiLvlLbl val="0"/>
      </c:catAx>
      <c:valAx>
        <c:axId val="55887092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1579807"/>
        <c:crosses val="autoZero"/>
        <c:crossBetween val="between"/>
      </c:valAx>
      <c:spPr>
        <a:noFill/>
        <a:ln>
          <a:solidFill>
            <a:schemeClr val="accent1">
              <a:alpha val="99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lumMod val="65000"/>
                    <a:lumOff val="35000"/>
                  </a:sysClr>
                </a:solidFill>
              </a:rPr>
              <a:t>Correlation coefficient pump failure (Rolling mea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N$36:$N$37</c:f>
              <c:strCache>
                <c:ptCount val="2"/>
                <c:pt idx="0">
                  <c:v>PUMP FAILURE (1 or 0)</c:v>
                </c:pt>
                <c:pt idx="1">
                  <c:v>Correlation Coeffici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8:$N$44</c:f>
              <c:numCache>
                <c:formatCode>0.00</c:formatCode>
                <c:ptCount val="7"/>
                <c:pt idx="0">
                  <c:v>-0.22</c:v>
                </c:pt>
                <c:pt idx="1">
                  <c:v>-0.18</c:v>
                </c:pt>
                <c:pt idx="2">
                  <c:v>-0.22</c:v>
                </c:pt>
                <c:pt idx="3">
                  <c:v>-0.3</c:v>
                </c:pt>
                <c:pt idx="4">
                  <c:v>-0.69</c:v>
                </c:pt>
                <c:pt idx="5">
                  <c:v>-0.7</c:v>
                </c:pt>
                <c:pt idx="6">
                  <c:v>-0.7</c:v>
                </c:pt>
              </c:numCache>
            </c:numRef>
          </c:val>
          <c:extLst>
            <c:ext xmlns:c16="http://schemas.microsoft.com/office/drawing/2014/chart" uri="{C3380CC4-5D6E-409C-BE32-E72D297353CC}">
              <c16:uniqueId val="{00000000-40B9-43CC-BB5E-A46DCCA5ACA3}"/>
            </c:ext>
          </c:extLst>
        </c:ser>
        <c:dLbls>
          <c:dLblPos val="outEnd"/>
          <c:showLegendKey val="0"/>
          <c:showVal val="1"/>
          <c:showCatName val="0"/>
          <c:showSerName val="0"/>
          <c:showPercent val="0"/>
          <c:showBubbleSize val="0"/>
        </c:dLbls>
        <c:gapWidth val="219"/>
        <c:overlap val="-27"/>
        <c:axId val="651155407"/>
        <c:axId val="651155887"/>
      </c:barChart>
      <c:catAx>
        <c:axId val="65115540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155887"/>
        <c:crosses val="autoZero"/>
        <c:auto val="1"/>
        <c:lblAlgn val="ctr"/>
        <c:lblOffset val="100"/>
        <c:noMultiLvlLbl val="0"/>
      </c:catAx>
      <c:valAx>
        <c:axId val="65115588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155407"/>
        <c:crosses val="autoZero"/>
        <c:crossBetween val="between"/>
      </c:valAx>
      <c:spPr>
        <a:noFill/>
        <a:ln>
          <a:solidFill>
            <a:schemeClr val="accent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lumMod val="65000"/>
                    <a:lumOff val="35000"/>
                  </a:sysClr>
                </a:solidFill>
              </a:rPr>
              <a:t>Correlation coefficient pump failure (Rolling stdev)</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X$36:$X$37</c:f>
              <c:strCache>
                <c:ptCount val="2"/>
                <c:pt idx="0">
                  <c:v>PUMP FAILURE (1 or 0)</c:v>
                </c:pt>
                <c:pt idx="1">
                  <c:v>Correlation Coeffici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c:formatCode>
                <c:ptCount val="7"/>
                <c:pt idx="0">
                  <c:v>0.7</c:v>
                </c:pt>
                <c:pt idx="1">
                  <c:v>0.6</c:v>
                </c:pt>
                <c:pt idx="2">
                  <c:v>0.6</c:v>
                </c:pt>
                <c:pt idx="3">
                  <c:v>0.6</c:v>
                </c:pt>
                <c:pt idx="4">
                  <c:v>0.6</c:v>
                </c:pt>
                <c:pt idx="5">
                  <c:v>0.6</c:v>
                </c:pt>
                <c:pt idx="6">
                  <c:v>0.6</c:v>
                </c:pt>
              </c:numCache>
            </c:numRef>
          </c:val>
          <c:extLst>
            <c:ext xmlns:c16="http://schemas.microsoft.com/office/drawing/2014/chart" uri="{C3380CC4-5D6E-409C-BE32-E72D297353CC}">
              <c16:uniqueId val="{00000000-8A41-471E-B477-097CF20CA3D8}"/>
            </c:ext>
          </c:extLst>
        </c:ser>
        <c:dLbls>
          <c:dLblPos val="outEnd"/>
          <c:showLegendKey val="0"/>
          <c:showVal val="1"/>
          <c:showCatName val="0"/>
          <c:showSerName val="0"/>
          <c:showPercent val="0"/>
          <c:showBubbleSize val="0"/>
        </c:dLbls>
        <c:gapWidth val="219"/>
        <c:overlap val="-27"/>
        <c:axId val="1081550127"/>
        <c:axId val="1081550607"/>
      </c:barChart>
      <c:catAx>
        <c:axId val="1081550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1550607"/>
        <c:crosses val="autoZero"/>
        <c:auto val="1"/>
        <c:lblAlgn val="ctr"/>
        <c:lblOffset val="100"/>
        <c:noMultiLvlLbl val="0"/>
      </c:catAx>
      <c:valAx>
        <c:axId val="108155060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15501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efficient ranking</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Preparation'!$M$16:$M$22</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Data Preparation'!$N$16:$N$22</c:f>
              <c:numCache>
                <c:formatCode>General</c:formatCode>
                <c:ptCount val="7"/>
                <c:pt idx="0">
                  <c:v>0.76488650391381219</c:v>
                </c:pt>
                <c:pt idx="1">
                  <c:v>0.34234999005938682</c:v>
                </c:pt>
                <c:pt idx="2">
                  <c:v>5.0960926372487107E-2</c:v>
                </c:pt>
                <c:pt idx="3">
                  <c:v>1.8223572481078983E-2</c:v>
                </c:pt>
                <c:pt idx="4">
                  <c:v>-1.7875059072203575E-2</c:v>
                </c:pt>
                <c:pt idx="5">
                  <c:v>-1.890313547339104E-2</c:v>
                </c:pt>
                <c:pt idx="6">
                  <c:v>-0.61136452850738654</c:v>
                </c:pt>
              </c:numCache>
            </c:numRef>
          </c:val>
          <c:extLst>
            <c:ext xmlns:c16="http://schemas.microsoft.com/office/drawing/2014/chart" uri="{C3380CC4-5D6E-409C-BE32-E72D297353CC}">
              <c16:uniqueId val="{00000000-05F9-4F5F-9938-2A5814D5F5D5}"/>
            </c:ext>
          </c:extLst>
        </c:ser>
        <c:dLbls>
          <c:dLblPos val="outEnd"/>
          <c:showLegendKey val="0"/>
          <c:showVal val="1"/>
          <c:showCatName val="0"/>
          <c:showSerName val="0"/>
          <c:showPercent val="0"/>
          <c:showBubbleSize val="0"/>
        </c:dLbls>
        <c:gapWidth val="219"/>
        <c:overlap val="-27"/>
        <c:axId val="1236277199"/>
        <c:axId val="1236283439"/>
      </c:barChart>
      <c:catAx>
        <c:axId val="123627719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6283439"/>
        <c:crosses val="autoZero"/>
        <c:auto val="1"/>
        <c:lblAlgn val="ctr"/>
        <c:lblOffset val="100"/>
        <c:noMultiLvlLbl val="0"/>
      </c:catAx>
      <c:valAx>
        <c:axId val="123628343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gression</a:t>
                </a:r>
                <a:r>
                  <a:rPr lang="en-US" baseline="0"/>
                  <a:t> correlation coefficent</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62771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2/03/2024</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Descriptive and inferential statistical methodologies has proven effective in creating a proactive ‘alarm’, identifying Horse Power (0.76), Volumetric Flow Meter 1 (0.05) and Pump Efficiency (0.34) emerging as key variables of interest that have high correlations associated with  Pump Failure.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9D834CA7-664B-436F-B34C-9C29103E9341}"/>
              </a:ext>
            </a:extLst>
          </p:cNvPr>
          <p:cNvGraphicFramePr>
            <a:graphicFrameLocks/>
          </p:cNvGraphicFramePr>
          <p:nvPr>
            <p:extLst>
              <p:ext uri="{D42A27DB-BD31-4B8C-83A1-F6EECF244321}">
                <p14:modId xmlns:p14="http://schemas.microsoft.com/office/powerpoint/2010/main" val="2259762410"/>
              </p:ext>
            </p:extLst>
          </p:nvPr>
        </p:nvGraphicFramePr>
        <p:xfrm>
          <a:off x="171450" y="949756"/>
          <a:ext cx="8439149" cy="266551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9E6BE391-73BB-4D25-861B-F537C1ECCFE3}"/>
              </a:ext>
            </a:extLst>
          </p:cNvPr>
          <p:cNvGraphicFramePr>
            <a:graphicFrameLocks/>
          </p:cNvGraphicFramePr>
          <p:nvPr>
            <p:extLst>
              <p:ext uri="{D42A27DB-BD31-4B8C-83A1-F6EECF244321}">
                <p14:modId xmlns:p14="http://schemas.microsoft.com/office/powerpoint/2010/main" val="1531213857"/>
              </p:ext>
            </p:extLst>
          </p:nvPr>
        </p:nvGraphicFramePr>
        <p:xfrm>
          <a:off x="245096" y="3799427"/>
          <a:ext cx="8471246" cy="26570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abnormalities showing clear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272FA257-D4FE-404E-B5F7-00C20D92C858}"/>
              </a:ext>
            </a:extLst>
          </p:cNvPr>
          <p:cNvGraphicFramePr>
            <a:graphicFrameLocks/>
          </p:cNvGraphicFramePr>
          <p:nvPr>
            <p:extLst>
              <p:ext uri="{D42A27DB-BD31-4B8C-83A1-F6EECF244321}">
                <p14:modId xmlns:p14="http://schemas.microsoft.com/office/powerpoint/2010/main" val="2482581958"/>
              </p:ext>
            </p:extLst>
          </p:nvPr>
        </p:nvGraphicFramePr>
        <p:xfrm>
          <a:off x="7660" y="894698"/>
          <a:ext cx="8901390" cy="284151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6FFF91A8-D1DB-4DEA-8825-BDACAC9DFAF7}"/>
              </a:ext>
            </a:extLst>
          </p:cNvPr>
          <p:cNvGraphicFramePr>
            <a:graphicFrameLocks/>
          </p:cNvGraphicFramePr>
          <p:nvPr>
            <p:extLst>
              <p:ext uri="{D42A27DB-BD31-4B8C-83A1-F6EECF244321}">
                <p14:modId xmlns:p14="http://schemas.microsoft.com/office/powerpoint/2010/main" val="2105080113"/>
              </p:ext>
            </p:extLst>
          </p:nvPr>
        </p:nvGraphicFramePr>
        <p:xfrm>
          <a:off x="406963" y="3911210"/>
          <a:ext cx="8102784" cy="25446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plots, show a clear signature difference between that of normal behaviour and that of Failure with Raw data, Rolling mean and Rolling </a:t>
            </a:r>
            <a:r>
              <a:rPr lang="en-GB" sz="1400" b="1" dirty="0" err="1"/>
              <a:t>Stdev</a:t>
            </a:r>
            <a:r>
              <a:rPr lang="en-GB" sz="1400" b="1" dirty="0"/>
              <a:t>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1C30D7A-3C99-C130-70B5-719353A00E45}"/>
              </a:ext>
            </a:extLst>
          </p:cNvPr>
          <p:cNvPicPr>
            <a:picLocks noChangeAspect="1"/>
          </p:cNvPicPr>
          <p:nvPr/>
        </p:nvPicPr>
        <p:blipFill>
          <a:blip r:embed="rId2"/>
          <a:stretch>
            <a:fillRect/>
          </a:stretch>
        </p:blipFill>
        <p:spPr>
          <a:xfrm>
            <a:off x="171451" y="1050360"/>
            <a:ext cx="3975966" cy="2473885"/>
          </a:xfrm>
          <a:prstGeom prst="rect">
            <a:avLst/>
          </a:prstGeom>
        </p:spPr>
      </p:pic>
      <p:pic>
        <p:nvPicPr>
          <p:cNvPr id="4" name="Picture 3">
            <a:extLst>
              <a:ext uri="{FF2B5EF4-FFF2-40B4-BE49-F238E27FC236}">
                <a16:creationId xmlns:a16="http://schemas.microsoft.com/office/drawing/2014/main" id="{A593D1E1-DA8F-5FC9-D909-69792A4E674E}"/>
              </a:ext>
            </a:extLst>
          </p:cNvPr>
          <p:cNvPicPr>
            <a:picLocks noChangeAspect="1"/>
          </p:cNvPicPr>
          <p:nvPr/>
        </p:nvPicPr>
        <p:blipFill>
          <a:blip r:embed="rId3"/>
          <a:stretch>
            <a:fillRect/>
          </a:stretch>
        </p:blipFill>
        <p:spPr>
          <a:xfrm>
            <a:off x="4185261" y="1050362"/>
            <a:ext cx="4423751" cy="2423081"/>
          </a:xfrm>
          <a:prstGeom prst="rect">
            <a:avLst/>
          </a:prstGeom>
        </p:spPr>
      </p:pic>
      <p:pic>
        <p:nvPicPr>
          <p:cNvPr id="5" name="Picture 4">
            <a:extLst>
              <a:ext uri="{FF2B5EF4-FFF2-40B4-BE49-F238E27FC236}">
                <a16:creationId xmlns:a16="http://schemas.microsoft.com/office/drawing/2014/main" id="{F66F8F47-25DE-385E-AAC8-C3B3096F7934}"/>
              </a:ext>
            </a:extLst>
          </p:cNvPr>
          <p:cNvPicPr>
            <a:picLocks noChangeAspect="1"/>
          </p:cNvPicPr>
          <p:nvPr/>
        </p:nvPicPr>
        <p:blipFill>
          <a:blip r:embed="rId4"/>
          <a:stretch>
            <a:fillRect/>
          </a:stretch>
        </p:blipFill>
        <p:spPr>
          <a:xfrm>
            <a:off x="171451" y="3816351"/>
            <a:ext cx="3975966" cy="2473885"/>
          </a:xfrm>
          <a:prstGeom prst="rect">
            <a:avLst/>
          </a:prstGeom>
        </p:spPr>
      </p:pic>
      <p:pic>
        <p:nvPicPr>
          <p:cNvPr id="6" name="Picture 5">
            <a:extLst>
              <a:ext uri="{FF2B5EF4-FFF2-40B4-BE49-F238E27FC236}">
                <a16:creationId xmlns:a16="http://schemas.microsoft.com/office/drawing/2014/main" id="{5B89CE2A-5FC0-83EF-2453-08644BED443B}"/>
              </a:ext>
            </a:extLst>
          </p:cNvPr>
          <p:cNvPicPr>
            <a:picLocks noChangeAspect="1"/>
          </p:cNvPicPr>
          <p:nvPr/>
        </p:nvPicPr>
        <p:blipFill>
          <a:blip r:embed="rId5"/>
          <a:stretch>
            <a:fillRect/>
          </a:stretch>
        </p:blipFill>
        <p:spPr>
          <a:xfrm>
            <a:off x="4185261" y="3795562"/>
            <a:ext cx="4423751" cy="2494673"/>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interesting insights with Horsepower, Pump speed, Pump torque, ambient temperature, volumetric flow (1&amp;2) and Pump efficiency negatively correlated with Pump Failure in the Rolling Mean Data, whilst These exact variables show a subsequently strong positive correlation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0" y="105650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49D4AD7A-1C7D-C34E-2246-877892F75124}"/>
              </a:ext>
            </a:extLst>
          </p:cNvPr>
          <p:cNvGraphicFramePr>
            <a:graphicFrameLocks/>
          </p:cNvGraphicFramePr>
          <p:nvPr>
            <p:extLst>
              <p:ext uri="{D42A27DB-BD31-4B8C-83A1-F6EECF244321}">
                <p14:modId xmlns:p14="http://schemas.microsoft.com/office/powerpoint/2010/main" val="3632638576"/>
              </p:ext>
            </p:extLst>
          </p:nvPr>
        </p:nvGraphicFramePr>
        <p:xfrm>
          <a:off x="911428" y="1066091"/>
          <a:ext cx="6959192" cy="18070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5154826D-9509-5E87-C434-2D547C71C16C}"/>
              </a:ext>
            </a:extLst>
          </p:cNvPr>
          <p:cNvGraphicFramePr>
            <a:graphicFrameLocks/>
          </p:cNvGraphicFramePr>
          <p:nvPr>
            <p:extLst>
              <p:ext uri="{D42A27DB-BD31-4B8C-83A1-F6EECF244321}">
                <p14:modId xmlns:p14="http://schemas.microsoft.com/office/powerpoint/2010/main" val="655923643"/>
              </p:ext>
            </p:extLst>
          </p:nvPr>
        </p:nvGraphicFramePr>
        <p:xfrm>
          <a:off x="911428" y="2882727"/>
          <a:ext cx="6840000" cy="16557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D2DA2048-EC51-1411-5F94-23499FD5F4C9}"/>
              </a:ext>
            </a:extLst>
          </p:cNvPr>
          <p:cNvGraphicFramePr>
            <a:graphicFrameLocks/>
          </p:cNvGraphicFramePr>
          <p:nvPr>
            <p:extLst>
              <p:ext uri="{D42A27DB-BD31-4B8C-83A1-F6EECF244321}">
                <p14:modId xmlns:p14="http://schemas.microsoft.com/office/powerpoint/2010/main" val="555998991"/>
              </p:ext>
            </p:extLst>
          </p:nvPr>
        </p:nvGraphicFramePr>
        <p:xfrm>
          <a:off x="911429" y="4548030"/>
          <a:ext cx="6776468" cy="18108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40% a linear model is a bad fit for the data with variables Horsepower, Pump efficiency and Volumetric flow meter 2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1046919"/>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9E6BE391-73BB-4D25-861B-F537C1ECCFE3}"/>
              </a:ext>
            </a:extLst>
          </p:cNvPr>
          <p:cNvGraphicFramePr>
            <a:graphicFrameLocks/>
          </p:cNvGraphicFramePr>
          <p:nvPr>
            <p:extLst>
              <p:ext uri="{D42A27DB-BD31-4B8C-83A1-F6EECF244321}">
                <p14:modId xmlns:p14="http://schemas.microsoft.com/office/powerpoint/2010/main" val="1062112368"/>
              </p:ext>
            </p:extLst>
          </p:nvPr>
        </p:nvGraphicFramePr>
        <p:xfrm>
          <a:off x="211732" y="1824769"/>
          <a:ext cx="8537973" cy="32086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167</TotalTime>
  <Words>287</Words>
  <Application>Microsoft Office PowerPoint</Application>
  <PresentationFormat>Custom</PresentationFormat>
  <Paragraphs>15</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s proven effective in creating a proactive ‘alarm’, identifying Horse Power (0.76), Volumetric Flow Meter 1 (0.05) and Pump Efficiency (0.34) emerging as key variables of interest that have high correlations associated with  Pump Failure. </vt:lpstr>
      <vt:lpstr>Descriptive Analysis has enabled us to clearly identify particular abnormalities showing clear changes in both Rolling Standard Deviation and Rolling Mean Datasets when observed over the respective failure period of interest.  </vt:lpstr>
      <vt:lpstr>Further segmentation of the data via binary means (Pump Failure = 0 or 1) illustrated through box plots, show a clear signature difference between that of normal behaviour and that of Failure with Raw data, Rolling mean and Rolling Stdev showing the 3 largest variances.</vt:lpstr>
      <vt:lpstr>Correlation analyses across datasets yield interesting insights with Horsepower, Pump speed, Pump torque, ambient temperature, volumetric flow (1&amp;2) and Pump efficiency negatively correlated with Pump Failure in the Rolling Mean Data, whilst These exact variables show a subsequently strong positive correlation in the Rolling Stdev Dataset. </vt:lpstr>
      <vt:lpstr>Lastly, analysis of the model fit reveals that with a R Squared of 40% a linear model is a bad fit for the data with variables Horsepower, Pump efficiency and Volumetric flow meter 2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Dagmawi Kassa</cp:lastModifiedBy>
  <cp:revision>94</cp:revision>
  <dcterms:created xsi:type="dcterms:W3CDTF">2020-04-12T13:23:13Z</dcterms:created>
  <dcterms:modified xsi:type="dcterms:W3CDTF">2024-03-13T01:1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4-03-12T01:13:44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2d65c2d5-3e9d-4413-ba32-5ac894b0233b</vt:lpwstr>
  </property>
  <property fmtid="{D5CDD505-2E9C-101B-9397-08002B2CF9AE}" pid="7" name="MSIP_Label_defa4170-0d19-0005-0004-bc88714345d2_ActionId">
    <vt:lpwstr>f1eed884-ee77-450b-89a3-363e1d588a7e</vt:lpwstr>
  </property>
  <property fmtid="{D5CDD505-2E9C-101B-9397-08002B2CF9AE}" pid="8" name="MSIP_Label_defa4170-0d19-0005-0004-bc88714345d2_ContentBits">
    <vt:lpwstr>0</vt:lpwstr>
  </property>
</Properties>
</file>